
<file path=[Content_Types].xml><?xml version="1.0" encoding="utf-8"?>
<Types xmlns="http://schemas.openxmlformats.org/package/2006/content-types"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tags/tag238.xml" ContentType="application/vnd.openxmlformats-officedocument.presentationml.tags+xml"/>
  <Override PartName="/ppt/slides/slide36.xml" ContentType="application/vnd.openxmlformats-officedocument.presentationml.slide+xml"/>
  <Override PartName="/ppt/tags/tag227.xml" ContentType="application/vnd.openxmlformats-officedocument.presentationml.tags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16.xml" ContentType="application/vnd.openxmlformats-officedocument.presentationml.tags+xml"/>
  <Override PartName="/ppt/tags/tag252.xml" ContentType="application/vnd.openxmlformats-officedocument.presentationml.tags+xml"/>
  <Override PartName="/ppt/tags/tag263.xml" ContentType="application/vnd.openxmlformats-officedocument.presentationml.tags+xml"/>
  <Override PartName="/ppt/notesSlides/notesSlide27.xml" ContentType="application/vnd.openxmlformats-officedocument.presentationml.notesSlide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notesSlides/notesSlide16.xml" ContentType="application/vnd.openxmlformats-officedocument.presentationml.notesSlide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189.xml" ContentType="application/vnd.openxmlformats-officedocument.presentationml.tags+xml"/>
  <Override PartName="/ppt/tags/tag241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178.xml" ContentType="application/vnd.openxmlformats-officedocument.presentationml.tags+xml"/>
  <Override PartName="/ppt/tags/tag230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notesSlides/notesSlide30.xml" ContentType="application/vnd.openxmlformats-officedocument.presentationml.notesSlide+xml"/>
  <Override PartName="/ppt/diagrams/layout1.xml" ContentType="application/vnd.openxmlformats-officedocument.drawingml.diagramLayout+xml"/>
  <Default Extension="xlsx" ContentType="application/vnd.openxmlformats-officedocument.spreadsheetml.sheet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tags/tag41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tags/tag257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ags/tag246.xml" ContentType="application/vnd.openxmlformats-officedocument.presentationml.tags+xml"/>
  <Override PartName="/ppt/slides/slide33.xml" ContentType="application/vnd.openxmlformats-officedocument.presentationml.slide+xml"/>
  <Default Extension="emf" ContentType="image/x-emf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35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260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3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notesSlides/notesSlide13.xml" ContentType="application/vnd.openxmlformats-officedocument.presentationml.notesSlide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197.xml" ContentType="application/vnd.openxmlformats-officedocument.presentationml.tags+xml"/>
  <Override PartName="/ppt/tags/tag202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notesSlides/notesSlide4.xml" ContentType="application/vnd.openxmlformats-officedocument.presentationml.notesSlide+xml"/>
  <Override PartName="/ppt/tags/tag106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diagrams/colors1.xml" ContentType="application/vnd.openxmlformats-officedocument.drawingml.diagramColors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20.xml" ContentType="application/vnd.openxmlformats-officedocument.presentationml.tags+xml"/>
  <Override PartName="/ppt/tags/tag207.xml" ContentType="application/vnd.openxmlformats-officedocument.presentationml.tags+xml"/>
  <Override PartName="/ppt/tags/tag218.xml" ContentType="application/vnd.openxmlformats-officedocument.presentationml.tags+xml"/>
  <Override PartName="/ppt/tags/tag254.xml" ContentType="application/vnd.openxmlformats-officedocument.presentationml.tags+xml"/>
  <Override PartName="/ppt/tags/tag265.xml" ContentType="application/vnd.openxmlformats-officedocument.presentationml.tags+xml"/>
  <Override PartName="/ppt/notesSlides/notesSlide29.xml" ContentType="application/vnd.openxmlformats-officedocument.presentationml.notesSlide+xml"/>
  <Override PartName="/ppt/slides/slide2.xml" ContentType="application/vnd.openxmlformats-officedocument.presentationml.slide+xml"/>
  <Override PartName="/ppt/slides/slide16.xml" ContentType="application/vnd.openxmlformats-officedocument.presentationml.slide+xml"/>
  <Default Extension="wmf" ContentType="image/x-wmf"/>
  <Override PartName="/ppt/tags/tag2.xml" ContentType="application/vnd.openxmlformats-officedocument.presentationml.tags+xml"/>
  <Override PartName="/ppt/tags/tag87.xml" ContentType="application/vnd.openxmlformats-officedocument.presentationml.tags+xml"/>
  <Override PartName="/ppt/tags/tag243.xml" ContentType="application/vnd.openxmlformats-officedocument.presentationml.tags+xml"/>
  <Override PartName="/ppt/notesSlides/notesSlide18.xml" ContentType="application/vnd.openxmlformats-officedocument.presentationml.notesSlide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221.xml" ContentType="application/vnd.openxmlformats-officedocument.presentationml.tags+xml"/>
  <Override PartName="/ppt/notesSlides/notesSlide32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32.xml" ContentType="application/vnd.openxmlformats-officedocument.presentationml.tags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259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tags/tag150.xml" ContentType="application/vnd.openxmlformats-officedocument.presentationml.tags+xml"/>
  <Override PartName="/ppt/tags/tag248.xml" ContentType="application/vnd.openxmlformats-officedocument.presentationml.tags+xml"/>
  <Override PartName="/ppt/tags/tag226.xml" ContentType="application/vnd.openxmlformats-officedocument.presentationml.tags+xml"/>
  <Override PartName="/ppt/tags/tag237.xml" ContentType="application/vnd.openxmlformats-officedocument.presentationml.tag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tags/tag59.xml" ContentType="application/vnd.openxmlformats-officedocument.presentationml.tags+xml"/>
  <Override PartName="/ppt/tags/tag215.xml" ContentType="application/vnd.openxmlformats-officedocument.presentationml.tags+xml"/>
  <Override PartName="/ppt/tags/tag262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notesSlides/notesSlide15.xml" ContentType="application/vnd.openxmlformats-officedocument.presentationml.notesSlide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tags/tag251.xml" ContentType="application/vnd.openxmlformats-officedocument.presentationml.tags+xml"/>
  <Override PartName="/ppt/notesSlides/notesSlide26.xml" ContentType="application/vnd.openxmlformats-officedocument.presentationml.notesSlide+xml"/>
  <Override PartName="/ppt/tags/tag26.xml" ContentType="application/vnd.openxmlformats-officedocument.presentationml.tags+xml"/>
  <Override PartName="/ppt/tags/tag73.xml" ContentType="application/vnd.openxmlformats-officedocument.presentationml.tags+xml"/>
  <Override PartName="/ppt/tags/tag177.xml" ContentType="application/vnd.openxmlformats-officedocument.presentationml.tags+xml"/>
  <Override PartName="/ppt/tags/tag240.xml" ContentType="application/vnd.openxmlformats-officedocument.presentationml.tags+xml"/>
  <Default Extension="tiff" ContentType="image/tiff"/>
  <Override PartName="/ppt/tags/tag15.xml" ContentType="application/vnd.openxmlformats-officedocument.presentationml.tags+xml"/>
  <Override PartName="/ppt/tags/tag62.xml" ContentType="application/vnd.openxmlformats-officedocument.presentationml.tags+xml"/>
  <Override PartName="/ppt/tags/tag119.xml" ContentType="application/vnd.openxmlformats-officedocument.presentationml.tags+xml"/>
  <Override PartName="/ppt/tags/tag166.xml" ContentType="application/vnd.openxmlformats-officedocument.presentationml.tags+xml"/>
  <Override PartName="/ppt/notesSlides/notesSlide6.xml" ContentType="application/vnd.openxmlformats-officedocument.presentationml.notesSlide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55.xml" ContentType="application/vnd.openxmlformats-officedocument.presentationml.tags+xml"/>
  <Override PartName="/ppt/diagrams/data1.xml" ContentType="application/vnd.openxmlformats-officedocument.drawingml.diagramData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slides/slide29.xml" ContentType="application/vnd.openxmlformats-officedocument.presentationml.slide+xml"/>
  <Override PartName="/ppt/diagrams/drawing2.xml" ContentType="application/vnd.ms-office.drawingml.diagramDrawing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diagrams/quickStyle2.xml" ContentType="application/vnd.openxmlformats-officedocument.drawingml.diagramStyle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ags/tag245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234.xml" ContentType="application/vnd.openxmlformats-officedocument.presentationml.tags+xml"/>
  <Override PartName="/ppt/slides/slide32.xml" ContentType="application/vnd.openxmlformats-officedocument.presentationml.slide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notesSlides/notesSlide34.xml" ContentType="application/vnd.openxmlformats-officedocument.presentationml.notesSl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notesSlides/notesSlide3.xml" ContentType="application/vnd.openxmlformats-officedocument.presentationml.notesSlide+xml"/>
  <Default Extension="bin" ContentType="application/vnd.openxmlformats-officedocument.oleObject"/>
  <Override PartName="/ppt/tags/tag141.xml" ContentType="application/vnd.openxmlformats-officedocument.presentationml.tags+xml"/>
  <Override PartName="/ppt/tags/tag228.xml" ContentType="application/vnd.openxmlformats-officedocument.presentationml.tags+xml"/>
  <Override PartName="/ppt/tags/tag239.xml" ContentType="application/vnd.openxmlformats-officedocument.presentationml.tags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tags/tag264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notesSlides/notesSlide17.xml" ContentType="application/vnd.openxmlformats-officedocument.presentationml.notesSlide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notesSlides/notesSlide28.xml" ContentType="application/vnd.openxmlformats-officedocument.presentationml.notesSlide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242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Override PartName="/ppt/notesSlides/notesSlide8.xml" ContentType="application/vnd.openxmlformats-officedocument.presentationml.notesSlide+xml"/>
  <Override PartName="/ppt/diagrams/layout2.xml" ContentType="application/vnd.openxmlformats-officedocument.drawingml.diagramLayout+xml"/>
  <Default Extension="vml" ContentType="application/vnd.openxmlformats-officedocument.vmlDrawing"/>
  <Override PartName="/ppt/tags/tag53.xml" ContentType="application/vnd.openxmlformats-officedocument.presentationml.tags+xml"/>
  <Override PartName="/ppt/tags/tag157.xml" ContentType="application/vnd.openxmlformats-officedocument.presentationml.tags+xml"/>
  <Override PartName="/ppt/notesSlides/notesSlide20.xml" ContentType="application/vnd.openxmlformats-officedocument.presentationml.notesSlide+xml"/>
  <Default Extension="gif" ContentType="image/gif"/>
  <Override PartName="/ppt/notesSlides/notesSlide31.xml" ContentType="application/vnd.openxmlformats-officedocument.presentationml.notesSlide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tags/tag247.xml" ContentType="application/vnd.openxmlformats-officedocument.presentationml.tags+xml"/>
  <Override PartName="/ppt/tags/tag258.xml" ContentType="application/vnd.openxmlformats-officedocument.presentationml.tags+xml"/>
  <Override PartName="/ppt/slideMasters/slideMaster1.xml" ContentType="application/vnd.openxmlformats-officedocument.presentationml.slideMaster+xml"/>
  <Override PartName="/ppt/tags/tag102.xml" ContentType="application/vnd.openxmlformats-officedocument.presentationml.tags+xml"/>
  <Override PartName="/ppt/tags/tag236.xml" ContentType="application/vnd.openxmlformats-officedocument.presentationml.tags+xml"/>
  <Override PartName="/ppt/slides/slide34.xml" ContentType="application/vnd.openxmlformats-officedocument.presentationml.slide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225.xml" ContentType="application/vnd.openxmlformats-officedocument.presentationml.tags+xml"/>
  <Override PartName="/ppt/notesSlides/notesSlide36.xml" ContentType="application/vnd.openxmlformats-officedocument.presentationml.notesSlide+xml"/>
  <Default Extension="rels" ContentType="application/vnd.openxmlformats-package.relationships+xml"/>
  <Override PartName="/ppt/slides/slide23.xml" ContentType="application/vnd.openxmlformats-officedocument.presentationml.slide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50.xml" ContentType="application/vnd.openxmlformats-officedocument.presentationml.tags+xml"/>
  <Override PartName="/ppt/tags/tag261.xml" ContentType="application/vnd.openxmlformats-officedocument.presentationml.tags+xml"/>
  <Override PartName="/ppt/notesSlides/notesSlide25.xml" ContentType="application/vnd.openxmlformats-officedocument.presentationml.notesSlide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187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slides/slide28.xml" ContentType="application/vnd.openxmlformats-officedocument.presentationml.slide+xml"/>
  <Override PartName="/ppt/diagrams/colors2.xml" ContentType="application/vnd.openxmlformats-officedocument.drawingml.diagramColors+xml"/>
  <Override PartName="/ppt/tags/tag132.xml" ContentType="application/vnd.openxmlformats-officedocument.presentationml.tags+xml"/>
  <Override PartName="/ppt/tags/tag219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diagrams/drawing1.xml" ContentType="application/vnd.ms-office.drawingml.diagramDrawing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tags/tag255.xml" ContentType="application/vnd.openxmlformats-officedocument.presentationml.tags+xml"/>
  <Override PartName="/ppt/notesSlides/notesSlide19.xml" ContentType="application/vnd.openxmlformats-officedocument.presentationml.notesSlide+xml"/>
  <Default Extension="jpeg" ContentType="image/jpeg"/>
  <Override PartName="/ppt/diagrams/quickStyle1.xml" ContentType="application/vnd.openxmlformats-officedocument.drawingml.diagramStyle+xml"/>
  <Override PartName="/ppt/tags/tag3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tags/tag233.xml" ContentType="application/vnd.openxmlformats-officedocument.presentationml.tags+xml"/>
  <Override PartName="/ppt/tags/tag244.xml" ContentType="application/vnd.openxmlformats-officedocument.presentationml.tags+xml"/>
  <Override PartName="/ppt/slides/slide31.xml" ContentType="application/vnd.openxmlformats-officedocument.presentationml.slide+xml"/>
  <Override PartName="/ppt/tags/tag19.xml" ContentType="application/vnd.openxmlformats-officedocument.presentationml.tags+xml"/>
  <Override PartName="/ppt/tags/tag66.xml" ContentType="application/vnd.openxmlformats-officedocument.presentationml.tags+xml"/>
  <Override PartName="/ppt/tags/tag222.xml" ContentType="application/vnd.openxmlformats-officedocument.presentationml.tags+xml"/>
  <Override PartName="/ppt/slides/slide20.xml" ContentType="application/vnd.openxmlformats-officedocument.presentationml.slide+xml"/>
  <Override PartName="/ppt/tags/tag55.xml" ContentType="application/vnd.openxmlformats-officedocument.presentationml.tags+xml"/>
  <Override PartName="/ppt/tags/tag159.xml" ContentType="application/vnd.openxmlformats-officedocument.presentationml.tags+xml"/>
  <Override PartName="/ppt/tags/tag211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tags/tag22.xml" ContentType="application/vnd.openxmlformats-officedocument.presentationml.tags+xml"/>
  <Override PartName="/ppt/tags/tag126.xml" ContentType="application/vnd.openxmlformats-officedocument.presentationml.tags+xml"/>
  <Override PartName="/ppt/tags/tag173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62.xml" ContentType="application/vnd.openxmlformats-officedocument.presentationml.tags+xml"/>
  <Override PartName="/ppt/tags/tag249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8"/>
  </p:notesMasterIdLst>
  <p:sldIdLst>
    <p:sldId id="312" r:id="rId2"/>
    <p:sldId id="280" r:id="rId3"/>
    <p:sldId id="316" r:id="rId4"/>
    <p:sldId id="317" r:id="rId5"/>
    <p:sldId id="281" r:id="rId6"/>
    <p:sldId id="323" r:id="rId7"/>
    <p:sldId id="320" r:id="rId8"/>
    <p:sldId id="321" r:id="rId9"/>
    <p:sldId id="282" r:id="rId10"/>
    <p:sldId id="318" r:id="rId11"/>
    <p:sldId id="285" r:id="rId12"/>
    <p:sldId id="286" r:id="rId13"/>
    <p:sldId id="287" r:id="rId14"/>
    <p:sldId id="288" r:id="rId15"/>
    <p:sldId id="289" r:id="rId16"/>
    <p:sldId id="290" r:id="rId17"/>
    <p:sldId id="291" r:id="rId18"/>
    <p:sldId id="292" r:id="rId19"/>
    <p:sldId id="293" r:id="rId20"/>
    <p:sldId id="294" r:id="rId21"/>
    <p:sldId id="295" r:id="rId22"/>
    <p:sldId id="296" r:id="rId23"/>
    <p:sldId id="297" r:id="rId24"/>
    <p:sldId id="298" r:id="rId25"/>
    <p:sldId id="299" r:id="rId26"/>
    <p:sldId id="300" r:id="rId27"/>
    <p:sldId id="319" r:id="rId28"/>
    <p:sldId id="303" r:id="rId29"/>
    <p:sldId id="304" r:id="rId30"/>
    <p:sldId id="305" r:id="rId31"/>
    <p:sldId id="306" r:id="rId32"/>
    <p:sldId id="307" r:id="rId33"/>
    <p:sldId id="308" r:id="rId34"/>
    <p:sldId id="309" r:id="rId35"/>
    <p:sldId id="310" r:id="rId36"/>
    <p:sldId id="311" r:id="rId37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imes New Roman" pitchFamily="18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imes New Roman" pitchFamily="18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imes New Roman" pitchFamily="18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imes New Roman" pitchFamily="18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4C22"/>
    <a:srgbClr val="CC3300"/>
    <a:srgbClr val="FF3300"/>
    <a:srgbClr val="D42C38"/>
    <a:srgbClr val="FF7401"/>
    <a:srgbClr val="EAEAEA"/>
    <a:srgbClr val="B2B2B2"/>
    <a:srgbClr val="FC9204"/>
    <a:srgbClr val="FFCC00"/>
    <a:srgbClr val="EBEEFF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257" autoAdjust="0"/>
    <p:restoredTop sz="94203" autoAdjust="0"/>
  </p:normalViewPr>
  <p:slideViewPr>
    <p:cSldViewPr>
      <p:cViewPr varScale="1">
        <p:scale>
          <a:sx n="84" d="100"/>
          <a:sy n="84" d="100"/>
        </p:scale>
        <p:origin x="-1422" y="-7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3"/>
  <c:chart>
    <c:title>
      <c:tx>
        <c:rich>
          <a:bodyPr/>
          <a:lstStyle/>
          <a:p>
            <a:pPr>
              <a:defRPr/>
            </a:pPr>
            <a:r>
              <a:rPr lang="en-US" dirty="0" smtClean="0"/>
              <a:t>Global expenditure </a:t>
            </a:r>
            <a:r>
              <a:rPr lang="en-US" dirty="0"/>
              <a:t>on Cloud ($ billion)</a:t>
            </a:r>
          </a:p>
        </c:rich>
      </c:tx>
      <c:layout/>
    </c:title>
    <c:plotArea>
      <c:layout/>
      <c:lineChart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Expenditure on Cloud ($ billion)</c:v>
                </c:pt>
              </c:strCache>
            </c:strRef>
          </c:tx>
          <c:spPr>
            <a:ln w="57150"/>
          </c:spPr>
          <c:marker>
            <c:symbol val="none"/>
          </c:marker>
          <c:dLbls>
            <c:dLblPos val="t"/>
            <c:showVal val="1"/>
          </c:dLbls>
          <c:cat>
            <c:numRef>
              <c:f>Sheet1!$A$2:$A$4</c:f>
              <c:numCache>
                <c:formatCode>General</c:formatCode>
                <c:ptCount val="3"/>
                <c:pt idx="0">
                  <c:v>2009</c:v>
                </c:pt>
                <c:pt idx="1">
                  <c:v>2010</c:v>
                </c:pt>
                <c:pt idx="2">
                  <c:v>2014</c:v>
                </c:pt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58.6</c:v>
                </c:pt>
                <c:pt idx="1">
                  <c:v>68.3</c:v>
                </c:pt>
                <c:pt idx="2">
                  <c:v>148.80000000000001</c:v>
                </c:pt>
              </c:numCache>
            </c:numRef>
          </c:val>
        </c:ser>
        <c:dLbls>
          <c:showVal val="1"/>
        </c:dLbls>
        <c:marker val="1"/>
        <c:axId val="101754368"/>
        <c:axId val="101755904"/>
      </c:lineChart>
      <c:catAx>
        <c:axId val="101754368"/>
        <c:scaling>
          <c:orientation val="minMax"/>
        </c:scaling>
        <c:axPos val="b"/>
        <c:numFmt formatCode="General" sourceLinked="1"/>
        <c:majorTickMark val="none"/>
        <c:tickLblPos val="nextTo"/>
        <c:crossAx val="101755904"/>
        <c:crosses val="autoZero"/>
        <c:auto val="1"/>
        <c:lblAlgn val="ctr"/>
        <c:lblOffset val="100"/>
      </c:catAx>
      <c:valAx>
        <c:axId val="101755904"/>
        <c:scaling>
          <c:orientation val="minMax"/>
        </c:scaling>
        <c:axPos val="l"/>
        <c:majorGridlines>
          <c:spPr>
            <a:ln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c:spPr>
        </c:majorGridlines>
        <c:numFmt formatCode="General" sourceLinked="1"/>
        <c:majorTickMark val="none"/>
        <c:tickLblPos val="nextTo"/>
        <c:spPr>
          <a:ln w="9525">
            <a:noFill/>
          </a:ln>
        </c:spPr>
        <c:crossAx val="101754368"/>
        <c:crosses val="autoZero"/>
        <c:crossBetween val="between"/>
      </c:valAx>
    </c:plotArea>
    <c:plotVisOnly val="1"/>
  </c:chart>
  <c:spPr>
    <a:ln w="38100">
      <a:solidFill>
        <a:schemeClr val="accent1"/>
      </a:solidFill>
    </a:ln>
  </c:spPr>
  <c:txPr>
    <a:bodyPr/>
    <a:lstStyle/>
    <a:p>
      <a:pPr>
        <a:defRPr sz="1800"/>
      </a:pPr>
      <a:endParaRPr lang="en-US"/>
    </a:p>
  </c:txPr>
  <c:externalData r:id="rId1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17A49C5-236C-0642-9A5A-975EAF7EE920}" type="doc">
      <dgm:prSet loTypeId="urn:microsoft.com/office/officeart/2005/8/layout/vList3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FA83845-1C61-C249-8CED-87E3FE087F6C}">
      <dgm:prSet phldrT="[Text]" custT="1"/>
      <dgm:spPr/>
      <dgm:t>
        <a:bodyPr/>
        <a:lstStyle/>
        <a:p>
          <a:r>
            <a:rPr lang="en-US" sz="2000" b="1" dirty="0" smtClean="0">
              <a:solidFill>
                <a:schemeClr val="tx1"/>
              </a:solidFill>
            </a:rPr>
            <a:t>Cloud Models and Actors</a:t>
          </a:r>
          <a:endParaRPr lang="en-US" sz="2000" b="1" dirty="0">
            <a:solidFill>
              <a:schemeClr val="tx1"/>
            </a:solidFill>
          </a:endParaRPr>
        </a:p>
      </dgm:t>
    </dgm:pt>
    <dgm:pt modelId="{5D889974-9549-EF4D-9633-CEF6C17C05DC}" type="parTrans" cxnId="{E55B65B9-99AE-DA4E-99D3-6B395B62B2AA}">
      <dgm:prSet/>
      <dgm:spPr/>
      <dgm:t>
        <a:bodyPr/>
        <a:lstStyle/>
        <a:p>
          <a:endParaRPr lang="en-US"/>
        </a:p>
      </dgm:t>
    </dgm:pt>
    <dgm:pt modelId="{C1DD2C22-E369-B440-9F7E-0256EC8EA4D0}" type="sibTrans" cxnId="{E55B65B9-99AE-DA4E-99D3-6B395B62B2AA}">
      <dgm:prSet/>
      <dgm:spPr/>
      <dgm:t>
        <a:bodyPr/>
        <a:lstStyle/>
        <a:p>
          <a:endParaRPr lang="en-US"/>
        </a:p>
      </dgm:t>
    </dgm:pt>
    <dgm:pt modelId="{71BAFD19-3021-D643-844A-2C2EF19F698D}">
      <dgm:prSet phldrT="[Text]" custT="1"/>
      <dgm:spPr/>
      <dgm:t>
        <a:bodyPr/>
        <a:lstStyle/>
        <a:p>
          <a:r>
            <a:rPr lang="en-US" sz="2000" b="1" dirty="0" smtClean="0">
              <a:solidFill>
                <a:schemeClr val="tx1"/>
              </a:solidFill>
            </a:rPr>
            <a:t>OWASP Cloud Top 10 Security Risks</a:t>
          </a:r>
          <a:endParaRPr lang="en-US" sz="2000" b="1" dirty="0">
            <a:solidFill>
              <a:schemeClr val="tx1"/>
            </a:solidFill>
          </a:endParaRPr>
        </a:p>
      </dgm:t>
    </dgm:pt>
    <dgm:pt modelId="{291E7662-65D5-824F-8A37-A487A8CCD4DF}" type="parTrans" cxnId="{AF295FE6-90D2-F74B-8D7F-7BBC4BDBC7E4}">
      <dgm:prSet/>
      <dgm:spPr/>
      <dgm:t>
        <a:bodyPr/>
        <a:lstStyle/>
        <a:p>
          <a:endParaRPr lang="en-US"/>
        </a:p>
      </dgm:t>
    </dgm:pt>
    <dgm:pt modelId="{56EB7FD6-C1C7-294F-AC97-9CD6E1D025E8}" type="sibTrans" cxnId="{AF295FE6-90D2-F74B-8D7F-7BBC4BDBC7E4}">
      <dgm:prSet/>
      <dgm:spPr/>
      <dgm:t>
        <a:bodyPr/>
        <a:lstStyle/>
        <a:p>
          <a:endParaRPr lang="en-US"/>
        </a:p>
      </dgm:t>
    </dgm:pt>
    <dgm:pt modelId="{2DB8E17E-84B8-444E-B566-556B74241A96}">
      <dgm:prSet phldrT="[Text]" custT="1"/>
      <dgm:spPr/>
      <dgm:t>
        <a:bodyPr/>
        <a:lstStyle/>
        <a:p>
          <a:r>
            <a:rPr lang="en-US" sz="2000" b="1" dirty="0" smtClean="0">
              <a:solidFill>
                <a:schemeClr val="tx1"/>
              </a:solidFill>
            </a:rPr>
            <a:t>Q &amp; A</a:t>
          </a:r>
          <a:endParaRPr lang="en-US" sz="2000" b="1" dirty="0">
            <a:solidFill>
              <a:schemeClr val="tx1"/>
            </a:solidFill>
          </a:endParaRPr>
        </a:p>
      </dgm:t>
    </dgm:pt>
    <dgm:pt modelId="{4FCFB283-7624-B147-8777-541D44176AEF}" type="parTrans" cxnId="{663B3130-A739-3742-B9AB-C2077406F7E4}">
      <dgm:prSet/>
      <dgm:spPr/>
      <dgm:t>
        <a:bodyPr/>
        <a:lstStyle/>
        <a:p>
          <a:endParaRPr lang="en-US"/>
        </a:p>
      </dgm:t>
    </dgm:pt>
    <dgm:pt modelId="{563C5687-1802-EC4E-A570-680CF56E4D7F}" type="sibTrans" cxnId="{663B3130-A739-3742-B9AB-C2077406F7E4}">
      <dgm:prSet/>
      <dgm:spPr/>
      <dgm:t>
        <a:bodyPr/>
        <a:lstStyle/>
        <a:p>
          <a:endParaRPr lang="en-US"/>
        </a:p>
      </dgm:t>
    </dgm:pt>
    <dgm:pt modelId="{F0BE0BD1-7D2E-1845-9ACA-82D752811C0A}">
      <dgm:prSet phldrT="[Text]" custT="1"/>
      <dgm:spPr/>
      <dgm:t>
        <a:bodyPr/>
        <a:lstStyle/>
        <a:p>
          <a:r>
            <a:rPr lang="en-US" sz="2000" b="1" dirty="0" smtClean="0">
              <a:solidFill>
                <a:schemeClr val="tx1"/>
              </a:solidFill>
            </a:rPr>
            <a:t>Cloud – Industry Adoption Trend</a:t>
          </a:r>
          <a:endParaRPr lang="en-US" sz="2000" b="1" dirty="0">
            <a:solidFill>
              <a:schemeClr val="tx1"/>
            </a:solidFill>
          </a:endParaRPr>
        </a:p>
      </dgm:t>
    </dgm:pt>
    <dgm:pt modelId="{11485B48-6D00-F74A-98D2-9CD4CE607FF9}" type="parTrans" cxnId="{8574175F-ABCD-E147-AA50-6948E6E64D9E}">
      <dgm:prSet/>
      <dgm:spPr/>
      <dgm:t>
        <a:bodyPr/>
        <a:lstStyle/>
        <a:p>
          <a:endParaRPr lang="en-US"/>
        </a:p>
      </dgm:t>
    </dgm:pt>
    <dgm:pt modelId="{5C7413D3-2B9A-404C-BEC9-70F79D60CD2D}" type="sibTrans" cxnId="{8574175F-ABCD-E147-AA50-6948E6E64D9E}">
      <dgm:prSet/>
      <dgm:spPr/>
      <dgm:t>
        <a:bodyPr/>
        <a:lstStyle/>
        <a:p>
          <a:endParaRPr lang="en-US"/>
        </a:p>
      </dgm:t>
    </dgm:pt>
    <dgm:pt modelId="{8BBCE7C9-2DC5-49FA-9973-F3BD16B79C8C}">
      <dgm:prSet phldrT="[Text]" custT="1"/>
      <dgm:spPr/>
      <dgm:t>
        <a:bodyPr/>
        <a:lstStyle/>
        <a:p>
          <a:r>
            <a:rPr lang="en-US" sz="2000" b="1" dirty="0" smtClean="0">
              <a:solidFill>
                <a:schemeClr val="tx1"/>
              </a:solidFill>
            </a:rPr>
            <a:t>Mitigation Strategies</a:t>
          </a:r>
          <a:endParaRPr lang="en-US" sz="2000" b="1" dirty="0">
            <a:solidFill>
              <a:schemeClr val="tx1"/>
            </a:solidFill>
          </a:endParaRPr>
        </a:p>
      </dgm:t>
    </dgm:pt>
    <dgm:pt modelId="{C79AEACD-D445-4530-B522-D912B0FFA2C1}" type="parTrans" cxnId="{F08495A2-9AB0-43E1-8DC1-12627DDB70F4}">
      <dgm:prSet/>
      <dgm:spPr/>
      <dgm:t>
        <a:bodyPr/>
        <a:lstStyle/>
        <a:p>
          <a:endParaRPr lang="en-US"/>
        </a:p>
      </dgm:t>
    </dgm:pt>
    <dgm:pt modelId="{8B901CBE-BFE9-4918-968A-446F20DBC476}" type="sibTrans" cxnId="{F08495A2-9AB0-43E1-8DC1-12627DDB70F4}">
      <dgm:prSet/>
      <dgm:spPr/>
      <dgm:t>
        <a:bodyPr/>
        <a:lstStyle/>
        <a:p>
          <a:endParaRPr lang="en-US"/>
        </a:p>
      </dgm:t>
    </dgm:pt>
    <dgm:pt modelId="{448D6308-7CF2-4738-B466-03ABF0A3C9C5}">
      <dgm:prSet phldrT="[Text]" custT="1"/>
      <dgm:spPr/>
      <dgm:t>
        <a:bodyPr/>
        <a:lstStyle/>
        <a:p>
          <a:r>
            <a:rPr lang="en-US" sz="2000" b="1" dirty="0" smtClean="0">
              <a:solidFill>
                <a:schemeClr val="tx1"/>
              </a:solidFill>
            </a:rPr>
            <a:t>OWASP Cloud Top 10 Project</a:t>
          </a:r>
          <a:endParaRPr lang="en-US" sz="2000" b="1" dirty="0">
            <a:solidFill>
              <a:schemeClr val="tx1"/>
            </a:solidFill>
          </a:endParaRPr>
        </a:p>
      </dgm:t>
    </dgm:pt>
    <dgm:pt modelId="{B8F3BEA2-D248-461B-97E3-25BA45A0BBE2}" type="parTrans" cxnId="{9B6F2006-EFDA-4993-BB36-6E9F2F8D3BC5}">
      <dgm:prSet/>
      <dgm:spPr/>
      <dgm:t>
        <a:bodyPr/>
        <a:lstStyle/>
        <a:p>
          <a:endParaRPr lang="en-US"/>
        </a:p>
      </dgm:t>
    </dgm:pt>
    <dgm:pt modelId="{D89DF14F-8A4B-4D6E-B559-9D4C3A620C93}" type="sibTrans" cxnId="{9B6F2006-EFDA-4993-BB36-6E9F2F8D3BC5}">
      <dgm:prSet/>
      <dgm:spPr/>
      <dgm:t>
        <a:bodyPr/>
        <a:lstStyle/>
        <a:p>
          <a:endParaRPr lang="en-US"/>
        </a:p>
      </dgm:t>
    </dgm:pt>
    <dgm:pt modelId="{8451CF04-FCDB-4539-BBCE-8352FD70C61E}">
      <dgm:prSet/>
      <dgm:spPr/>
      <dgm:t>
        <a:bodyPr/>
        <a:lstStyle/>
        <a:p>
          <a:r>
            <a:rPr lang="en-US" sz="1500" b="1" dirty="0" smtClean="0">
              <a:solidFill>
                <a:schemeClr val="tx1"/>
              </a:solidFill>
            </a:rPr>
            <a:t> Motivation and Approach</a:t>
          </a:r>
          <a:endParaRPr lang="en-US" sz="1500" b="1" dirty="0">
            <a:solidFill>
              <a:schemeClr val="tx1"/>
            </a:solidFill>
          </a:endParaRPr>
        </a:p>
      </dgm:t>
    </dgm:pt>
    <dgm:pt modelId="{7B1DEEAA-9897-45B3-B455-66FA82A669B7}" type="parTrans" cxnId="{85F85E34-E87E-4993-A6B5-69EB26E5EB39}">
      <dgm:prSet/>
      <dgm:spPr/>
      <dgm:t>
        <a:bodyPr/>
        <a:lstStyle/>
        <a:p>
          <a:endParaRPr lang="en-US"/>
        </a:p>
      </dgm:t>
    </dgm:pt>
    <dgm:pt modelId="{0D24872C-76D3-4D31-BF11-FD705895ADA6}" type="sibTrans" cxnId="{85F85E34-E87E-4993-A6B5-69EB26E5EB39}">
      <dgm:prSet/>
      <dgm:spPr/>
      <dgm:t>
        <a:bodyPr/>
        <a:lstStyle/>
        <a:p>
          <a:endParaRPr lang="en-US"/>
        </a:p>
      </dgm:t>
    </dgm:pt>
    <dgm:pt modelId="{6E53FCD3-8AB9-4B4F-886A-487B7B70D488}" type="pres">
      <dgm:prSet presAssocID="{917A49C5-236C-0642-9A5A-975EAF7EE920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A7BB7A8-E078-4AAC-B9AD-E00A8A65CA95}" type="pres">
      <dgm:prSet presAssocID="{448D6308-7CF2-4738-B466-03ABF0A3C9C5}" presName="composite" presStyleCnt="0"/>
      <dgm:spPr/>
    </dgm:pt>
    <dgm:pt modelId="{316F7C1A-2E01-43C7-AD82-A9A0A4D1AD55}" type="pres">
      <dgm:prSet presAssocID="{448D6308-7CF2-4738-B466-03ABF0A3C9C5}" presName="imgShp" presStyleLbl="fgImgPlace1" presStyleIdx="0" presStyleCnt="6"/>
      <dgm:spPr/>
    </dgm:pt>
    <dgm:pt modelId="{B72EF47E-A085-4E61-AB1B-62F7DBF31C95}" type="pres">
      <dgm:prSet presAssocID="{448D6308-7CF2-4738-B466-03ABF0A3C9C5}" presName="txShp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BB304D4-5B19-49BC-B93C-C858A30B508C}" type="pres">
      <dgm:prSet presAssocID="{D89DF14F-8A4B-4D6E-B559-9D4C3A620C93}" presName="spacing" presStyleCnt="0"/>
      <dgm:spPr/>
    </dgm:pt>
    <dgm:pt modelId="{BF9C7518-F3DE-3F4D-8161-108058657184}" type="pres">
      <dgm:prSet presAssocID="{F0BE0BD1-7D2E-1845-9ACA-82D752811C0A}" presName="composite" presStyleCnt="0"/>
      <dgm:spPr/>
    </dgm:pt>
    <dgm:pt modelId="{A46099A2-55AF-144B-A307-C52A555EC218}" type="pres">
      <dgm:prSet presAssocID="{F0BE0BD1-7D2E-1845-9ACA-82D752811C0A}" presName="imgShp" presStyleLbl="fgImgPlace1" presStyleIdx="1" presStyleCnt="6"/>
      <dgm:spPr/>
    </dgm:pt>
    <dgm:pt modelId="{27DEAD30-FDA9-8A41-926E-D17C2895A20A}" type="pres">
      <dgm:prSet presAssocID="{F0BE0BD1-7D2E-1845-9ACA-82D752811C0A}" presName="txShp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3222D3C-A778-7A45-B11E-80922C58D652}" type="pres">
      <dgm:prSet presAssocID="{5C7413D3-2B9A-404C-BEC9-70F79D60CD2D}" presName="spacing" presStyleCnt="0"/>
      <dgm:spPr/>
    </dgm:pt>
    <dgm:pt modelId="{7F8E18CE-F2A9-524F-A27E-D905EFD0FDDB}" type="pres">
      <dgm:prSet presAssocID="{8FA83845-1C61-C249-8CED-87E3FE087F6C}" presName="composite" presStyleCnt="0"/>
      <dgm:spPr/>
    </dgm:pt>
    <dgm:pt modelId="{49BD8B17-7D14-2349-884C-354C2B881F6A}" type="pres">
      <dgm:prSet presAssocID="{8FA83845-1C61-C249-8CED-87E3FE087F6C}" presName="imgShp" presStyleLbl="fgImgPlace1" presStyleIdx="2" presStyleCnt="6"/>
      <dgm:spPr/>
    </dgm:pt>
    <dgm:pt modelId="{BFF1C04D-2CBD-4846-92D8-DEA1C4D2C769}" type="pres">
      <dgm:prSet presAssocID="{8FA83845-1C61-C249-8CED-87E3FE087F6C}" presName="txShp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A776353-0E2A-364B-BD6C-72A4A06F6D13}" type="pres">
      <dgm:prSet presAssocID="{C1DD2C22-E369-B440-9F7E-0256EC8EA4D0}" presName="spacing" presStyleCnt="0"/>
      <dgm:spPr/>
    </dgm:pt>
    <dgm:pt modelId="{84DEC048-7058-0F42-89CE-13823EEEB7EB}" type="pres">
      <dgm:prSet presAssocID="{71BAFD19-3021-D643-844A-2C2EF19F698D}" presName="composite" presStyleCnt="0"/>
      <dgm:spPr/>
    </dgm:pt>
    <dgm:pt modelId="{7DF62EF5-9024-CA44-AA43-C201CBE180BA}" type="pres">
      <dgm:prSet presAssocID="{71BAFD19-3021-D643-844A-2C2EF19F698D}" presName="imgShp" presStyleLbl="fgImgPlace1" presStyleIdx="3" presStyleCnt="6"/>
      <dgm:spPr/>
    </dgm:pt>
    <dgm:pt modelId="{03E84FBA-C341-D044-A200-925EFD0FBEEE}" type="pres">
      <dgm:prSet presAssocID="{71BAFD19-3021-D643-844A-2C2EF19F698D}" presName="txShp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521E19A-2242-A74B-948D-6F54F9FBF086}" type="pres">
      <dgm:prSet presAssocID="{56EB7FD6-C1C7-294F-AC97-9CD6E1D025E8}" presName="spacing" presStyleCnt="0"/>
      <dgm:spPr/>
    </dgm:pt>
    <dgm:pt modelId="{0F04CF38-DB5A-4888-B36A-BEE4C73CC54D}" type="pres">
      <dgm:prSet presAssocID="{8BBCE7C9-2DC5-49FA-9973-F3BD16B79C8C}" presName="composite" presStyleCnt="0"/>
      <dgm:spPr/>
    </dgm:pt>
    <dgm:pt modelId="{4916D3A3-5C8E-418F-B241-EA6C5D31F9B7}" type="pres">
      <dgm:prSet presAssocID="{8BBCE7C9-2DC5-49FA-9973-F3BD16B79C8C}" presName="imgShp" presStyleLbl="fgImgPlace1" presStyleIdx="4" presStyleCnt="6"/>
      <dgm:spPr/>
    </dgm:pt>
    <dgm:pt modelId="{00B42330-4157-44E3-B831-1AEEB6633C2F}" type="pres">
      <dgm:prSet presAssocID="{8BBCE7C9-2DC5-49FA-9973-F3BD16B79C8C}" presName="txShp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20D29C8-77CC-44E9-ADF6-9F0440A65A1F}" type="pres">
      <dgm:prSet presAssocID="{8B901CBE-BFE9-4918-968A-446F20DBC476}" presName="spacing" presStyleCnt="0"/>
      <dgm:spPr/>
    </dgm:pt>
    <dgm:pt modelId="{AD548C32-5CFA-264F-BF44-546064BE61C2}" type="pres">
      <dgm:prSet presAssocID="{2DB8E17E-84B8-444E-B566-556B74241A96}" presName="composite" presStyleCnt="0"/>
      <dgm:spPr/>
    </dgm:pt>
    <dgm:pt modelId="{0A22A90E-E4B8-E94A-8377-4A877780D180}" type="pres">
      <dgm:prSet presAssocID="{2DB8E17E-84B8-444E-B566-556B74241A96}" presName="imgShp" presStyleLbl="fgImgPlace1" presStyleIdx="5" presStyleCnt="6"/>
      <dgm:spPr/>
    </dgm:pt>
    <dgm:pt modelId="{E793D469-A529-E34D-9A27-8AC142BCFE57}" type="pres">
      <dgm:prSet presAssocID="{2DB8E17E-84B8-444E-B566-556B74241A96}" presName="txShp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48F9075-6B6F-49D8-B578-E44D5291CB4A}" type="presOf" srcId="{8451CF04-FCDB-4539-BBCE-8352FD70C61E}" destId="{B72EF47E-A085-4E61-AB1B-62F7DBF31C95}" srcOrd="0" destOrd="1" presId="urn:microsoft.com/office/officeart/2005/8/layout/vList3"/>
    <dgm:cxn modelId="{AF295FE6-90D2-F74B-8D7F-7BBC4BDBC7E4}" srcId="{917A49C5-236C-0642-9A5A-975EAF7EE920}" destId="{71BAFD19-3021-D643-844A-2C2EF19F698D}" srcOrd="3" destOrd="0" parTransId="{291E7662-65D5-824F-8A37-A487A8CCD4DF}" sibTransId="{56EB7FD6-C1C7-294F-AC97-9CD6E1D025E8}"/>
    <dgm:cxn modelId="{068E570B-CE81-472A-9F1C-89F0AA2A660A}" type="presOf" srcId="{8FA83845-1C61-C249-8CED-87E3FE087F6C}" destId="{BFF1C04D-2CBD-4846-92D8-DEA1C4D2C769}" srcOrd="0" destOrd="0" presId="urn:microsoft.com/office/officeart/2005/8/layout/vList3"/>
    <dgm:cxn modelId="{9B6F2006-EFDA-4993-BB36-6E9F2F8D3BC5}" srcId="{917A49C5-236C-0642-9A5A-975EAF7EE920}" destId="{448D6308-7CF2-4738-B466-03ABF0A3C9C5}" srcOrd="0" destOrd="0" parTransId="{B8F3BEA2-D248-461B-97E3-25BA45A0BBE2}" sibTransId="{D89DF14F-8A4B-4D6E-B559-9D4C3A620C93}"/>
    <dgm:cxn modelId="{355197D7-5227-4497-9DC6-348373299AFF}" type="presOf" srcId="{F0BE0BD1-7D2E-1845-9ACA-82D752811C0A}" destId="{27DEAD30-FDA9-8A41-926E-D17C2895A20A}" srcOrd="0" destOrd="0" presId="urn:microsoft.com/office/officeart/2005/8/layout/vList3"/>
    <dgm:cxn modelId="{C0A73AA5-F1D9-429C-B2CA-76C421751FAF}" type="presOf" srcId="{71BAFD19-3021-D643-844A-2C2EF19F698D}" destId="{03E84FBA-C341-D044-A200-925EFD0FBEEE}" srcOrd="0" destOrd="0" presId="urn:microsoft.com/office/officeart/2005/8/layout/vList3"/>
    <dgm:cxn modelId="{C0DA0F59-A2B5-4B60-B6DB-8B83CD3DDF4C}" type="presOf" srcId="{2DB8E17E-84B8-444E-B566-556B74241A96}" destId="{E793D469-A529-E34D-9A27-8AC142BCFE57}" srcOrd="0" destOrd="0" presId="urn:microsoft.com/office/officeart/2005/8/layout/vList3"/>
    <dgm:cxn modelId="{E55B65B9-99AE-DA4E-99D3-6B395B62B2AA}" srcId="{917A49C5-236C-0642-9A5A-975EAF7EE920}" destId="{8FA83845-1C61-C249-8CED-87E3FE087F6C}" srcOrd="2" destOrd="0" parTransId="{5D889974-9549-EF4D-9633-CEF6C17C05DC}" sibTransId="{C1DD2C22-E369-B440-9F7E-0256EC8EA4D0}"/>
    <dgm:cxn modelId="{4EF4741D-1EC7-4381-9D1E-3DE0E874E27A}" type="presOf" srcId="{917A49C5-236C-0642-9A5A-975EAF7EE920}" destId="{6E53FCD3-8AB9-4B4F-886A-487B7B70D488}" srcOrd="0" destOrd="0" presId="urn:microsoft.com/office/officeart/2005/8/layout/vList3"/>
    <dgm:cxn modelId="{B71A2D9F-9704-43AB-9811-8FB919F8E0C7}" type="presOf" srcId="{8BBCE7C9-2DC5-49FA-9973-F3BD16B79C8C}" destId="{00B42330-4157-44E3-B831-1AEEB6633C2F}" srcOrd="0" destOrd="0" presId="urn:microsoft.com/office/officeart/2005/8/layout/vList3"/>
    <dgm:cxn modelId="{8574175F-ABCD-E147-AA50-6948E6E64D9E}" srcId="{917A49C5-236C-0642-9A5A-975EAF7EE920}" destId="{F0BE0BD1-7D2E-1845-9ACA-82D752811C0A}" srcOrd="1" destOrd="0" parTransId="{11485B48-6D00-F74A-98D2-9CD4CE607FF9}" sibTransId="{5C7413D3-2B9A-404C-BEC9-70F79D60CD2D}"/>
    <dgm:cxn modelId="{663B3130-A739-3742-B9AB-C2077406F7E4}" srcId="{917A49C5-236C-0642-9A5A-975EAF7EE920}" destId="{2DB8E17E-84B8-444E-B566-556B74241A96}" srcOrd="5" destOrd="0" parTransId="{4FCFB283-7624-B147-8777-541D44176AEF}" sibTransId="{563C5687-1802-EC4E-A570-680CF56E4D7F}"/>
    <dgm:cxn modelId="{5A717705-E34D-4E69-8F18-013B75C04064}" type="presOf" srcId="{448D6308-7CF2-4738-B466-03ABF0A3C9C5}" destId="{B72EF47E-A085-4E61-AB1B-62F7DBF31C95}" srcOrd="0" destOrd="0" presId="urn:microsoft.com/office/officeart/2005/8/layout/vList3"/>
    <dgm:cxn modelId="{F08495A2-9AB0-43E1-8DC1-12627DDB70F4}" srcId="{917A49C5-236C-0642-9A5A-975EAF7EE920}" destId="{8BBCE7C9-2DC5-49FA-9973-F3BD16B79C8C}" srcOrd="4" destOrd="0" parTransId="{C79AEACD-D445-4530-B522-D912B0FFA2C1}" sibTransId="{8B901CBE-BFE9-4918-968A-446F20DBC476}"/>
    <dgm:cxn modelId="{85F85E34-E87E-4993-A6B5-69EB26E5EB39}" srcId="{448D6308-7CF2-4738-B466-03ABF0A3C9C5}" destId="{8451CF04-FCDB-4539-BBCE-8352FD70C61E}" srcOrd="0" destOrd="0" parTransId="{7B1DEEAA-9897-45B3-B455-66FA82A669B7}" sibTransId="{0D24872C-76D3-4D31-BF11-FD705895ADA6}"/>
    <dgm:cxn modelId="{AFBEC67D-EB22-4381-B184-90C4576E76A0}" type="presParOf" srcId="{6E53FCD3-8AB9-4B4F-886A-487B7B70D488}" destId="{EA7BB7A8-E078-4AAC-B9AD-E00A8A65CA95}" srcOrd="0" destOrd="0" presId="urn:microsoft.com/office/officeart/2005/8/layout/vList3"/>
    <dgm:cxn modelId="{88F79704-800B-4C9D-8A85-F4BBEC6A1DF7}" type="presParOf" srcId="{EA7BB7A8-E078-4AAC-B9AD-E00A8A65CA95}" destId="{316F7C1A-2E01-43C7-AD82-A9A0A4D1AD55}" srcOrd="0" destOrd="0" presId="urn:microsoft.com/office/officeart/2005/8/layout/vList3"/>
    <dgm:cxn modelId="{EA47A57C-35DC-4F09-8329-5BD649F30123}" type="presParOf" srcId="{EA7BB7A8-E078-4AAC-B9AD-E00A8A65CA95}" destId="{B72EF47E-A085-4E61-AB1B-62F7DBF31C95}" srcOrd="1" destOrd="0" presId="urn:microsoft.com/office/officeart/2005/8/layout/vList3"/>
    <dgm:cxn modelId="{83624F27-4A67-484F-A4BB-069EE1F202C9}" type="presParOf" srcId="{6E53FCD3-8AB9-4B4F-886A-487B7B70D488}" destId="{3BB304D4-5B19-49BC-B93C-C858A30B508C}" srcOrd="1" destOrd="0" presId="urn:microsoft.com/office/officeart/2005/8/layout/vList3"/>
    <dgm:cxn modelId="{23E725D6-4557-451E-B037-FBF649FD4EE3}" type="presParOf" srcId="{6E53FCD3-8AB9-4B4F-886A-487B7B70D488}" destId="{BF9C7518-F3DE-3F4D-8161-108058657184}" srcOrd="2" destOrd="0" presId="urn:microsoft.com/office/officeart/2005/8/layout/vList3"/>
    <dgm:cxn modelId="{1872B3F3-F5F4-4FC7-89D1-6FF37AFFFBF9}" type="presParOf" srcId="{BF9C7518-F3DE-3F4D-8161-108058657184}" destId="{A46099A2-55AF-144B-A307-C52A555EC218}" srcOrd="0" destOrd="0" presId="urn:microsoft.com/office/officeart/2005/8/layout/vList3"/>
    <dgm:cxn modelId="{7E4A4145-4924-43D8-9DCD-FF55573F73B4}" type="presParOf" srcId="{BF9C7518-F3DE-3F4D-8161-108058657184}" destId="{27DEAD30-FDA9-8A41-926E-D17C2895A20A}" srcOrd="1" destOrd="0" presId="urn:microsoft.com/office/officeart/2005/8/layout/vList3"/>
    <dgm:cxn modelId="{7E1348A7-DA72-498B-935F-58EDC2A6AC91}" type="presParOf" srcId="{6E53FCD3-8AB9-4B4F-886A-487B7B70D488}" destId="{43222D3C-A778-7A45-B11E-80922C58D652}" srcOrd="3" destOrd="0" presId="urn:microsoft.com/office/officeart/2005/8/layout/vList3"/>
    <dgm:cxn modelId="{A61C6446-F420-407D-907D-F70A9EE717CE}" type="presParOf" srcId="{6E53FCD3-8AB9-4B4F-886A-487B7B70D488}" destId="{7F8E18CE-F2A9-524F-A27E-D905EFD0FDDB}" srcOrd="4" destOrd="0" presId="urn:microsoft.com/office/officeart/2005/8/layout/vList3"/>
    <dgm:cxn modelId="{4A9AEDCB-94F0-4AF6-8BE9-D76FA2D76CBD}" type="presParOf" srcId="{7F8E18CE-F2A9-524F-A27E-D905EFD0FDDB}" destId="{49BD8B17-7D14-2349-884C-354C2B881F6A}" srcOrd="0" destOrd="0" presId="urn:microsoft.com/office/officeart/2005/8/layout/vList3"/>
    <dgm:cxn modelId="{B5BCC6F6-64BD-4520-900A-21498E7117E3}" type="presParOf" srcId="{7F8E18CE-F2A9-524F-A27E-D905EFD0FDDB}" destId="{BFF1C04D-2CBD-4846-92D8-DEA1C4D2C769}" srcOrd="1" destOrd="0" presId="urn:microsoft.com/office/officeart/2005/8/layout/vList3"/>
    <dgm:cxn modelId="{A198BCC6-6224-479F-B80B-C89A6513C6B0}" type="presParOf" srcId="{6E53FCD3-8AB9-4B4F-886A-487B7B70D488}" destId="{4A776353-0E2A-364B-BD6C-72A4A06F6D13}" srcOrd="5" destOrd="0" presId="urn:microsoft.com/office/officeart/2005/8/layout/vList3"/>
    <dgm:cxn modelId="{F5BA9305-34A0-478B-A0E8-82F111E4408C}" type="presParOf" srcId="{6E53FCD3-8AB9-4B4F-886A-487B7B70D488}" destId="{84DEC048-7058-0F42-89CE-13823EEEB7EB}" srcOrd="6" destOrd="0" presId="urn:microsoft.com/office/officeart/2005/8/layout/vList3"/>
    <dgm:cxn modelId="{E5E9143E-646E-43BD-8F6C-CE1C092B5B89}" type="presParOf" srcId="{84DEC048-7058-0F42-89CE-13823EEEB7EB}" destId="{7DF62EF5-9024-CA44-AA43-C201CBE180BA}" srcOrd="0" destOrd="0" presId="urn:microsoft.com/office/officeart/2005/8/layout/vList3"/>
    <dgm:cxn modelId="{B714B88C-DC57-4D57-865E-CC11230DDC31}" type="presParOf" srcId="{84DEC048-7058-0F42-89CE-13823EEEB7EB}" destId="{03E84FBA-C341-D044-A200-925EFD0FBEEE}" srcOrd="1" destOrd="0" presId="urn:microsoft.com/office/officeart/2005/8/layout/vList3"/>
    <dgm:cxn modelId="{FC6C01BB-3EDE-45E7-A87D-71ECC9EB9ECA}" type="presParOf" srcId="{6E53FCD3-8AB9-4B4F-886A-487B7B70D488}" destId="{C521E19A-2242-A74B-948D-6F54F9FBF086}" srcOrd="7" destOrd="0" presId="urn:microsoft.com/office/officeart/2005/8/layout/vList3"/>
    <dgm:cxn modelId="{98DFBF30-0D81-4A53-9AAF-438BF4AECE44}" type="presParOf" srcId="{6E53FCD3-8AB9-4B4F-886A-487B7B70D488}" destId="{0F04CF38-DB5A-4888-B36A-BEE4C73CC54D}" srcOrd="8" destOrd="0" presId="urn:microsoft.com/office/officeart/2005/8/layout/vList3"/>
    <dgm:cxn modelId="{214DE218-FC86-4346-925C-600FE1614E5C}" type="presParOf" srcId="{0F04CF38-DB5A-4888-B36A-BEE4C73CC54D}" destId="{4916D3A3-5C8E-418F-B241-EA6C5D31F9B7}" srcOrd="0" destOrd="0" presId="urn:microsoft.com/office/officeart/2005/8/layout/vList3"/>
    <dgm:cxn modelId="{466B38FF-F225-475E-A029-DFF84A07B6C8}" type="presParOf" srcId="{0F04CF38-DB5A-4888-B36A-BEE4C73CC54D}" destId="{00B42330-4157-44E3-B831-1AEEB6633C2F}" srcOrd="1" destOrd="0" presId="urn:microsoft.com/office/officeart/2005/8/layout/vList3"/>
    <dgm:cxn modelId="{02AFFED1-D059-4B1D-99B8-C876F842B052}" type="presParOf" srcId="{6E53FCD3-8AB9-4B4F-886A-487B7B70D488}" destId="{D20D29C8-77CC-44E9-ADF6-9F0440A65A1F}" srcOrd="9" destOrd="0" presId="urn:microsoft.com/office/officeart/2005/8/layout/vList3"/>
    <dgm:cxn modelId="{8CF34951-C309-477A-BD16-668E4BD23404}" type="presParOf" srcId="{6E53FCD3-8AB9-4B4F-886A-487B7B70D488}" destId="{AD548C32-5CFA-264F-BF44-546064BE61C2}" srcOrd="10" destOrd="0" presId="urn:microsoft.com/office/officeart/2005/8/layout/vList3"/>
    <dgm:cxn modelId="{228B95AE-F2AA-4A0E-8ADA-C62D331EBCC5}" type="presParOf" srcId="{AD548C32-5CFA-264F-BF44-546064BE61C2}" destId="{0A22A90E-E4B8-E94A-8377-4A877780D180}" srcOrd="0" destOrd="0" presId="urn:microsoft.com/office/officeart/2005/8/layout/vList3"/>
    <dgm:cxn modelId="{0DE4FE05-9421-41D9-A6E3-9799B1538197}" type="presParOf" srcId="{AD548C32-5CFA-264F-BF44-546064BE61C2}" destId="{E793D469-A529-E34D-9A27-8AC142BCFE57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17A49C5-236C-0642-9A5A-975EAF7EE920}" type="doc">
      <dgm:prSet loTypeId="urn:microsoft.com/office/officeart/2005/8/layout/vList3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0BE0BD1-7D2E-1845-9ACA-82D752811C0A}">
      <dgm:prSet phldrT="[Text]"/>
      <dgm:spPr/>
      <dgm:t>
        <a:bodyPr/>
        <a:lstStyle/>
        <a:p>
          <a:pPr algn="l"/>
          <a:r>
            <a:rPr lang="en-US" b="1" dirty="0" err="1" smtClean="0">
              <a:solidFill>
                <a:schemeClr val="tx1"/>
              </a:solidFill>
            </a:rPr>
            <a:t>R1</a:t>
          </a:r>
          <a:r>
            <a:rPr lang="en-US" b="1" dirty="0" smtClean="0">
              <a:solidFill>
                <a:schemeClr val="tx1"/>
              </a:solidFill>
            </a:rPr>
            <a:t>: Accountability &amp; Data Risk</a:t>
          </a:r>
          <a:endParaRPr lang="en-US" dirty="0">
            <a:solidFill>
              <a:schemeClr val="tx1"/>
            </a:solidFill>
          </a:endParaRPr>
        </a:p>
      </dgm:t>
    </dgm:pt>
    <dgm:pt modelId="{11485B48-6D00-F74A-98D2-9CD4CE607FF9}" type="parTrans" cxnId="{8574175F-ABCD-E147-AA50-6948E6E64D9E}">
      <dgm:prSet/>
      <dgm:spPr/>
      <dgm:t>
        <a:bodyPr/>
        <a:lstStyle/>
        <a:p>
          <a:endParaRPr lang="en-US"/>
        </a:p>
      </dgm:t>
    </dgm:pt>
    <dgm:pt modelId="{5C7413D3-2B9A-404C-BEC9-70F79D60CD2D}" type="sibTrans" cxnId="{8574175F-ABCD-E147-AA50-6948E6E64D9E}">
      <dgm:prSet/>
      <dgm:spPr/>
      <dgm:t>
        <a:bodyPr/>
        <a:lstStyle/>
        <a:p>
          <a:endParaRPr lang="en-US"/>
        </a:p>
      </dgm:t>
    </dgm:pt>
    <dgm:pt modelId="{83543F3E-5431-4189-BF39-607CAB5C2801}">
      <dgm:prSet/>
      <dgm:spPr/>
      <dgm:t>
        <a:bodyPr/>
        <a:lstStyle/>
        <a:p>
          <a:pPr algn="l"/>
          <a:r>
            <a:rPr lang="en-US" b="1" dirty="0" err="1" smtClean="0">
              <a:solidFill>
                <a:schemeClr val="tx1"/>
              </a:solidFill>
            </a:rPr>
            <a:t>R2</a:t>
          </a:r>
          <a:r>
            <a:rPr lang="en-US" b="1" dirty="0" smtClean="0">
              <a:solidFill>
                <a:schemeClr val="tx1"/>
              </a:solidFill>
            </a:rPr>
            <a:t>: User Identities</a:t>
          </a:r>
        </a:p>
      </dgm:t>
    </dgm:pt>
    <dgm:pt modelId="{D2BC4157-2AD7-4377-98D9-9110A5E6FAD0}" type="parTrans" cxnId="{E965537F-6865-420A-A8E3-3D452ADBB4D3}">
      <dgm:prSet/>
      <dgm:spPr/>
      <dgm:t>
        <a:bodyPr/>
        <a:lstStyle/>
        <a:p>
          <a:endParaRPr lang="en-US"/>
        </a:p>
      </dgm:t>
    </dgm:pt>
    <dgm:pt modelId="{52219959-CDBF-49C2-9012-5F853039F33D}" type="sibTrans" cxnId="{E965537F-6865-420A-A8E3-3D452ADBB4D3}">
      <dgm:prSet/>
      <dgm:spPr/>
      <dgm:t>
        <a:bodyPr/>
        <a:lstStyle/>
        <a:p>
          <a:endParaRPr lang="en-US"/>
        </a:p>
      </dgm:t>
    </dgm:pt>
    <dgm:pt modelId="{318FB5E9-0213-43C9-AEE5-10C85BE69FE9}">
      <dgm:prSet/>
      <dgm:spPr/>
      <dgm:t>
        <a:bodyPr/>
        <a:lstStyle/>
        <a:p>
          <a:pPr algn="l"/>
          <a:r>
            <a:rPr lang="en-US" b="1" dirty="0" err="1" smtClean="0">
              <a:solidFill>
                <a:schemeClr val="tx1"/>
              </a:solidFill>
            </a:rPr>
            <a:t>R3</a:t>
          </a:r>
          <a:r>
            <a:rPr lang="en-US" b="1" dirty="0" smtClean="0">
              <a:solidFill>
                <a:schemeClr val="tx1"/>
              </a:solidFill>
            </a:rPr>
            <a:t>: Regulatory Compliance</a:t>
          </a:r>
        </a:p>
      </dgm:t>
    </dgm:pt>
    <dgm:pt modelId="{7B56EC27-E6FB-464D-A265-2F02333312D7}" type="parTrans" cxnId="{ACDCB443-91FE-49C7-B789-5E1CF6F6A3EA}">
      <dgm:prSet/>
      <dgm:spPr/>
      <dgm:t>
        <a:bodyPr/>
        <a:lstStyle/>
        <a:p>
          <a:endParaRPr lang="en-US"/>
        </a:p>
      </dgm:t>
    </dgm:pt>
    <dgm:pt modelId="{D48D430A-A596-4161-A4F8-F41E0891FCB4}" type="sibTrans" cxnId="{ACDCB443-91FE-49C7-B789-5E1CF6F6A3EA}">
      <dgm:prSet/>
      <dgm:spPr/>
      <dgm:t>
        <a:bodyPr/>
        <a:lstStyle/>
        <a:p>
          <a:endParaRPr lang="en-US"/>
        </a:p>
      </dgm:t>
    </dgm:pt>
    <dgm:pt modelId="{A27CEF34-BC18-4F35-9740-28B1FCAE6C44}">
      <dgm:prSet/>
      <dgm:spPr/>
      <dgm:t>
        <a:bodyPr/>
        <a:lstStyle/>
        <a:p>
          <a:pPr algn="l"/>
          <a:r>
            <a:rPr lang="en-US" b="1" dirty="0" err="1" smtClean="0">
              <a:solidFill>
                <a:schemeClr val="tx1"/>
              </a:solidFill>
            </a:rPr>
            <a:t>R4</a:t>
          </a:r>
          <a:r>
            <a:rPr lang="en-US" b="1" dirty="0" smtClean="0">
              <a:solidFill>
                <a:schemeClr val="tx1"/>
              </a:solidFill>
            </a:rPr>
            <a:t>: Business Continuity &amp; Resiliency</a:t>
          </a:r>
        </a:p>
      </dgm:t>
    </dgm:pt>
    <dgm:pt modelId="{F61468EA-B8A0-48F5-825A-4366FFDFB35D}" type="parTrans" cxnId="{53CD50A8-DA55-44B4-B155-30E966621364}">
      <dgm:prSet/>
      <dgm:spPr/>
      <dgm:t>
        <a:bodyPr/>
        <a:lstStyle/>
        <a:p>
          <a:endParaRPr lang="en-US"/>
        </a:p>
      </dgm:t>
    </dgm:pt>
    <dgm:pt modelId="{8D5802D1-F5BC-482A-8A35-F9E89C43839D}" type="sibTrans" cxnId="{53CD50A8-DA55-44B4-B155-30E966621364}">
      <dgm:prSet/>
      <dgm:spPr/>
      <dgm:t>
        <a:bodyPr/>
        <a:lstStyle/>
        <a:p>
          <a:endParaRPr lang="en-US"/>
        </a:p>
      </dgm:t>
    </dgm:pt>
    <dgm:pt modelId="{3D556A6E-9A7E-4A8A-9198-F7ADEB736942}">
      <dgm:prSet/>
      <dgm:spPr/>
      <dgm:t>
        <a:bodyPr/>
        <a:lstStyle/>
        <a:p>
          <a:pPr algn="l"/>
          <a:r>
            <a:rPr lang="en-US" b="1" dirty="0" smtClean="0">
              <a:solidFill>
                <a:schemeClr val="tx1"/>
              </a:solidFill>
            </a:rPr>
            <a:t>R5: User Privacy &amp; Secondary Usage of Data</a:t>
          </a:r>
        </a:p>
      </dgm:t>
    </dgm:pt>
    <dgm:pt modelId="{558AF10B-55B7-4CCF-A9A2-77C808A42439}" type="parTrans" cxnId="{B41C79E9-999F-4F0B-AA66-63DDDB951BFE}">
      <dgm:prSet/>
      <dgm:spPr/>
      <dgm:t>
        <a:bodyPr/>
        <a:lstStyle/>
        <a:p>
          <a:endParaRPr lang="en-US"/>
        </a:p>
      </dgm:t>
    </dgm:pt>
    <dgm:pt modelId="{FE1F94DC-6BF9-4701-8FAF-780F9F670527}" type="sibTrans" cxnId="{B41C79E9-999F-4F0B-AA66-63DDDB951BFE}">
      <dgm:prSet/>
      <dgm:spPr/>
      <dgm:t>
        <a:bodyPr/>
        <a:lstStyle/>
        <a:p>
          <a:endParaRPr lang="en-US"/>
        </a:p>
      </dgm:t>
    </dgm:pt>
    <dgm:pt modelId="{7DA2C2BF-3BA2-4626-9D6E-1BAC3675121E}">
      <dgm:prSet/>
      <dgm:spPr/>
      <dgm:t>
        <a:bodyPr/>
        <a:lstStyle/>
        <a:p>
          <a:pPr algn="l"/>
          <a:r>
            <a:rPr lang="en-US" b="1" dirty="0" err="1" smtClean="0">
              <a:solidFill>
                <a:schemeClr val="tx1"/>
              </a:solidFill>
            </a:rPr>
            <a:t>R6</a:t>
          </a:r>
          <a:r>
            <a:rPr lang="en-US" b="1" dirty="0" smtClean="0">
              <a:solidFill>
                <a:schemeClr val="tx1"/>
              </a:solidFill>
            </a:rPr>
            <a:t>: Service &amp; Data Integration</a:t>
          </a:r>
        </a:p>
      </dgm:t>
    </dgm:pt>
    <dgm:pt modelId="{1ECDDF83-8131-4A27-AC92-EDBC46222CCF}" type="parTrans" cxnId="{1E237258-1D98-45D6-B496-D37CF44EA9F7}">
      <dgm:prSet/>
      <dgm:spPr/>
      <dgm:t>
        <a:bodyPr/>
        <a:lstStyle/>
        <a:p>
          <a:endParaRPr lang="en-US"/>
        </a:p>
      </dgm:t>
    </dgm:pt>
    <dgm:pt modelId="{AA46146A-A551-4091-B029-0502A8EB88A2}" type="sibTrans" cxnId="{1E237258-1D98-45D6-B496-D37CF44EA9F7}">
      <dgm:prSet/>
      <dgm:spPr/>
      <dgm:t>
        <a:bodyPr/>
        <a:lstStyle/>
        <a:p>
          <a:endParaRPr lang="en-US"/>
        </a:p>
      </dgm:t>
    </dgm:pt>
    <dgm:pt modelId="{37EF0A70-1C3B-4A43-A2DB-B3F678CDC851}">
      <dgm:prSet/>
      <dgm:spPr/>
      <dgm:t>
        <a:bodyPr/>
        <a:lstStyle/>
        <a:p>
          <a:pPr algn="l"/>
          <a:r>
            <a:rPr lang="en-US" b="1" dirty="0" smtClean="0">
              <a:solidFill>
                <a:schemeClr val="tx1"/>
              </a:solidFill>
            </a:rPr>
            <a:t>R7: Multi-tenancy &amp; Physical Security</a:t>
          </a:r>
        </a:p>
      </dgm:t>
    </dgm:pt>
    <dgm:pt modelId="{18D7BEF3-18F9-4F3C-8DA1-1D5628D29C1F}" type="parTrans" cxnId="{1EE8D00B-5997-41C5-BD26-0743D46F14A1}">
      <dgm:prSet/>
      <dgm:spPr/>
      <dgm:t>
        <a:bodyPr/>
        <a:lstStyle/>
        <a:p>
          <a:endParaRPr lang="en-US"/>
        </a:p>
      </dgm:t>
    </dgm:pt>
    <dgm:pt modelId="{C8F259C2-F5CD-4C33-ABD4-2B6E59D394DE}" type="sibTrans" cxnId="{1EE8D00B-5997-41C5-BD26-0743D46F14A1}">
      <dgm:prSet/>
      <dgm:spPr/>
      <dgm:t>
        <a:bodyPr/>
        <a:lstStyle/>
        <a:p>
          <a:endParaRPr lang="en-US"/>
        </a:p>
      </dgm:t>
    </dgm:pt>
    <dgm:pt modelId="{011D7C75-2233-47E7-8BD1-3401CADF46D7}">
      <dgm:prSet/>
      <dgm:spPr/>
      <dgm:t>
        <a:bodyPr/>
        <a:lstStyle/>
        <a:p>
          <a:pPr algn="l"/>
          <a:r>
            <a:rPr lang="en-US" b="1" dirty="0" err="1" smtClean="0">
              <a:solidFill>
                <a:schemeClr val="tx1"/>
              </a:solidFill>
            </a:rPr>
            <a:t>R8</a:t>
          </a:r>
          <a:r>
            <a:rPr lang="en-US" b="1" dirty="0" smtClean="0">
              <a:solidFill>
                <a:schemeClr val="tx1"/>
              </a:solidFill>
            </a:rPr>
            <a:t>: Incidence Analysis &amp; Forensics</a:t>
          </a:r>
        </a:p>
      </dgm:t>
    </dgm:pt>
    <dgm:pt modelId="{06511B71-9FF9-4879-A1B8-1E2A582CCE96}" type="parTrans" cxnId="{441B61BD-C747-47C4-950D-A9ADA524FE96}">
      <dgm:prSet/>
      <dgm:spPr/>
      <dgm:t>
        <a:bodyPr/>
        <a:lstStyle/>
        <a:p>
          <a:endParaRPr lang="en-US"/>
        </a:p>
      </dgm:t>
    </dgm:pt>
    <dgm:pt modelId="{8B6DFA8A-84A2-418C-87D7-77D6BDA5BFEC}" type="sibTrans" cxnId="{441B61BD-C747-47C4-950D-A9ADA524FE96}">
      <dgm:prSet/>
      <dgm:spPr/>
      <dgm:t>
        <a:bodyPr/>
        <a:lstStyle/>
        <a:p>
          <a:endParaRPr lang="en-US"/>
        </a:p>
      </dgm:t>
    </dgm:pt>
    <dgm:pt modelId="{4B62B2BA-272D-403A-8929-6EB12A50D909}">
      <dgm:prSet/>
      <dgm:spPr/>
      <dgm:t>
        <a:bodyPr/>
        <a:lstStyle/>
        <a:p>
          <a:pPr algn="l"/>
          <a:r>
            <a:rPr lang="en-US" b="1" dirty="0" err="1" smtClean="0">
              <a:solidFill>
                <a:schemeClr val="tx1"/>
              </a:solidFill>
            </a:rPr>
            <a:t>R9</a:t>
          </a:r>
          <a:r>
            <a:rPr lang="en-US" b="1" dirty="0" smtClean="0">
              <a:solidFill>
                <a:schemeClr val="tx1"/>
              </a:solidFill>
            </a:rPr>
            <a:t>: Infrastructure Security</a:t>
          </a:r>
        </a:p>
      </dgm:t>
    </dgm:pt>
    <dgm:pt modelId="{D1929705-D1BA-4447-B4C2-5CDF175D6010}" type="parTrans" cxnId="{53921F67-84B3-49DB-98B7-B37A892ED03C}">
      <dgm:prSet/>
      <dgm:spPr/>
      <dgm:t>
        <a:bodyPr/>
        <a:lstStyle/>
        <a:p>
          <a:endParaRPr lang="en-US"/>
        </a:p>
      </dgm:t>
    </dgm:pt>
    <dgm:pt modelId="{467A6A44-6265-4AF4-82B6-5C86DE1180E5}" type="sibTrans" cxnId="{53921F67-84B3-49DB-98B7-B37A892ED03C}">
      <dgm:prSet/>
      <dgm:spPr/>
      <dgm:t>
        <a:bodyPr/>
        <a:lstStyle/>
        <a:p>
          <a:endParaRPr lang="en-US"/>
        </a:p>
      </dgm:t>
    </dgm:pt>
    <dgm:pt modelId="{28278E08-67C7-4E2E-9B23-AA15C7FDD2FA}">
      <dgm:prSet/>
      <dgm:spPr/>
      <dgm:t>
        <a:bodyPr/>
        <a:lstStyle/>
        <a:p>
          <a:pPr algn="l"/>
          <a:r>
            <a:rPr lang="en-US" b="1" dirty="0" smtClean="0">
              <a:solidFill>
                <a:schemeClr val="tx1"/>
              </a:solidFill>
            </a:rPr>
            <a:t>R10: Non-production Environment Exposure</a:t>
          </a:r>
          <a:endParaRPr lang="en-US" b="1" dirty="0">
            <a:solidFill>
              <a:schemeClr val="tx1"/>
            </a:solidFill>
          </a:endParaRPr>
        </a:p>
      </dgm:t>
    </dgm:pt>
    <dgm:pt modelId="{82E8B91F-E8C9-4148-89E0-13028C806467}" type="parTrans" cxnId="{8725BBA2-844E-430D-B072-C330CB07D725}">
      <dgm:prSet/>
      <dgm:spPr/>
      <dgm:t>
        <a:bodyPr/>
        <a:lstStyle/>
        <a:p>
          <a:endParaRPr lang="en-US"/>
        </a:p>
      </dgm:t>
    </dgm:pt>
    <dgm:pt modelId="{7206B24D-BD2B-49B6-9298-93A8ED4FA3B8}" type="sibTrans" cxnId="{8725BBA2-844E-430D-B072-C330CB07D725}">
      <dgm:prSet/>
      <dgm:spPr/>
      <dgm:t>
        <a:bodyPr/>
        <a:lstStyle/>
        <a:p>
          <a:endParaRPr lang="en-US"/>
        </a:p>
      </dgm:t>
    </dgm:pt>
    <dgm:pt modelId="{6E53FCD3-8AB9-4B4F-886A-487B7B70D488}" type="pres">
      <dgm:prSet presAssocID="{917A49C5-236C-0642-9A5A-975EAF7EE920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BF9C7518-F3DE-3F4D-8161-108058657184}" type="pres">
      <dgm:prSet presAssocID="{F0BE0BD1-7D2E-1845-9ACA-82D752811C0A}" presName="composite" presStyleCnt="0"/>
      <dgm:spPr/>
    </dgm:pt>
    <dgm:pt modelId="{A46099A2-55AF-144B-A307-C52A555EC218}" type="pres">
      <dgm:prSet presAssocID="{F0BE0BD1-7D2E-1845-9ACA-82D752811C0A}" presName="imgShp" presStyleLbl="fgImgPlace1" presStyleIdx="0" presStyleCnt="10"/>
      <dgm:spPr/>
    </dgm:pt>
    <dgm:pt modelId="{27DEAD30-FDA9-8A41-926E-D17C2895A20A}" type="pres">
      <dgm:prSet presAssocID="{F0BE0BD1-7D2E-1845-9ACA-82D752811C0A}" presName="txShp" presStyleLbl="node1" presStyleIdx="0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3222D3C-A778-7A45-B11E-80922C58D652}" type="pres">
      <dgm:prSet presAssocID="{5C7413D3-2B9A-404C-BEC9-70F79D60CD2D}" presName="spacing" presStyleCnt="0"/>
      <dgm:spPr/>
    </dgm:pt>
    <dgm:pt modelId="{4CA041C4-C207-45A4-B9F5-69237A15C946}" type="pres">
      <dgm:prSet presAssocID="{83543F3E-5431-4189-BF39-607CAB5C2801}" presName="composite" presStyleCnt="0"/>
      <dgm:spPr/>
    </dgm:pt>
    <dgm:pt modelId="{B1A55D69-AF6A-4AD0-9050-92323E491364}" type="pres">
      <dgm:prSet presAssocID="{83543F3E-5431-4189-BF39-607CAB5C2801}" presName="imgShp" presStyleLbl="fgImgPlace1" presStyleIdx="1" presStyleCnt="10"/>
      <dgm:spPr/>
    </dgm:pt>
    <dgm:pt modelId="{E89B785E-B0DC-45DA-9E68-39ABBC13E4B8}" type="pres">
      <dgm:prSet presAssocID="{83543F3E-5431-4189-BF39-607CAB5C2801}" presName="txShp" presStyleLbl="node1" presStyleIdx="1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C1AC7D1-A2D3-4A9A-ACC4-D6B81028858F}" type="pres">
      <dgm:prSet presAssocID="{52219959-CDBF-49C2-9012-5F853039F33D}" presName="spacing" presStyleCnt="0"/>
      <dgm:spPr/>
    </dgm:pt>
    <dgm:pt modelId="{A7A9FBB4-E306-43CB-9CE6-729D17FE1670}" type="pres">
      <dgm:prSet presAssocID="{318FB5E9-0213-43C9-AEE5-10C85BE69FE9}" presName="composite" presStyleCnt="0"/>
      <dgm:spPr/>
    </dgm:pt>
    <dgm:pt modelId="{E55452E6-AF1E-49CC-8CF4-E149E84167E0}" type="pres">
      <dgm:prSet presAssocID="{318FB5E9-0213-43C9-AEE5-10C85BE69FE9}" presName="imgShp" presStyleLbl="fgImgPlace1" presStyleIdx="2" presStyleCnt="10"/>
      <dgm:spPr/>
    </dgm:pt>
    <dgm:pt modelId="{61A1DDAE-DE72-482D-AE84-D8DC214BB605}" type="pres">
      <dgm:prSet presAssocID="{318FB5E9-0213-43C9-AEE5-10C85BE69FE9}" presName="txShp" presStyleLbl="node1" presStyleIdx="2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812C6A1-1BA7-49D3-B393-FB0F28DE60ED}" type="pres">
      <dgm:prSet presAssocID="{D48D430A-A596-4161-A4F8-F41E0891FCB4}" presName="spacing" presStyleCnt="0"/>
      <dgm:spPr/>
    </dgm:pt>
    <dgm:pt modelId="{AA48FE61-016C-4555-9D2D-92D9887BB163}" type="pres">
      <dgm:prSet presAssocID="{A27CEF34-BC18-4F35-9740-28B1FCAE6C44}" presName="composite" presStyleCnt="0"/>
      <dgm:spPr/>
    </dgm:pt>
    <dgm:pt modelId="{3ADACB0C-6948-422C-9FCC-085BFE267052}" type="pres">
      <dgm:prSet presAssocID="{A27CEF34-BC18-4F35-9740-28B1FCAE6C44}" presName="imgShp" presStyleLbl="fgImgPlace1" presStyleIdx="3" presStyleCnt="10"/>
      <dgm:spPr/>
    </dgm:pt>
    <dgm:pt modelId="{7675F6DB-FD98-48D4-8BC4-EB3B8995C03C}" type="pres">
      <dgm:prSet presAssocID="{A27CEF34-BC18-4F35-9740-28B1FCAE6C44}" presName="txShp" presStyleLbl="node1" presStyleIdx="3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57A756E-C36A-4696-A283-47ACCF6C3F14}" type="pres">
      <dgm:prSet presAssocID="{8D5802D1-F5BC-482A-8A35-F9E89C43839D}" presName="spacing" presStyleCnt="0"/>
      <dgm:spPr/>
    </dgm:pt>
    <dgm:pt modelId="{6FA7E223-2604-4709-9A21-4A8ACE6DB3C3}" type="pres">
      <dgm:prSet presAssocID="{3D556A6E-9A7E-4A8A-9198-F7ADEB736942}" presName="composite" presStyleCnt="0"/>
      <dgm:spPr/>
    </dgm:pt>
    <dgm:pt modelId="{EE93B8E0-290C-4BF2-A1D8-2FC405C31D7E}" type="pres">
      <dgm:prSet presAssocID="{3D556A6E-9A7E-4A8A-9198-F7ADEB736942}" presName="imgShp" presStyleLbl="fgImgPlace1" presStyleIdx="4" presStyleCnt="10"/>
      <dgm:spPr/>
    </dgm:pt>
    <dgm:pt modelId="{C9C948A1-C69B-4DC3-80AA-372B7FA957DC}" type="pres">
      <dgm:prSet presAssocID="{3D556A6E-9A7E-4A8A-9198-F7ADEB736942}" presName="txShp" presStyleLbl="node1" presStyleIdx="4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C33FC50-C835-4377-AF2E-655CD3A56D85}" type="pres">
      <dgm:prSet presAssocID="{FE1F94DC-6BF9-4701-8FAF-780F9F670527}" presName="spacing" presStyleCnt="0"/>
      <dgm:spPr/>
    </dgm:pt>
    <dgm:pt modelId="{B5B736E1-62D3-4DBE-B95C-AFF35F6DC7C7}" type="pres">
      <dgm:prSet presAssocID="{7DA2C2BF-3BA2-4626-9D6E-1BAC3675121E}" presName="composite" presStyleCnt="0"/>
      <dgm:spPr/>
    </dgm:pt>
    <dgm:pt modelId="{2B1E3679-AF89-43DB-9F6B-79CE07BA4104}" type="pres">
      <dgm:prSet presAssocID="{7DA2C2BF-3BA2-4626-9D6E-1BAC3675121E}" presName="imgShp" presStyleLbl="fgImgPlace1" presStyleIdx="5" presStyleCnt="10"/>
      <dgm:spPr/>
    </dgm:pt>
    <dgm:pt modelId="{CEB84E45-A66C-4E02-B1C7-9E70144D8003}" type="pres">
      <dgm:prSet presAssocID="{7DA2C2BF-3BA2-4626-9D6E-1BAC3675121E}" presName="txShp" presStyleLbl="node1" presStyleIdx="5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710E236-D753-468C-86B5-0896E3BB1C6E}" type="pres">
      <dgm:prSet presAssocID="{AA46146A-A551-4091-B029-0502A8EB88A2}" presName="spacing" presStyleCnt="0"/>
      <dgm:spPr/>
    </dgm:pt>
    <dgm:pt modelId="{D5540C96-8BB2-4F76-91C2-0EC7F3D175EF}" type="pres">
      <dgm:prSet presAssocID="{37EF0A70-1C3B-4A43-A2DB-B3F678CDC851}" presName="composite" presStyleCnt="0"/>
      <dgm:spPr/>
    </dgm:pt>
    <dgm:pt modelId="{47C2C4A5-992D-43F7-9CEC-EB39B790480F}" type="pres">
      <dgm:prSet presAssocID="{37EF0A70-1C3B-4A43-A2DB-B3F678CDC851}" presName="imgShp" presStyleLbl="fgImgPlace1" presStyleIdx="6" presStyleCnt="10"/>
      <dgm:spPr/>
    </dgm:pt>
    <dgm:pt modelId="{2464C94D-3742-4B81-9675-20F21AF946BD}" type="pres">
      <dgm:prSet presAssocID="{37EF0A70-1C3B-4A43-A2DB-B3F678CDC851}" presName="txShp" presStyleLbl="node1" presStyleIdx="6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0494056-9B54-40D4-8F3D-A4CE74094305}" type="pres">
      <dgm:prSet presAssocID="{C8F259C2-F5CD-4C33-ABD4-2B6E59D394DE}" presName="spacing" presStyleCnt="0"/>
      <dgm:spPr/>
    </dgm:pt>
    <dgm:pt modelId="{C2E6BAD3-8757-4B24-9B4C-6C61F7DF8BF6}" type="pres">
      <dgm:prSet presAssocID="{011D7C75-2233-47E7-8BD1-3401CADF46D7}" presName="composite" presStyleCnt="0"/>
      <dgm:spPr/>
    </dgm:pt>
    <dgm:pt modelId="{8498BAC8-17C7-430A-BB18-D7F0DDFB674E}" type="pres">
      <dgm:prSet presAssocID="{011D7C75-2233-47E7-8BD1-3401CADF46D7}" presName="imgShp" presStyleLbl="fgImgPlace1" presStyleIdx="7" presStyleCnt="10"/>
      <dgm:spPr/>
    </dgm:pt>
    <dgm:pt modelId="{DC0E6DAD-05D5-48D7-9038-45B984863F91}" type="pres">
      <dgm:prSet presAssocID="{011D7C75-2233-47E7-8BD1-3401CADF46D7}" presName="txShp" presStyleLbl="node1" presStyleIdx="7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5EF59A2-D6AF-407E-96DF-CA3ED995ED22}" type="pres">
      <dgm:prSet presAssocID="{8B6DFA8A-84A2-418C-87D7-77D6BDA5BFEC}" presName="spacing" presStyleCnt="0"/>
      <dgm:spPr/>
    </dgm:pt>
    <dgm:pt modelId="{A8C31343-5664-4060-B6A6-6402DED133A4}" type="pres">
      <dgm:prSet presAssocID="{4B62B2BA-272D-403A-8929-6EB12A50D909}" presName="composite" presStyleCnt="0"/>
      <dgm:spPr/>
    </dgm:pt>
    <dgm:pt modelId="{94AF654B-2FF8-4198-9B25-BA9300ABD58A}" type="pres">
      <dgm:prSet presAssocID="{4B62B2BA-272D-403A-8929-6EB12A50D909}" presName="imgShp" presStyleLbl="fgImgPlace1" presStyleIdx="8" presStyleCnt="10"/>
      <dgm:spPr/>
    </dgm:pt>
    <dgm:pt modelId="{BB8EBA3C-BF9E-4E64-A7F8-A9664EF0B43A}" type="pres">
      <dgm:prSet presAssocID="{4B62B2BA-272D-403A-8929-6EB12A50D909}" presName="txShp" presStyleLbl="node1" presStyleIdx="8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AF3E566-7ADF-4652-80E6-48DC24BAC88D}" type="pres">
      <dgm:prSet presAssocID="{467A6A44-6265-4AF4-82B6-5C86DE1180E5}" presName="spacing" presStyleCnt="0"/>
      <dgm:spPr/>
    </dgm:pt>
    <dgm:pt modelId="{23060268-A0A3-4A1F-BD10-098D7BEA9605}" type="pres">
      <dgm:prSet presAssocID="{28278E08-67C7-4E2E-9B23-AA15C7FDD2FA}" presName="composite" presStyleCnt="0"/>
      <dgm:spPr/>
    </dgm:pt>
    <dgm:pt modelId="{D48A2CB3-8BF7-43E3-BC8D-FBF8AAEFE0B1}" type="pres">
      <dgm:prSet presAssocID="{28278E08-67C7-4E2E-9B23-AA15C7FDD2FA}" presName="imgShp" presStyleLbl="fgImgPlace1" presStyleIdx="9" presStyleCnt="10"/>
      <dgm:spPr/>
    </dgm:pt>
    <dgm:pt modelId="{59B6F062-11DC-443C-B7E6-513F63A73939}" type="pres">
      <dgm:prSet presAssocID="{28278E08-67C7-4E2E-9B23-AA15C7FDD2FA}" presName="txShp" presStyleLbl="node1" presStyleIdx="9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3CD50A8-DA55-44B4-B155-30E966621364}" srcId="{917A49C5-236C-0642-9A5A-975EAF7EE920}" destId="{A27CEF34-BC18-4F35-9740-28B1FCAE6C44}" srcOrd="3" destOrd="0" parTransId="{F61468EA-B8A0-48F5-825A-4366FFDFB35D}" sibTransId="{8D5802D1-F5BC-482A-8A35-F9E89C43839D}"/>
    <dgm:cxn modelId="{8725BBA2-844E-430D-B072-C330CB07D725}" srcId="{917A49C5-236C-0642-9A5A-975EAF7EE920}" destId="{28278E08-67C7-4E2E-9B23-AA15C7FDD2FA}" srcOrd="9" destOrd="0" parTransId="{82E8B91F-E8C9-4148-89E0-13028C806467}" sibTransId="{7206B24D-BD2B-49B6-9298-93A8ED4FA3B8}"/>
    <dgm:cxn modelId="{1D1C327F-DA1D-44EC-9E54-4FE483B22971}" type="presOf" srcId="{37EF0A70-1C3B-4A43-A2DB-B3F678CDC851}" destId="{2464C94D-3742-4B81-9675-20F21AF946BD}" srcOrd="0" destOrd="0" presId="urn:microsoft.com/office/officeart/2005/8/layout/vList3"/>
    <dgm:cxn modelId="{D0EDE0B3-C15D-4C48-A4E1-E05A99C5AF6F}" type="presOf" srcId="{28278E08-67C7-4E2E-9B23-AA15C7FDD2FA}" destId="{59B6F062-11DC-443C-B7E6-513F63A73939}" srcOrd="0" destOrd="0" presId="urn:microsoft.com/office/officeart/2005/8/layout/vList3"/>
    <dgm:cxn modelId="{6FD564C5-770E-4F2D-B720-F083AAF63E9E}" type="presOf" srcId="{F0BE0BD1-7D2E-1845-9ACA-82D752811C0A}" destId="{27DEAD30-FDA9-8A41-926E-D17C2895A20A}" srcOrd="0" destOrd="0" presId="urn:microsoft.com/office/officeart/2005/8/layout/vList3"/>
    <dgm:cxn modelId="{1E237258-1D98-45D6-B496-D37CF44EA9F7}" srcId="{917A49C5-236C-0642-9A5A-975EAF7EE920}" destId="{7DA2C2BF-3BA2-4626-9D6E-1BAC3675121E}" srcOrd="5" destOrd="0" parTransId="{1ECDDF83-8131-4A27-AC92-EDBC46222CCF}" sibTransId="{AA46146A-A551-4091-B029-0502A8EB88A2}"/>
    <dgm:cxn modelId="{E965537F-6865-420A-A8E3-3D452ADBB4D3}" srcId="{917A49C5-236C-0642-9A5A-975EAF7EE920}" destId="{83543F3E-5431-4189-BF39-607CAB5C2801}" srcOrd="1" destOrd="0" parTransId="{D2BC4157-2AD7-4377-98D9-9110A5E6FAD0}" sibTransId="{52219959-CDBF-49C2-9012-5F853039F33D}"/>
    <dgm:cxn modelId="{64BC6459-0F88-47C4-B1A7-7EB95EC3B826}" type="presOf" srcId="{318FB5E9-0213-43C9-AEE5-10C85BE69FE9}" destId="{61A1DDAE-DE72-482D-AE84-D8DC214BB605}" srcOrd="0" destOrd="0" presId="urn:microsoft.com/office/officeart/2005/8/layout/vList3"/>
    <dgm:cxn modelId="{53921F67-84B3-49DB-98B7-B37A892ED03C}" srcId="{917A49C5-236C-0642-9A5A-975EAF7EE920}" destId="{4B62B2BA-272D-403A-8929-6EB12A50D909}" srcOrd="8" destOrd="0" parTransId="{D1929705-D1BA-4447-B4C2-5CDF175D6010}" sibTransId="{467A6A44-6265-4AF4-82B6-5C86DE1180E5}"/>
    <dgm:cxn modelId="{1EE8D00B-5997-41C5-BD26-0743D46F14A1}" srcId="{917A49C5-236C-0642-9A5A-975EAF7EE920}" destId="{37EF0A70-1C3B-4A43-A2DB-B3F678CDC851}" srcOrd="6" destOrd="0" parTransId="{18D7BEF3-18F9-4F3C-8DA1-1D5628D29C1F}" sibTransId="{C8F259C2-F5CD-4C33-ABD4-2B6E59D394DE}"/>
    <dgm:cxn modelId="{441B61BD-C747-47C4-950D-A9ADA524FE96}" srcId="{917A49C5-236C-0642-9A5A-975EAF7EE920}" destId="{011D7C75-2233-47E7-8BD1-3401CADF46D7}" srcOrd="7" destOrd="0" parTransId="{06511B71-9FF9-4879-A1B8-1E2A582CCE96}" sibTransId="{8B6DFA8A-84A2-418C-87D7-77D6BDA5BFEC}"/>
    <dgm:cxn modelId="{DB94C1A6-BD77-48D4-BB25-9F8027223C72}" type="presOf" srcId="{011D7C75-2233-47E7-8BD1-3401CADF46D7}" destId="{DC0E6DAD-05D5-48D7-9038-45B984863F91}" srcOrd="0" destOrd="0" presId="urn:microsoft.com/office/officeart/2005/8/layout/vList3"/>
    <dgm:cxn modelId="{B41C79E9-999F-4F0B-AA66-63DDDB951BFE}" srcId="{917A49C5-236C-0642-9A5A-975EAF7EE920}" destId="{3D556A6E-9A7E-4A8A-9198-F7ADEB736942}" srcOrd="4" destOrd="0" parTransId="{558AF10B-55B7-4CCF-A9A2-77C808A42439}" sibTransId="{FE1F94DC-6BF9-4701-8FAF-780F9F670527}"/>
    <dgm:cxn modelId="{756F5FCD-A1ED-44D3-BEAF-FAF9A13D2C09}" type="presOf" srcId="{917A49C5-236C-0642-9A5A-975EAF7EE920}" destId="{6E53FCD3-8AB9-4B4F-886A-487B7B70D488}" srcOrd="0" destOrd="0" presId="urn:microsoft.com/office/officeart/2005/8/layout/vList3"/>
    <dgm:cxn modelId="{B4B22170-B22E-4BE1-A084-CABCB0035FE8}" type="presOf" srcId="{7DA2C2BF-3BA2-4626-9D6E-1BAC3675121E}" destId="{CEB84E45-A66C-4E02-B1C7-9E70144D8003}" srcOrd="0" destOrd="0" presId="urn:microsoft.com/office/officeart/2005/8/layout/vList3"/>
    <dgm:cxn modelId="{A4BEA6EB-571F-4DB0-9665-7E374F4EED32}" type="presOf" srcId="{83543F3E-5431-4189-BF39-607CAB5C2801}" destId="{E89B785E-B0DC-45DA-9E68-39ABBC13E4B8}" srcOrd="0" destOrd="0" presId="urn:microsoft.com/office/officeart/2005/8/layout/vList3"/>
    <dgm:cxn modelId="{ACDCB443-91FE-49C7-B789-5E1CF6F6A3EA}" srcId="{917A49C5-236C-0642-9A5A-975EAF7EE920}" destId="{318FB5E9-0213-43C9-AEE5-10C85BE69FE9}" srcOrd="2" destOrd="0" parTransId="{7B56EC27-E6FB-464D-A265-2F02333312D7}" sibTransId="{D48D430A-A596-4161-A4F8-F41E0891FCB4}"/>
    <dgm:cxn modelId="{15E028F0-04CC-4618-97D2-0DD12C111358}" type="presOf" srcId="{A27CEF34-BC18-4F35-9740-28B1FCAE6C44}" destId="{7675F6DB-FD98-48D4-8BC4-EB3B8995C03C}" srcOrd="0" destOrd="0" presId="urn:microsoft.com/office/officeart/2005/8/layout/vList3"/>
    <dgm:cxn modelId="{8574175F-ABCD-E147-AA50-6948E6E64D9E}" srcId="{917A49C5-236C-0642-9A5A-975EAF7EE920}" destId="{F0BE0BD1-7D2E-1845-9ACA-82D752811C0A}" srcOrd="0" destOrd="0" parTransId="{11485B48-6D00-F74A-98D2-9CD4CE607FF9}" sibTransId="{5C7413D3-2B9A-404C-BEC9-70F79D60CD2D}"/>
    <dgm:cxn modelId="{A7B1BAA8-2E49-44B0-8110-F29C7F0D94F6}" type="presOf" srcId="{4B62B2BA-272D-403A-8929-6EB12A50D909}" destId="{BB8EBA3C-BF9E-4E64-A7F8-A9664EF0B43A}" srcOrd="0" destOrd="0" presId="urn:microsoft.com/office/officeart/2005/8/layout/vList3"/>
    <dgm:cxn modelId="{16E6C4F6-7495-4CEB-B2F4-BB34C8A446B0}" type="presOf" srcId="{3D556A6E-9A7E-4A8A-9198-F7ADEB736942}" destId="{C9C948A1-C69B-4DC3-80AA-372B7FA957DC}" srcOrd="0" destOrd="0" presId="urn:microsoft.com/office/officeart/2005/8/layout/vList3"/>
    <dgm:cxn modelId="{EBB12758-3CF5-42F8-965D-9A1FE102EB7D}" type="presParOf" srcId="{6E53FCD3-8AB9-4B4F-886A-487B7B70D488}" destId="{BF9C7518-F3DE-3F4D-8161-108058657184}" srcOrd="0" destOrd="0" presId="urn:microsoft.com/office/officeart/2005/8/layout/vList3"/>
    <dgm:cxn modelId="{5F0A19CE-1DA8-40E9-B5F7-62509D0D22F8}" type="presParOf" srcId="{BF9C7518-F3DE-3F4D-8161-108058657184}" destId="{A46099A2-55AF-144B-A307-C52A555EC218}" srcOrd="0" destOrd="0" presId="urn:microsoft.com/office/officeart/2005/8/layout/vList3"/>
    <dgm:cxn modelId="{A274FC39-4ABF-47DA-B9FD-7011645A91D2}" type="presParOf" srcId="{BF9C7518-F3DE-3F4D-8161-108058657184}" destId="{27DEAD30-FDA9-8A41-926E-D17C2895A20A}" srcOrd="1" destOrd="0" presId="urn:microsoft.com/office/officeart/2005/8/layout/vList3"/>
    <dgm:cxn modelId="{46F5A57C-B810-404C-B3BE-DF4990E5618B}" type="presParOf" srcId="{6E53FCD3-8AB9-4B4F-886A-487B7B70D488}" destId="{43222D3C-A778-7A45-B11E-80922C58D652}" srcOrd="1" destOrd="0" presId="urn:microsoft.com/office/officeart/2005/8/layout/vList3"/>
    <dgm:cxn modelId="{045B0F92-315C-468E-B386-AF578DE8BB96}" type="presParOf" srcId="{6E53FCD3-8AB9-4B4F-886A-487B7B70D488}" destId="{4CA041C4-C207-45A4-B9F5-69237A15C946}" srcOrd="2" destOrd="0" presId="urn:microsoft.com/office/officeart/2005/8/layout/vList3"/>
    <dgm:cxn modelId="{19AA5C5F-12D7-470A-95C2-93B43281E3E5}" type="presParOf" srcId="{4CA041C4-C207-45A4-B9F5-69237A15C946}" destId="{B1A55D69-AF6A-4AD0-9050-92323E491364}" srcOrd="0" destOrd="0" presId="urn:microsoft.com/office/officeart/2005/8/layout/vList3"/>
    <dgm:cxn modelId="{29CFAFD2-D244-4CB0-BF24-13D079124181}" type="presParOf" srcId="{4CA041C4-C207-45A4-B9F5-69237A15C946}" destId="{E89B785E-B0DC-45DA-9E68-39ABBC13E4B8}" srcOrd="1" destOrd="0" presId="urn:microsoft.com/office/officeart/2005/8/layout/vList3"/>
    <dgm:cxn modelId="{8D6AEFD7-72DE-4912-A62C-CD4D2D65ECB7}" type="presParOf" srcId="{6E53FCD3-8AB9-4B4F-886A-487B7B70D488}" destId="{0C1AC7D1-A2D3-4A9A-ACC4-D6B81028858F}" srcOrd="3" destOrd="0" presId="urn:microsoft.com/office/officeart/2005/8/layout/vList3"/>
    <dgm:cxn modelId="{13CF5DEC-C95D-4503-877C-F461E825813A}" type="presParOf" srcId="{6E53FCD3-8AB9-4B4F-886A-487B7B70D488}" destId="{A7A9FBB4-E306-43CB-9CE6-729D17FE1670}" srcOrd="4" destOrd="0" presId="urn:microsoft.com/office/officeart/2005/8/layout/vList3"/>
    <dgm:cxn modelId="{E4F336B3-309F-400C-9F5A-5875E87E5E62}" type="presParOf" srcId="{A7A9FBB4-E306-43CB-9CE6-729D17FE1670}" destId="{E55452E6-AF1E-49CC-8CF4-E149E84167E0}" srcOrd="0" destOrd="0" presId="urn:microsoft.com/office/officeart/2005/8/layout/vList3"/>
    <dgm:cxn modelId="{B7214AFD-8BF0-4F2A-A567-3771CB0A41E6}" type="presParOf" srcId="{A7A9FBB4-E306-43CB-9CE6-729D17FE1670}" destId="{61A1DDAE-DE72-482D-AE84-D8DC214BB605}" srcOrd="1" destOrd="0" presId="urn:microsoft.com/office/officeart/2005/8/layout/vList3"/>
    <dgm:cxn modelId="{3E305C96-01DA-4587-A74D-3E3A4C2B4819}" type="presParOf" srcId="{6E53FCD3-8AB9-4B4F-886A-487B7B70D488}" destId="{F812C6A1-1BA7-49D3-B393-FB0F28DE60ED}" srcOrd="5" destOrd="0" presId="urn:microsoft.com/office/officeart/2005/8/layout/vList3"/>
    <dgm:cxn modelId="{592DB92F-E794-4E3F-A6C5-BCC86909C8A8}" type="presParOf" srcId="{6E53FCD3-8AB9-4B4F-886A-487B7B70D488}" destId="{AA48FE61-016C-4555-9D2D-92D9887BB163}" srcOrd="6" destOrd="0" presId="urn:microsoft.com/office/officeart/2005/8/layout/vList3"/>
    <dgm:cxn modelId="{BFC29A5B-DA80-400A-82FF-7787FCBBEBF8}" type="presParOf" srcId="{AA48FE61-016C-4555-9D2D-92D9887BB163}" destId="{3ADACB0C-6948-422C-9FCC-085BFE267052}" srcOrd="0" destOrd="0" presId="urn:microsoft.com/office/officeart/2005/8/layout/vList3"/>
    <dgm:cxn modelId="{BB20B9A0-58E6-4487-B864-0E22C4836E4A}" type="presParOf" srcId="{AA48FE61-016C-4555-9D2D-92D9887BB163}" destId="{7675F6DB-FD98-48D4-8BC4-EB3B8995C03C}" srcOrd="1" destOrd="0" presId="urn:microsoft.com/office/officeart/2005/8/layout/vList3"/>
    <dgm:cxn modelId="{87FFD59C-E585-4CF5-A32B-A3583068955F}" type="presParOf" srcId="{6E53FCD3-8AB9-4B4F-886A-487B7B70D488}" destId="{F57A756E-C36A-4696-A283-47ACCF6C3F14}" srcOrd="7" destOrd="0" presId="urn:microsoft.com/office/officeart/2005/8/layout/vList3"/>
    <dgm:cxn modelId="{B7AAD5A7-F724-4B6D-AD07-8974204FF6FE}" type="presParOf" srcId="{6E53FCD3-8AB9-4B4F-886A-487B7B70D488}" destId="{6FA7E223-2604-4709-9A21-4A8ACE6DB3C3}" srcOrd="8" destOrd="0" presId="urn:microsoft.com/office/officeart/2005/8/layout/vList3"/>
    <dgm:cxn modelId="{88F0B517-86CF-4D06-A3A5-00E98B561EEA}" type="presParOf" srcId="{6FA7E223-2604-4709-9A21-4A8ACE6DB3C3}" destId="{EE93B8E0-290C-4BF2-A1D8-2FC405C31D7E}" srcOrd="0" destOrd="0" presId="urn:microsoft.com/office/officeart/2005/8/layout/vList3"/>
    <dgm:cxn modelId="{B44BCCF9-0003-4369-95C0-22B5B52A0EA8}" type="presParOf" srcId="{6FA7E223-2604-4709-9A21-4A8ACE6DB3C3}" destId="{C9C948A1-C69B-4DC3-80AA-372B7FA957DC}" srcOrd="1" destOrd="0" presId="urn:microsoft.com/office/officeart/2005/8/layout/vList3"/>
    <dgm:cxn modelId="{8233599C-DB1B-42DE-92A9-5688EB4CCD70}" type="presParOf" srcId="{6E53FCD3-8AB9-4B4F-886A-487B7B70D488}" destId="{EC33FC50-C835-4377-AF2E-655CD3A56D85}" srcOrd="9" destOrd="0" presId="urn:microsoft.com/office/officeart/2005/8/layout/vList3"/>
    <dgm:cxn modelId="{BD475EC9-5DDF-48DA-96CB-7FCA12B2CD24}" type="presParOf" srcId="{6E53FCD3-8AB9-4B4F-886A-487B7B70D488}" destId="{B5B736E1-62D3-4DBE-B95C-AFF35F6DC7C7}" srcOrd="10" destOrd="0" presId="urn:microsoft.com/office/officeart/2005/8/layout/vList3"/>
    <dgm:cxn modelId="{5E71123F-B283-4581-951C-834B5C0468AD}" type="presParOf" srcId="{B5B736E1-62D3-4DBE-B95C-AFF35F6DC7C7}" destId="{2B1E3679-AF89-43DB-9F6B-79CE07BA4104}" srcOrd="0" destOrd="0" presId="urn:microsoft.com/office/officeart/2005/8/layout/vList3"/>
    <dgm:cxn modelId="{40CFEBA3-1C7E-4C65-895D-3A7A7C867E5A}" type="presParOf" srcId="{B5B736E1-62D3-4DBE-B95C-AFF35F6DC7C7}" destId="{CEB84E45-A66C-4E02-B1C7-9E70144D8003}" srcOrd="1" destOrd="0" presId="urn:microsoft.com/office/officeart/2005/8/layout/vList3"/>
    <dgm:cxn modelId="{B416E332-77C7-4C3E-ADC5-3C807A3929A0}" type="presParOf" srcId="{6E53FCD3-8AB9-4B4F-886A-487B7B70D488}" destId="{2710E236-D753-468C-86B5-0896E3BB1C6E}" srcOrd="11" destOrd="0" presId="urn:microsoft.com/office/officeart/2005/8/layout/vList3"/>
    <dgm:cxn modelId="{44E3C6E5-8413-48A6-AB31-4ABC90808745}" type="presParOf" srcId="{6E53FCD3-8AB9-4B4F-886A-487B7B70D488}" destId="{D5540C96-8BB2-4F76-91C2-0EC7F3D175EF}" srcOrd="12" destOrd="0" presId="urn:microsoft.com/office/officeart/2005/8/layout/vList3"/>
    <dgm:cxn modelId="{3B5EC6F9-504D-4F20-9153-D366402F7A5C}" type="presParOf" srcId="{D5540C96-8BB2-4F76-91C2-0EC7F3D175EF}" destId="{47C2C4A5-992D-43F7-9CEC-EB39B790480F}" srcOrd="0" destOrd="0" presId="urn:microsoft.com/office/officeart/2005/8/layout/vList3"/>
    <dgm:cxn modelId="{815F69A5-DEC0-4155-ABDB-AE9796582525}" type="presParOf" srcId="{D5540C96-8BB2-4F76-91C2-0EC7F3D175EF}" destId="{2464C94D-3742-4B81-9675-20F21AF946BD}" srcOrd="1" destOrd="0" presId="urn:microsoft.com/office/officeart/2005/8/layout/vList3"/>
    <dgm:cxn modelId="{568A0886-5406-440D-B16E-3A28D06BE71E}" type="presParOf" srcId="{6E53FCD3-8AB9-4B4F-886A-487B7B70D488}" destId="{80494056-9B54-40D4-8F3D-A4CE74094305}" srcOrd="13" destOrd="0" presId="urn:microsoft.com/office/officeart/2005/8/layout/vList3"/>
    <dgm:cxn modelId="{67B4E523-7216-49CE-9460-7EC2CBF06D9E}" type="presParOf" srcId="{6E53FCD3-8AB9-4B4F-886A-487B7B70D488}" destId="{C2E6BAD3-8757-4B24-9B4C-6C61F7DF8BF6}" srcOrd="14" destOrd="0" presId="urn:microsoft.com/office/officeart/2005/8/layout/vList3"/>
    <dgm:cxn modelId="{D494B866-1089-4ABC-A465-A34717934A3F}" type="presParOf" srcId="{C2E6BAD3-8757-4B24-9B4C-6C61F7DF8BF6}" destId="{8498BAC8-17C7-430A-BB18-D7F0DDFB674E}" srcOrd="0" destOrd="0" presId="urn:microsoft.com/office/officeart/2005/8/layout/vList3"/>
    <dgm:cxn modelId="{1FD99625-2B80-42C2-8363-C72F036804E3}" type="presParOf" srcId="{C2E6BAD3-8757-4B24-9B4C-6C61F7DF8BF6}" destId="{DC0E6DAD-05D5-48D7-9038-45B984863F91}" srcOrd="1" destOrd="0" presId="urn:microsoft.com/office/officeart/2005/8/layout/vList3"/>
    <dgm:cxn modelId="{2347B0DA-7903-49E9-B97C-B7F4507DC583}" type="presParOf" srcId="{6E53FCD3-8AB9-4B4F-886A-487B7B70D488}" destId="{C5EF59A2-D6AF-407E-96DF-CA3ED995ED22}" srcOrd="15" destOrd="0" presId="urn:microsoft.com/office/officeart/2005/8/layout/vList3"/>
    <dgm:cxn modelId="{D4705A34-81A2-4A27-8863-4C7047BD88BA}" type="presParOf" srcId="{6E53FCD3-8AB9-4B4F-886A-487B7B70D488}" destId="{A8C31343-5664-4060-B6A6-6402DED133A4}" srcOrd="16" destOrd="0" presId="urn:microsoft.com/office/officeart/2005/8/layout/vList3"/>
    <dgm:cxn modelId="{D903C10E-B56F-424A-9058-6A913C6FFDFE}" type="presParOf" srcId="{A8C31343-5664-4060-B6A6-6402DED133A4}" destId="{94AF654B-2FF8-4198-9B25-BA9300ABD58A}" srcOrd="0" destOrd="0" presId="urn:microsoft.com/office/officeart/2005/8/layout/vList3"/>
    <dgm:cxn modelId="{D88B1218-541A-4561-8214-8986272C7497}" type="presParOf" srcId="{A8C31343-5664-4060-B6A6-6402DED133A4}" destId="{BB8EBA3C-BF9E-4E64-A7F8-A9664EF0B43A}" srcOrd="1" destOrd="0" presId="urn:microsoft.com/office/officeart/2005/8/layout/vList3"/>
    <dgm:cxn modelId="{9FA345B2-DA9A-4904-9EE6-20144644B698}" type="presParOf" srcId="{6E53FCD3-8AB9-4B4F-886A-487B7B70D488}" destId="{FAF3E566-7ADF-4652-80E6-48DC24BAC88D}" srcOrd="17" destOrd="0" presId="urn:microsoft.com/office/officeart/2005/8/layout/vList3"/>
    <dgm:cxn modelId="{1824C690-E082-442E-A091-A5B6C3286238}" type="presParOf" srcId="{6E53FCD3-8AB9-4B4F-886A-487B7B70D488}" destId="{23060268-A0A3-4A1F-BD10-098D7BEA9605}" srcOrd="18" destOrd="0" presId="urn:microsoft.com/office/officeart/2005/8/layout/vList3"/>
    <dgm:cxn modelId="{43FF0313-D1A9-4B24-8036-9CFE6A93B8DB}" type="presParOf" srcId="{23060268-A0A3-4A1F-BD10-098D7BEA9605}" destId="{D48A2CB3-8BF7-43E3-BC8D-FBF8AAEFE0B1}" srcOrd="0" destOrd="0" presId="urn:microsoft.com/office/officeart/2005/8/layout/vList3"/>
    <dgm:cxn modelId="{0DD9A8E2-FCCD-469D-8399-152F0E44B018}" type="presParOf" srcId="{23060268-A0A3-4A1F-BD10-098D7BEA9605}" destId="{59B6F062-11DC-443C-B7E6-513F63A73939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B72EF47E-A085-4E61-AB1B-62F7DBF31C95}">
      <dsp:nvSpPr>
        <dsp:cNvPr id="0" name=""/>
        <dsp:cNvSpPr/>
      </dsp:nvSpPr>
      <dsp:spPr>
        <a:xfrm rot="10800000">
          <a:off x="1464643" y="3012"/>
          <a:ext cx="5082722" cy="737635"/>
        </a:xfrm>
        <a:prstGeom prst="homePlat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25277" tIns="76200" rIns="142240" bIns="7620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>
              <a:solidFill>
                <a:schemeClr val="tx1"/>
              </a:solidFill>
            </a:rPr>
            <a:t>OWASP Cloud Top 10 Project</a:t>
          </a:r>
          <a:endParaRPr lang="en-US" sz="2000" b="1" kern="1200" dirty="0">
            <a:solidFill>
              <a:schemeClr val="tx1"/>
            </a:solidFill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500" b="1" kern="1200" dirty="0" smtClean="0">
              <a:solidFill>
                <a:schemeClr val="tx1"/>
              </a:solidFill>
            </a:rPr>
            <a:t> Motivation and Approach</a:t>
          </a:r>
          <a:endParaRPr lang="en-US" sz="1500" b="1" kern="1200" dirty="0">
            <a:solidFill>
              <a:schemeClr val="tx1"/>
            </a:solidFill>
          </a:endParaRPr>
        </a:p>
      </dsp:txBody>
      <dsp:txXfrm rot="10800000">
        <a:off x="1464643" y="3012"/>
        <a:ext cx="5082722" cy="737635"/>
      </dsp:txXfrm>
    </dsp:sp>
    <dsp:sp modelId="{316F7C1A-2E01-43C7-AD82-A9A0A4D1AD55}">
      <dsp:nvSpPr>
        <dsp:cNvPr id="0" name=""/>
        <dsp:cNvSpPr/>
      </dsp:nvSpPr>
      <dsp:spPr>
        <a:xfrm>
          <a:off x="1095825" y="3012"/>
          <a:ext cx="737635" cy="737635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27DEAD30-FDA9-8A41-926E-D17C2895A20A}">
      <dsp:nvSpPr>
        <dsp:cNvPr id="0" name=""/>
        <dsp:cNvSpPr/>
      </dsp:nvSpPr>
      <dsp:spPr>
        <a:xfrm rot="10800000">
          <a:off x="1464643" y="960836"/>
          <a:ext cx="5082722" cy="737635"/>
        </a:xfrm>
        <a:prstGeom prst="homePlat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25277" tIns="76200" rIns="14224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>
              <a:solidFill>
                <a:schemeClr val="tx1"/>
              </a:solidFill>
            </a:rPr>
            <a:t>Cloud – Industry Adoption Trend</a:t>
          </a:r>
          <a:endParaRPr lang="en-US" sz="2000" b="1" kern="1200" dirty="0">
            <a:solidFill>
              <a:schemeClr val="tx1"/>
            </a:solidFill>
          </a:endParaRPr>
        </a:p>
      </dsp:txBody>
      <dsp:txXfrm rot="10800000">
        <a:off x="1464643" y="960836"/>
        <a:ext cx="5082722" cy="737635"/>
      </dsp:txXfrm>
    </dsp:sp>
    <dsp:sp modelId="{A46099A2-55AF-144B-A307-C52A555EC218}">
      <dsp:nvSpPr>
        <dsp:cNvPr id="0" name=""/>
        <dsp:cNvSpPr/>
      </dsp:nvSpPr>
      <dsp:spPr>
        <a:xfrm>
          <a:off x="1095825" y="960836"/>
          <a:ext cx="737635" cy="737635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BFF1C04D-2CBD-4846-92D8-DEA1C4D2C769}">
      <dsp:nvSpPr>
        <dsp:cNvPr id="0" name=""/>
        <dsp:cNvSpPr/>
      </dsp:nvSpPr>
      <dsp:spPr>
        <a:xfrm rot="10800000">
          <a:off x="1464643" y="1918661"/>
          <a:ext cx="5082722" cy="737635"/>
        </a:xfrm>
        <a:prstGeom prst="homePlat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25277" tIns="76200" rIns="14224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>
              <a:solidFill>
                <a:schemeClr val="tx1"/>
              </a:solidFill>
            </a:rPr>
            <a:t>Cloud Models and Actors</a:t>
          </a:r>
          <a:endParaRPr lang="en-US" sz="2000" b="1" kern="1200" dirty="0">
            <a:solidFill>
              <a:schemeClr val="tx1"/>
            </a:solidFill>
          </a:endParaRPr>
        </a:p>
      </dsp:txBody>
      <dsp:txXfrm rot="10800000">
        <a:off x="1464643" y="1918661"/>
        <a:ext cx="5082722" cy="737635"/>
      </dsp:txXfrm>
    </dsp:sp>
    <dsp:sp modelId="{49BD8B17-7D14-2349-884C-354C2B881F6A}">
      <dsp:nvSpPr>
        <dsp:cNvPr id="0" name=""/>
        <dsp:cNvSpPr/>
      </dsp:nvSpPr>
      <dsp:spPr>
        <a:xfrm>
          <a:off x="1095825" y="1918661"/>
          <a:ext cx="737635" cy="737635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03E84FBA-C341-D044-A200-925EFD0FBEEE}">
      <dsp:nvSpPr>
        <dsp:cNvPr id="0" name=""/>
        <dsp:cNvSpPr/>
      </dsp:nvSpPr>
      <dsp:spPr>
        <a:xfrm rot="10800000">
          <a:off x="1464643" y="2876486"/>
          <a:ext cx="5082722" cy="737635"/>
        </a:xfrm>
        <a:prstGeom prst="homePlat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25277" tIns="76200" rIns="14224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>
              <a:solidFill>
                <a:schemeClr val="tx1"/>
              </a:solidFill>
            </a:rPr>
            <a:t>OWASP Cloud Top 10 Security Risks</a:t>
          </a:r>
          <a:endParaRPr lang="en-US" sz="2000" b="1" kern="1200" dirty="0">
            <a:solidFill>
              <a:schemeClr val="tx1"/>
            </a:solidFill>
          </a:endParaRPr>
        </a:p>
      </dsp:txBody>
      <dsp:txXfrm rot="10800000">
        <a:off x="1464643" y="2876486"/>
        <a:ext cx="5082722" cy="737635"/>
      </dsp:txXfrm>
    </dsp:sp>
    <dsp:sp modelId="{7DF62EF5-9024-CA44-AA43-C201CBE180BA}">
      <dsp:nvSpPr>
        <dsp:cNvPr id="0" name=""/>
        <dsp:cNvSpPr/>
      </dsp:nvSpPr>
      <dsp:spPr>
        <a:xfrm>
          <a:off x="1095825" y="2876486"/>
          <a:ext cx="737635" cy="737635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00B42330-4157-44E3-B831-1AEEB6633C2F}">
      <dsp:nvSpPr>
        <dsp:cNvPr id="0" name=""/>
        <dsp:cNvSpPr/>
      </dsp:nvSpPr>
      <dsp:spPr>
        <a:xfrm rot="10800000">
          <a:off x="1464643" y="3834310"/>
          <a:ext cx="5082722" cy="737635"/>
        </a:xfrm>
        <a:prstGeom prst="homePlat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25277" tIns="76200" rIns="14224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>
              <a:solidFill>
                <a:schemeClr val="tx1"/>
              </a:solidFill>
            </a:rPr>
            <a:t>Mitigation Strategies</a:t>
          </a:r>
          <a:endParaRPr lang="en-US" sz="2000" b="1" kern="1200" dirty="0">
            <a:solidFill>
              <a:schemeClr val="tx1"/>
            </a:solidFill>
          </a:endParaRPr>
        </a:p>
      </dsp:txBody>
      <dsp:txXfrm rot="10800000">
        <a:off x="1464643" y="3834310"/>
        <a:ext cx="5082722" cy="737635"/>
      </dsp:txXfrm>
    </dsp:sp>
    <dsp:sp modelId="{4916D3A3-5C8E-418F-B241-EA6C5D31F9B7}">
      <dsp:nvSpPr>
        <dsp:cNvPr id="0" name=""/>
        <dsp:cNvSpPr/>
      </dsp:nvSpPr>
      <dsp:spPr>
        <a:xfrm>
          <a:off x="1095825" y="3834310"/>
          <a:ext cx="737635" cy="737635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E793D469-A529-E34D-9A27-8AC142BCFE57}">
      <dsp:nvSpPr>
        <dsp:cNvPr id="0" name=""/>
        <dsp:cNvSpPr/>
      </dsp:nvSpPr>
      <dsp:spPr>
        <a:xfrm rot="10800000">
          <a:off x="1464643" y="4792135"/>
          <a:ext cx="5082722" cy="737635"/>
        </a:xfrm>
        <a:prstGeom prst="homePlat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25277" tIns="76200" rIns="14224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>
              <a:solidFill>
                <a:schemeClr val="tx1"/>
              </a:solidFill>
            </a:rPr>
            <a:t>Q &amp; A</a:t>
          </a:r>
          <a:endParaRPr lang="en-US" sz="2000" b="1" kern="1200" dirty="0">
            <a:solidFill>
              <a:schemeClr val="tx1"/>
            </a:solidFill>
          </a:endParaRPr>
        </a:p>
      </dsp:txBody>
      <dsp:txXfrm rot="10800000">
        <a:off x="1464643" y="4792135"/>
        <a:ext cx="5082722" cy="737635"/>
      </dsp:txXfrm>
    </dsp:sp>
    <dsp:sp modelId="{0A22A90E-E4B8-E94A-8377-4A877780D180}">
      <dsp:nvSpPr>
        <dsp:cNvPr id="0" name=""/>
        <dsp:cNvSpPr/>
      </dsp:nvSpPr>
      <dsp:spPr>
        <a:xfrm>
          <a:off x="1095825" y="4792135"/>
          <a:ext cx="737635" cy="737635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27DEAD30-FDA9-8A41-926E-D17C2895A20A}">
      <dsp:nvSpPr>
        <dsp:cNvPr id="0" name=""/>
        <dsp:cNvSpPr/>
      </dsp:nvSpPr>
      <dsp:spPr>
        <a:xfrm rot="10800000">
          <a:off x="1411148" y="1812"/>
          <a:ext cx="5159109" cy="446694"/>
        </a:xfrm>
        <a:prstGeom prst="homePlat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6980" tIns="60960" rIns="113792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err="1" smtClean="0">
              <a:solidFill>
                <a:schemeClr val="tx1"/>
              </a:solidFill>
            </a:rPr>
            <a:t>R1</a:t>
          </a:r>
          <a:r>
            <a:rPr lang="en-US" sz="1600" b="1" kern="1200" dirty="0" smtClean="0">
              <a:solidFill>
                <a:schemeClr val="tx1"/>
              </a:solidFill>
            </a:rPr>
            <a:t>: Accountability &amp; Data Risk</a:t>
          </a:r>
          <a:endParaRPr lang="en-US" sz="1600" kern="1200" dirty="0">
            <a:solidFill>
              <a:schemeClr val="tx1"/>
            </a:solidFill>
          </a:endParaRPr>
        </a:p>
      </dsp:txBody>
      <dsp:txXfrm rot="10800000">
        <a:off x="1411148" y="1812"/>
        <a:ext cx="5159109" cy="446694"/>
      </dsp:txXfrm>
    </dsp:sp>
    <dsp:sp modelId="{A46099A2-55AF-144B-A307-C52A555EC218}">
      <dsp:nvSpPr>
        <dsp:cNvPr id="0" name=""/>
        <dsp:cNvSpPr/>
      </dsp:nvSpPr>
      <dsp:spPr>
        <a:xfrm>
          <a:off x="1187801" y="1812"/>
          <a:ext cx="446694" cy="446694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E89B785E-B0DC-45DA-9E68-39ABBC13E4B8}">
      <dsp:nvSpPr>
        <dsp:cNvPr id="0" name=""/>
        <dsp:cNvSpPr/>
      </dsp:nvSpPr>
      <dsp:spPr>
        <a:xfrm rot="10800000">
          <a:off x="1411148" y="581848"/>
          <a:ext cx="5159109" cy="446694"/>
        </a:xfrm>
        <a:prstGeom prst="homePlat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6980" tIns="60960" rIns="113792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err="1" smtClean="0">
              <a:solidFill>
                <a:schemeClr val="tx1"/>
              </a:solidFill>
            </a:rPr>
            <a:t>R2</a:t>
          </a:r>
          <a:r>
            <a:rPr lang="en-US" sz="1600" b="1" kern="1200" dirty="0" smtClean="0">
              <a:solidFill>
                <a:schemeClr val="tx1"/>
              </a:solidFill>
            </a:rPr>
            <a:t>: User Identities</a:t>
          </a:r>
        </a:p>
      </dsp:txBody>
      <dsp:txXfrm rot="10800000">
        <a:off x="1411148" y="581848"/>
        <a:ext cx="5159109" cy="446694"/>
      </dsp:txXfrm>
    </dsp:sp>
    <dsp:sp modelId="{B1A55D69-AF6A-4AD0-9050-92323E491364}">
      <dsp:nvSpPr>
        <dsp:cNvPr id="0" name=""/>
        <dsp:cNvSpPr/>
      </dsp:nvSpPr>
      <dsp:spPr>
        <a:xfrm>
          <a:off x="1187801" y="581848"/>
          <a:ext cx="446694" cy="446694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61A1DDAE-DE72-482D-AE84-D8DC214BB605}">
      <dsp:nvSpPr>
        <dsp:cNvPr id="0" name=""/>
        <dsp:cNvSpPr/>
      </dsp:nvSpPr>
      <dsp:spPr>
        <a:xfrm rot="10800000">
          <a:off x="1411148" y="1161884"/>
          <a:ext cx="5159109" cy="446694"/>
        </a:xfrm>
        <a:prstGeom prst="homePlat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6980" tIns="60960" rIns="113792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err="1" smtClean="0">
              <a:solidFill>
                <a:schemeClr val="tx1"/>
              </a:solidFill>
            </a:rPr>
            <a:t>R3</a:t>
          </a:r>
          <a:r>
            <a:rPr lang="en-US" sz="1600" b="1" kern="1200" dirty="0" smtClean="0">
              <a:solidFill>
                <a:schemeClr val="tx1"/>
              </a:solidFill>
            </a:rPr>
            <a:t>: Regulatory Compliance</a:t>
          </a:r>
        </a:p>
      </dsp:txBody>
      <dsp:txXfrm rot="10800000">
        <a:off x="1411148" y="1161884"/>
        <a:ext cx="5159109" cy="446694"/>
      </dsp:txXfrm>
    </dsp:sp>
    <dsp:sp modelId="{E55452E6-AF1E-49CC-8CF4-E149E84167E0}">
      <dsp:nvSpPr>
        <dsp:cNvPr id="0" name=""/>
        <dsp:cNvSpPr/>
      </dsp:nvSpPr>
      <dsp:spPr>
        <a:xfrm>
          <a:off x="1187801" y="1161884"/>
          <a:ext cx="446694" cy="446694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7675F6DB-FD98-48D4-8BC4-EB3B8995C03C}">
      <dsp:nvSpPr>
        <dsp:cNvPr id="0" name=""/>
        <dsp:cNvSpPr/>
      </dsp:nvSpPr>
      <dsp:spPr>
        <a:xfrm rot="10800000">
          <a:off x="1411148" y="1741920"/>
          <a:ext cx="5159109" cy="446694"/>
        </a:xfrm>
        <a:prstGeom prst="homePlat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6980" tIns="60960" rIns="113792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err="1" smtClean="0">
              <a:solidFill>
                <a:schemeClr val="tx1"/>
              </a:solidFill>
            </a:rPr>
            <a:t>R4</a:t>
          </a:r>
          <a:r>
            <a:rPr lang="en-US" sz="1600" b="1" kern="1200" dirty="0" smtClean="0">
              <a:solidFill>
                <a:schemeClr val="tx1"/>
              </a:solidFill>
            </a:rPr>
            <a:t>: Business Continuity &amp; Resiliency</a:t>
          </a:r>
        </a:p>
      </dsp:txBody>
      <dsp:txXfrm rot="10800000">
        <a:off x="1411148" y="1741920"/>
        <a:ext cx="5159109" cy="446694"/>
      </dsp:txXfrm>
    </dsp:sp>
    <dsp:sp modelId="{3ADACB0C-6948-422C-9FCC-085BFE267052}">
      <dsp:nvSpPr>
        <dsp:cNvPr id="0" name=""/>
        <dsp:cNvSpPr/>
      </dsp:nvSpPr>
      <dsp:spPr>
        <a:xfrm>
          <a:off x="1187801" y="1741920"/>
          <a:ext cx="446694" cy="446694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C9C948A1-C69B-4DC3-80AA-372B7FA957DC}">
      <dsp:nvSpPr>
        <dsp:cNvPr id="0" name=""/>
        <dsp:cNvSpPr/>
      </dsp:nvSpPr>
      <dsp:spPr>
        <a:xfrm rot="10800000">
          <a:off x="1411148" y="2321957"/>
          <a:ext cx="5159109" cy="446694"/>
        </a:xfrm>
        <a:prstGeom prst="homePlat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6980" tIns="60960" rIns="113792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chemeClr val="tx1"/>
              </a:solidFill>
            </a:rPr>
            <a:t>R5: User Privacy &amp; Secondary Usage of Data</a:t>
          </a:r>
        </a:p>
      </dsp:txBody>
      <dsp:txXfrm rot="10800000">
        <a:off x="1411148" y="2321957"/>
        <a:ext cx="5159109" cy="446694"/>
      </dsp:txXfrm>
    </dsp:sp>
    <dsp:sp modelId="{EE93B8E0-290C-4BF2-A1D8-2FC405C31D7E}">
      <dsp:nvSpPr>
        <dsp:cNvPr id="0" name=""/>
        <dsp:cNvSpPr/>
      </dsp:nvSpPr>
      <dsp:spPr>
        <a:xfrm>
          <a:off x="1187801" y="2321957"/>
          <a:ext cx="446694" cy="446694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CEB84E45-A66C-4E02-B1C7-9E70144D8003}">
      <dsp:nvSpPr>
        <dsp:cNvPr id="0" name=""/>
        <dsp:cNvSpPr/>
      </dsp:nvSpPr>
      <dsp:spPr>
        <a:xfrm rot="10800000">
          <a:off x="1411148" y="2901993"/>
          <a:ext cx="5159109" cy="446694"/>
        </a:xfrm>
        <a:prstGeom prst="homePlat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6980" tIns="60960" rIns="113792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err="1" smtClean="0">
              <a:solidFill>
                <a:schemeClr val="tx1"/>
              </a:solidFill>
            </a:rPr>
            <a:t>R6</a:t>
          </a:r>
          <a:r>
            <a:rPr lang="en-US" sz="1600" b="1" kern="1200" dirty="0" smtClean="0">
              <a:solidFill>
                <a:schemeClr val="tx1"/>
              </a:solidFill>
            </a:rPr>
            <a:t>: Service &amp; Data Integration</a:t>
          </a:r>
        </a:p>
      </dsp:txBody>
      <dsp:txXfrm rot="10800000">
        <a:off x="1411148" y="2901993"/>
        <a:ext cx="5159109" cy="446694"/>
      </dsp:txXfrm>
    </dsp:sp>
    <dsp:sp modelId="{2B1E3679-AF89-43DB-9F6B-79CE07BA4104}">
      <dsp:nvSpPr>
        <dsp:cNvPr id="0" name=""/>
        <dsp:cNvSpPr/>
      </dsp:nvSpPr>
      <dsp:spPr>
        <a:xfrm>
          <a:off x="1187801" y="2901993"/>
          <a:ext cx="446694" cy="446694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2464C94D-3742-4B81-9675-20F21AF946BD}">
      <dsp:nvSpPr>
        <dsp:cNvPr id="0" name=""/>
        <dsp:cNvSpPr/>
      </dsp:nvSpPr>
      <dsp:spPr>
        <a:xfrm rot="10800000">
          <a:off x="1411148" y="3482029"/>
          <a:ext cx="5159109" cy="446694"/>
        </a:xfrm>
        <a:prstGeom prst="homePlat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6980" tIns="60960" rIns="113792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chemeClr val="tx1"/>
              </a:solidFill>
            </a:rPr>
            <a:t>R7: Multi-tenancy &amp; Physical Security</a:t>
          </a:r>
        </a:p>
      </dsp:txBody>
      <dsp:txXfrm rot="10800000">
        <a:off x="1411148" y="3482029"/>
        <a:ext cx="5159109" cy="446694"/>
      </dsp:txXfrm>
    </dsp:sp>
    <dsp:sp modelId="{47C2C4A5-992D-43F7-9CEC-EB39B790480F}">
      <dsp:nvSpPr>
        <dsp:cNvPr id="0" name=""/>
        <dsp:cNvSpPr/>
      </dsp:nvSpPr>
      <dsp:spPr>
        <a:xfrm>
          <a:off x="1187801" y="3482029"/>
          <a:ext cx="446694" cy="446694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DC0E6DAD-05D5-48D7-9038-45B984863F91}">
      <dsp:nvSpPr>
        <dsp:cNvPr id="0" name=""/>
        <dsp:cNvSpPr/>
      </dsp:nvSpPr>
      <dsp:spPr>
        <a:xfrm rot="10800000">
          <a:off x="1411148" y="4062065"/>
          <a:ext cx="5159109" cy="446694"/>
        </a:xfrm>
        <a:prstGeom prst="homePlat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6980" tIns="60960" rIns="113792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err="1" smtClean="0">
              <a:solidFill>
                <a:schemeClr val="tx1"/>
              </a:solidFill>
            </a:rPr>
            <a:t>R8</a:t>
          </a:r>
          <a:r>
            <a:rPr lang="en-US" sz="1600" b="1" kern="1200" dirty="0" smtClean="0">
              <a:solidFill>
                <a:schemeClr val="tx1"/>
              </a:solidFill>
            </a:rPr>
            <a:t>: Incidence Analysis &amp; Forensics</a:t>
          </a:r>
        </a:p>
      </dsp:txBody>
      <dsp:txXfrm rot="10800000">
        <a:off x="1411148" y="4062065"/>
        <a:ext cx="5159109" cy="446694"/>
      </dsp:txXfrm>
    </dsp:sp>
    <dsp:sp modelId="{8498BAC8-17C7-430A-BB18-D7F0DDFB674E}">
      <dsp:nvSpPr>
        <dsp:cNvPr id="0" name=""/>
        <dsp:cNvSpPr/>
      </dsp:nvSpPr>
      <dsp:spPr>
        <a:xfrm>
          <a:off x="1187801" y="4062065"/>
          <a:ext cx="446694" cy="446694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BB8EBA3C-BF9E-4E64-A7F8-A9664EF0B43A}">
      <dsp:nvSpPr>
        <dsp:cNvPr id="0" name=""/>
        <dsp:cNvSpPr/>
      </dsp:nvSpPr>
      <dsp:spPr>
        <a:xfrm rot="10800000">
          <a:off x="1411148" y="4642101"/>
          <a:ext cx="5159109" cy="446694"/>
        </a:xfrm>
        <a:prstGeom prst="homePlat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6980" tIns="60960" rIns="113792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err="1" smtClean="0">
              <a:solidFill>
                <a:schemeClr val="tx1"/>
              </a:solidFill>
            </a:rPr>
            <a:t>R9</a:t>
          </a:r>
          <a:r>
            <a:rPr lang="en-US" sz="1600" b="1" kern="1200" dirty="0" smtClean="0">
              <a:solidFill>
                <a:schemeClr val="tx1"/>
              </a:solidFill>
            </a:rPr>
            <a:t>: Infrastructure Security</a:t>
          </a:r>
        </a:p>
      </dsp:txBody>
      <dsp:txXfrm rot="10800000">
        <a:off x="1411148" y="4642101"/>
        <a:ext cx="5159109" cy="446694"/>
      </dsp:txXfrm>
    </dsp:sp>
    <dsp:sp modelId="{94AF654B-2FF8-4198-9B25-BA9300ABD58A}">
      <dsp:nvSpPr>
        <dsp:cNvPr id="0" name=""/>
        <dsp:cNvSpPr/>
      </dsp:nvSpPr>
      <dsp:spPr>
        <a:xfrm>
          <a:off x="1187801" y="4642101"/>
          <a:ext cx="446694" cy="446694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59B6F062-11DC-443C-B7E6-513F63A73939}">
      <dsp:nvSpPr>
        <dsp:cNvPr id="0" name=""/>
        <dsp:cNvSpPr/>
      </dsp:nvSpPr>
      <dsp:spPr>
        <a:xfrm rot="10800000">
          <a:off x="1411148" y="5222138"/>
          <a:ext cx="5159109" cy="446694"/>
        </a:xfrm>
        <a:prstGeom prst="homePlat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6980" tIns="60960" rIns="113792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chemeClr val="tx1"/>
              </a:solidFill>
            </a:rPr>
            <a:t>R10: Non-production Environment Exposure</a:t>
          </a:r>
          <a:endParaRPr lang="en-US" sz="1600" b="1" kern="1200" dirty="0">
            <a:solidFill>
              <a:schemeClr val="tx1"/>
            </a:solidFill>
          </a:endParaRPr>
        </a:p>
      </dsp:txBody>
      <dsp:txXfrm rot="10800000">
        <a:off x="1411148" y="5222138"/>
        <a:ext cx="5159109" cy="446694"/>
      </dsp:txXfrm>
    </dsp:sp>
    <dsp:sp modelId="{D48A2CB3-8BF7-43E3-BC8D-FBF8AAEFE0B1}">
      <dsp:nvSpPr>
        <dsp:cNvPr id="0" name=""/>
        <dsp:cNvSpPr/>
      </dsp:nvSpPr>
      <dsp:spPr>
        <a:xfrm>
          <a:off x="1187801" y="5222138"/>
          <a:ext cx="446694" cy="446694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emf"/><Relationship Id="rId1" Type="http://schemas.openxmlformats.org/officeDocument/2006/relationships/image" Target="../media/image18.emf"/><Relationship Id="rId4" Type="http://schemas.openxmlformats.org/officeDocument/2006/relationships/image" Target="../media/image2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smtClean="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smtClean="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Arial" charset="0"/>
              </a:defRPr>
            </a:lvl1pPr>
          </a:lstStyle>
          <a:p>
            <a:pPr>
              <a:defRPr/>
            </a:pPr>
            <a:fld id="{02E49967-9C00-4D4E-AD53-F9DD84478AC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2009, Cisco Systems, Inc. All rights reserved.</a:t>
            </a:r>
          </a:p>
          <a:p>
            <a:r>
              <a:rPr lang="en-US" smtClean="0"/>
              <a:t>Presentation_ID.sc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4092314-1E42-47DB-8DF1-E8A2BC4C013D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F13586A-96ED-489A-9828-1F1FCA9BCA3D}" type="slidenum">
              <a:rPr lang="en-US"/>
              <a:pPr/>
              <a:t>10</a:t>
            </a:fld>
            <a:endParaRPr lang="en-US"/>
          </a:p>
        </p:txBody>
      </p:sp>
      <p:sp>
        <p:nvSpPr>
          <p:cNvPr id="6420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420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9320AC-6B27-4A22-B1C3-D729C1C8E80C}" type="slidenum">
              <a:rPr lang="en-US" smtClean="0"/>
              <a:pPr/>
              <a:t>11</a:t>
            </a:fld>
            <a:endParaRPr 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04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latin typeface="Arial" charset="0"/>
              <a:ea typeface="ＭＳ Ｐゴシック" charset="-128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04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latin typeface="Arial" charset="0"/>
              <a:ea typeface="ＭＳ Ｐゴシック" charset="-128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04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latin typeface="Arial" charset="0"/>
              <a:ea typeface="ＭＳ Ｐゴシック" charset="-128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04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latin typeface="Arial" charset="0"/>
              <a:ea typeface="ＭＳ Ｐゴシック" charset="-128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077158-C6C0-4215-83A6-BFD7D2C147D7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SAML </a:t>
            </a:r>
            <a:r>
              <a:rPr lang="x-none" smtClean="0"/>
              <a:t>–</a:t>
            </a:r>
            <a:r>
              <a:rPr lang="en-US" dirty="0" smtClean="0"/>
              <a:t> Security Assertion Markup Languag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077158-C6C0-4215-83A6-BFD7D2C147D7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11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515EADA-1DFF-4724-9303-04E825A6C07B}" type="slidenum">
              <a:rPr lang="en-US">
                <a:latin typeface="Arial" pitchFamily="34" charset="0"/>
              </a:rPr>
              <a:pPr/>
              <a:t>18</a:t>
            </a:fld>
            <a:endParaRPr lang="en-US">
              <a:latin typeface="Arial" pitchFamily="34" charset="0"/>
            </a:endParaRPr>
          </a:p>
        </p:txBody>
      </p:sp>
      <p:sp>
        <p:nvSpPr>
          <p:cNvPr id="296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4213"/>
            <a:ext cx="4573588" cy="3430587"/>
          </a:xfrm>
          <a:ln/>
        </p:spPr>
      </p:sp>
      <p:sp>
        <p:nvSpPr>
          <p:cNvPr id="297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490" y="4345432"/>
            <a:ext cx="5487022" cy="4114174"/>
          </a:xfrm>
          <a:noFill/>
          <a:ln/>
        </p:spPr>
        <p:txBody>
          <a:bodyPr/>
          <a:lstStyle/>
          <a:p>
            <a:pPr lvl="1">
              <a:lnSpc>
                <a:spcPct val="80000"/>
              </a:lnSpc>
              <a:buFontTx/>
              <a:buChar char="-"/>
            </a:pPr>
            <a:endParaRPr lang="en-US" sz="800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latin typeface="Arial" charset="0"/>
              <a:ea typeface="ＭＳ Ｐゴシック" charset="-128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F13586A-96ED-489A-9828-1F1FCA9BCA3D}" type="slidenum">
              <a:rPr lang="en-US"/>
              <a:pPr/>
              <a:t>2</a:t>
            </a:fld>
            <a:endParaRPr lang="en-US"/>
          </a:p>
        </p:txBody>
      </p:sp>
      <p:sp>
        <p:nvSpPr>
          <p:cNvPr id="6420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420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updated</a:t>
            </a:r>
            <a:endParaRPr lang="en-GB" dirty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04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algn="l"/>
            <a:r>
              <a:rPr lang="en-US" b="1" i="1" dirty="0" smtClean="0"/>
              <a:t>Business Continuity </a:t>
            </a:r>
            <a:r>
              <a:rPr lang="en-US" dirty="0" smtClean="0"/>
              <a:t>is … </a:t>
            </a:r>
          </a:p>
          <a:p>
            <a:pPr algn="l"/>
            <a:endParaRPr lang="en-US" dirty="0" smtClean="0"/>
          </a:p>
          <a:p>
            <a:pPr algn="l"/>
            <a:r>
              <a:rPr lang="en-US" dirty="0" smtClean="0"/>
              <a:t>activity an organization performs to ensure that critical business functions are available to the customers </a:t>
            </a:r>
          </a:p>
          <a:p>
            <a:pPr algn="l"/>
            <a:endParaRPr lang="en-US" dirty="0" smtClean="0"/>
          </a:p>
          <a:p>
            <a:pPr algn="l"/>
            <a:r>
              <a:rPr lang="en-US" b="1" i="1" dirty="0" smtClean="0"/>
              <a:t>Resiliency </a:t>
            </a:r>
            <a:r>
              <a:rPr lang="en-US" dirty="0" smtClean="0"/>
              <a:t>is …</a:t>
            </a:r>
          </a:p>
          <a:p>
            <a:pPr algn="l"/>
            <a:endParaRPr lang="en-US" dirty="0" smtClean="0"/>
          </a:p>
          <a:p>
            <a:pPr algn="l"/>
            <a:r>
              <a:rPr lang="en-US" dirty="0" smtClean="0"/>
              <a:t>property of a system to adapt itself to the consequences of a catastrophic failure caused by natural or man-made events </a:t>
            </a:r>
          </a:p>
          <a:p>
            <a:pPr algn="l">
              <a:buFont typeface="Wingdings" pitchFamily="2" charset="2"/>
              <a:buNone/>
            </a:pPr>
            <a:r>
              <a:rPr lang="en-US" dirty="0" smtClean="0"/>
              <a:t> </a:t>
            </a:r>
          </a:p>
          <a:p>
            <a:pPr algn="l">
              <a:buFont typeface="Wingdings" pitchFamily="2" charset="2"/>
              <a:buChar char="§"/>
            </a:pPr>
            <a:endParaRPr lang="en-US" dirty="0" smtClean="0"/>
          </a:p>
          <a:p>
            <a:pPr algn="l">
              <a:buFont typeface="Wingdings" pitchFamily="2" charset="2"/>
              <a:buChar char="§"/>
            </a:pPr>
            <a:endParaRPr lang="en-US" dirty="0" smtClean="0"/>
          </a:p>
          <a:p>
            <a:pPr algn="l">
              <a:buFont typeface="Wingdings" pitchFamily="2" charset="2"/>
              <a:buChar char="§"/>
            </a:pPr>
            <a:r>
              <a:rPr lang="en-US" dirty="0" smtClean="0"/>
              <a:t>Cloud provider may not possess know-how and capabilities needed to ensure business continuity and resiliency</a:t>
            </a:r>
          </a:p>
          <a:p>
            <a:pPr algn="l">
              <a:buFont typeface="Wingdings" pitchFamily="2" charset="2"/>
              <a:buChar char="§"/>
            </a:pPr>
            <a:endParaRPr lang="en-US" dirty="0" smtClean="0"/>
          </a:p>
          <a:p>
            <a:pPr algn="l">
              <a:buFont typeface="Wingdings" pitchFamily="2" charset="2"/>
              <a:buChar char="§"/>
            </a:pPr>
            <a:r>
              <a:rPr lang="en-US" dirty="0" smtClean="0"/>
              <a:t> What happens when an outage occurs that last for multiple hours / days?</a:t>
            </a:r>
          </a:p>
          <a:p>
            <a:pPr algn="l">
              <a:buFont typeface="Wingdings" pitchFamily="2" charset="2"/>
              <a:buChar char="§"/>
            </a:pPr>
            <a:endParaRPr lang="en-US" dirty="0" smtClean="0"/>
          </a:p>
          <a:p>
            <a:pPr algn="l">
              <a:buFont typeface="Wingdings" pitchFamily="2" charset="2"/>
              <a:buChar char="§"/>
            </a:pPr>
            <a:r>
              <a:rPr lang="en-US" dirty="0" smtClean="0"/>
              <a:t> Implications when a cloud provider is acquired by a customer’s competitor</a:t>
            </a:r>
          </a:p>
          <a:p>
            <a:pPr algn="l"/>
            <a:endParaRPr lang="en-US" dirty="0" smtClean="0"/>
          </a:p>
          <a:p>
            <a:endParaRPr lang="en-US" dirty="0" smtClean="0">
              <a:latin typeface="Arial" charset="0"/>
              <a:ea typeface="ＭＳ Ｐゴシック" charset="-128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04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algn="l">
              <a:buFont typeface="Wingdings" pitchFamily="2" charset="2"/>
              <a:buChar char="ü"/>
            </a:pPr>
            <a:endParaRPr lang="en-US" dirty="0" smtClean="0"/>
          </a:p>
          <a:p>
            <a:pPr algn="l">
              <a:buFont typeface="Wingdings" pitchFamily="2" charset="2"/>
              <a:buChar char="ü"/>
            </a:pPr>
            <a:r>
              <a:rPr lang="en-US" dirty="0" smtClean="0"/>
              <a:t> Ensure customer Recovery Time Objectives (</a:t>
            </a:r>
            <a:r>
              <a:rPr lang="en-US" dirty="0" err="1" smtClean="0"/>
              <a:t>RTOs</a:t>
            </a:r>
            <a:r>
              <a:rPr lang="en-US" dirty="0" smtClean="0"/>
              <a:t>) are fully understood and defined in contractual relationships</a:t>
            </a:r>
          </a:p>
          <a:p>
            <a:pPr algn="l">
              <a:buFont typeface="Wingdings" pitchFamily="2" charset="2"/>
              <a:buChar char="ü"/>
            </a:pPr>
            <a:endParaRPr lang="en-US" dirty="0" smtClean="0"/>
          </a:p>
          <a:p>
            <a:pPr algn="l">
              <a:buFont typeface="Wingdings" pitchFamily="2" charset="2"/>
              <a:buChar char="ü"/>
            </a:pPr>
            <a:r>
              <a:rPr lang="en-US" dirty="0" smtClean="0"/>
              <a:t> Verify whether the cloud provider's Business Continuity Program is certified and/or mapped to internationally recognized standards such as BS 25999</a:t>
            </a:r>
          </a:p>
          <a:p>
            <a:endParaRPr lang="en-US" dirty="0" smtClean="0">
              <a:latin typeface="Arial" charset="0"/>
              <a:ea typeface="ＭＳ Ｐゴシック" charset="-128"/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11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0550028-D66C-4BA3-BD54-98C13EF6268D}" type="slidenum">
              <a:rPr lang="en-US">
                <a:latin typeface="Arial" pitchFamily="34" charset="0"/>
              </a:rPr>
              <a:pPr/>
              <a:t>22</a:t>
            </a:fld>
            <a:endParaRPr lang="en-US">
              <a:latin typeface="Arial" pitchFamily="34" charset="0"/>
            </a:endParaRPr>
          </a:p>
        </p:txBody>
      </p:sp>
      <p:sp>
        <p:nvSpPr>
          <p:cNvPr id="542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427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96013" y="4304988"/>
            <a:ext cx="5986773" cy="4184754"/>
          </a:xfrm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endParaRPr lang="en-US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10605" indent="-110605" defTabSz="1001675">
              <a:lnSpc>
                <a:spcPct val="90000"/>
              </a:lnSpc>
              <a:spcBef>
                <a:spcPct val="50000"/>
              </a:spcBef>
              <a:buSzPct val="100000"/>
              <a:buFontTx/>
              <a:buChar char="•"/>
              <a:defRPr/>
            </a:pPr>
            <a:r>
              <a:rPr lang="en-US" dirty="0" smtClean="0"/>
              <a:t>Photo Bob </a:t>
            </a:r>
            <a:r>
              <a:rPr lang="en-US" dirty="0" err="1" smtClean="0"/>
              <a:t>Blakley</a:t>
            </a:r>
            <a:r>
              <a:rPr lang="en-US" dirty="0" smtClean="0"/>
              <a:t>/Burto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9320AC-6B27-4A22-B1C3-D729C1C8E80C}" type="slidenum">
              <a:rPr lang="en-US" smtClean="0"/>
              <a:pPr/>
              <a:t>23</a:t>
            </a:fld>
            <a:endParaRPr lang="en-US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9320AC-6B27-4A22-B1C3-D729C1C8E80C}" type="slidenum">
              <a:rPr lang="en-US" smtClean="0"/>
              <a:pPr/>
              <a:t>24</a:t>
            </a:fld>
            <a:endParaRPr lang="en-US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11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515EADA-1DFF-4724-9303-04E825A6C07B}" type="slidenum">
              <a:rPr lang="en-US">
                <a:latin typeface="Arial" pitchFamily="34" charset="0"/>
              </a:rPr>
              <a:pPr/>
              <a:t>25</a:t>
            </a:fld>
            <a:endParaRPr lang="en-US">
              <a:latin typeface="Arial" pitchFamily="34" charset="0"/>
            </a:endParaRPr>
          </a:p>
        </p:txBody>
      </p:sp>
      <p:sp>
        <p:nvSpPr>
          <p:cNvPr id="296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4213"/>
            <a:ext cx="4573588" cy="3430587"/>
          </a:xfrm>
          <a:ln/>
        </p:spPr>
      </p:sp>
      <p:sp>
        <p:nvSpPr>
          <p:cNvPr id="297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490" y="4345432"/>
            <a:ext cx="5487022" cy="4114174"/>
          </a:xfrm>
          <a:noFill/>
          <a:ln/>
        </p:spPr>
        <p:txBody>
          <a:bodyPr/>
          <a:lstStyle/>
          <a:p>
            <a:pPr lvl="1">
              <a:lnSpc>
                <a:spcPct val="80000"/>
              </a:lnSpc>
              <a:buFontTx/>
              <a:buChar char="-"/>
            </a:pPr>
            <a:endParaRPr lang="en-US" sz="800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latin typeface="Arial" charset="0"/>
              <a:ea typeface="ＭＳ Ｐゴシック" charset="-128"/>
            </a:endParaRPr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10598" indent="-110598" defTabSz="1001620">
              <a:defRPr/>
            </a:pPr>
            <a:r>
              <a:rPr lang="en-US" dirty="0" smtClean="0"/>
              <a:t>http://www.owasp.org/index.php/Cloud-10_Multi_Tenancy_and_Physical_Security</a:t>
            </a:r>
          </a:p>
          <a:p>
            <a:pPr marL="110598" indent="-110598" defTabSz="1001620">
              <a:defRPr/>
            </a:pPr>
            <a:endParaRPr lang="en-US" dirty="0" smtClean="0"/>
          </a:p>
          <a:p>
            <a:pPr marL="110598" indent="-110598" defTabSz="1001620">
              <a:defRPr/>
            </a:pPr>
            <a:r>
              <a:rPr lang="en-US" dirty="0" smtClean="0"/>
              <a:t>Tenants -&gt;</a:t>
            </a:r>
            <a:r>
              <a:rPr lang="en-US" baseline="0" dirty="0" smtClean="0"/>
              <a:t> Cloud Consumer</a:t>
            </a:r>
          </a:p>
          <a:p>
            <a:pPr marL="110598" indent="-110598" defTabSz="1001620">
              <a:defRPr/>
            </a:pPr>
            <a:r>
              <a:rPr lang="en-US" baseline="0" dirty="0" smtClean="0"/>
              <a:t>Single person to Orgs</a:t>
            </a:r>
          </a:p>
          <a:p>
            <a:pPr marL="110598" indent="-110598" defTabSz="1001620">
              <a:defRPr/>
            </a:pPr>
            <a:r>
              <a:rPr lang="en-US" baseline="0" dirty="0" err="1" smtClean="0"/>
              <a:t>Reachback</a:t>
            </a:r>
            <a:endParaRPr lang="en-US" baseline="0" dirty="0" smtClean="0"/>
          </a:p>
          <a:p>
            <a:pPr marL="110598" indent="-110598" defTabSz="1001620">
              <a:defRPr/>
            </a:pPr>
            <a:r>
              <a:rPr lang="en-US" baseline="0" dirty="0" smtClean="0"/>
              <a:t>Points fly b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9320AC-6B27-4A22-B1C3-D729C1C8E80C}" type="slidenum">
              <a:rPr lang="en-US" smtClean="0"/>
              <a:pPr/>
              <a:t>27</a:t>
            </a:fld>
            <a:endParaRPr lang="en-US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10605" indent="-110605" defTabSz="1001675">
              <a:lnSpc>
                <a:spcPct val="90000"/>
              </a:lnSpc>
              <a:spcBef>
                <a:spcPct val="50000"/>
              </a:spcBef>
              <a:buSzPct val="100000"/>
              <a:buFontTx/>
              <a:buChar char="•"/>
              <a:defRPr/>
            </a:pPr>
            <a:r>
              <a:rPr lang="en-US" dirty="0" smtClean="0"/>
              <a:t>http://</a:t>
            </a:r>
            <a:r>
              <a:rPr lang="en-US" dirty="0" err="1" smtClean="0"/>
              <a:t>chenxiwang.wordpress.com</a:t>
            </a:r>
            <a:r>
              <a:rPr lang="en-US" dirty="0" smtClean="0"/>
              <a:t>/2009/11/02/</a:t>
            </a:r>
            <a:r>
              <a:rPr lang="en-US" dirty="0" err="1" smtClean="0"/>
              <a:t>mit’s</a:t>
            </a:r>
            <a:r>
              <a:rPr lang="en-US" dirty="0" smtClean="0"/>
              <a:t>-attack-on-</a:t>
            </a:r>
            <a:r>
              <a:rPr lang="en-US" dirty="0" err="1" smtClean="0"/>
              <a:t>amazon</a:t>
            </a:r>
            <a:r>
              <a:rPr lang="en-US" dirty="0" smtClean="0"/>
              <a:t>-</a:t>
            </a:r>
            <a:r>
              <a:rPr lang="en-US" dirty="0" err="1" smtClean="0"/>
              <a:t>ec2</a:t>
            </a:r>
            <a:r>
              <a:rPr lang="en-US" dirty="0" smtClean="0"/>
              <a:t>-an-academic-exercise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9320AC-6B27-4A22-B1C3-D729C1C8E80C}" type="slidenum">
              <a:rPr lang="en-US" smtClean="0"/>
              <a:pPr/>
              <a:t>28</a:t>
            </a:fld>
            <a:endParaRPr lang="en-US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9320AC-6B27-4A22-B1C3-D729C1C8E80C}" type="slidenum">
              <a:rPr lang="en-US" smtClean="0"/>
              <a:pPr/>
              <a:t>29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F13586A-96ED-489A-9828-1F1FCA9BCA3D}" type="slidenum">
              <a:rPr lang="en-US"/>
              <a:pPr/>
              <a:t>3</a:t>
            </a:fld>
            <a:endParaRPr lang="en-US"/>
          </a:p>
        </p:txBody>
      </p:sp>
      <p:sp>
        <p:nvSpPr>
          <p:cNvPr id="6420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420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11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515EADA-1DFF-4724-9303-04E825A6C07B}" type="slidenum">
              <a:rPr lang="en-US">
                <a:latin typeface="Arial" pitchFamily="34" charset="0"/>
              </a:rPr>
              <a:pPr/>
              <a:t>30</a:t>
            </a:fld>
            <a:endParaRPr lang="en-US">
              <a:latin typeface="Arial" pitchFamily="34" charset="0"/>
            </a:endParaRPr>
          </a:p>
        </p:txBody>
      </p:sp>
      <p:sp>
        <p:nvSpPr>
          <p:cNvPr id="296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4213"/>
            <a:ext cx="4573588" cy="3430587"/>
          </a:xfrm>
          <a:ln/>
        </p:spPr>
      </p:sp>
      <p:sp>
        <p:nvSpPr>
          <p:cNvPr id="297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490" y="4345432"/>
            <a:ext cx="5487022" cy="4114174"/>
          </a:xfrm>
          <a:noFill/>
          <a:ln/>
        </p:spPr>
        <p:txBody>
          <a:bodyPr/>
          <a:lstStyle/>
          <a:p>
            <a:pPr lvl="1">
              <a:lnSpc>
                <a:spcPct val="80000"/>
              </a:lnSpc>
              <a:buFontTx/>
              <a:buChar char="-"/>
            </a:pPr>
            <a:endParaRPr lang="en-US" sz="800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latin typeface="Arial" charset="0"/>
              <a:ea typeface="ＭＳ Ｐゴシック" charset="-128"/>
            </a:endParaRPr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11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515EADA-1DFF-4724-9303-04E825A6C07B}" type="slidenum">
              <a:rPr lang="en-US">
                <a:latin typeface="Arial" pitchFamily="34" charset="0"/>
              </a:rPr>
              <a:pPr/>
              <a:t>32</a:t>
            </a:fld>
            <a:endParaRPr lang="en-US">
              <a:latin typeface="Arial" pitchFamily="34" charset="0"/>
            </a:endParaRPr>
          </a:p>
        </p:txBody>
      </p:sp>
      <p:sp>
        <p:nvSpPr>
          <p:cNvPr id="296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4213"/>
            <a:ext cx="4573588" cy="3430587"/>
          </a:xfrm>
          <a:ln/>
        </p:spPr>
      </p:sp>
      <p:sp>
        <p:nvSpPr>
          <p:cNvPr id="297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490" y="4345432"/>
            <a:ext cx="5487022" cy="4114174"/>
          </a:xfrm>
          <a:noFill/>
          <a:ln/>
        </p:spPr>
        <p:txBody>
          <a:bodyPr/>
          <a:lstStyle/>
          <a:p>
            <a:pPr lvl="1">
              <a:lnSpc>
                <a:spcPct val="80000"/>
              </a:lnSpc>
              <a:buFontTx/>
              <a:buChar char="-"/>
            </a:pPr>
            <a:endParaRPr lang="en-US" sz="800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867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latin typeface="Arial" charset="0"/>
              <a:ea typeface="ＭＳ Ｐゴシック" charset="-128"/>
            </a:endParaRPr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04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algn="l">
              <a:buFont typeface="Wingdings" pitchFamily="2" charset="2"/>
              <a:buChar char="§"/>
            </a:pPr>
            <a:r>
              <a:rPr lang="en-US" sz="2000" b="1" dirty="0" smtClean="0"/>
              <a:t> High risk of an unauthorized user getting access to the non-</a:t>
            </a:r>
          </a:p>
          <a:p>
            <a:pPr algn="l"/>
            <a:r>
              <a:rPr lang="en-US" sz="2000" b="1" dirty="0" smtClean="0"/>
              <a:t>   production environment in publicly accessible cloud</a:t>
            </a:r>
          </a:p>
          <a:p>
            <a:pPr algn="l"/>
            <a:r>
              <a:rPr lang="en-US" sz="2000" dirty="0" smtClean="0"/>
              <a:t> </a:t>
            </a:r>
          </a:p>
          <a:p>
            <a:pPr lvl="1" algn="l"/>
            <a:r>
              <a:rPr lang="en-US" sz="2000" dirty="0" smtClean="0"/>
              <a:t>Environment may be altered such that it becomes unusable</a:t>
            </a:r>
          </a:p>
          <a:p>
            <a:pPr algn="l">
              <a:buFont typeface="Wingdings" pitchFamily="2" charset="2"/>
              <a:buChar char="§"/>
            </a:pPr>
            <a:endParaRPr lang="en-US" sz="2000" dirty="0" smtClean="0"/>
          </a:p>
          <a:p>
            <a:pPr algn="l">
              <a:buFont typeface="Wingdings" pitchFamily="2" charset="2"/>
              <a:buChar char="§"/>
            </a:pPr>
            <a:r>
              <a:rPr lang="en-US" sz="2000" b="1" dirty="0" smtClean="0"/>
              <a:t> Unauthorized access is easier since typical non-production    </a:t>
            </a:r>
          </a:p>
          <a:p>
            <a:pPr algn="l"/>
            <a:r>
              <a:rPr lang="en-US" sz="2000" b="1" dirty="0" smtClean="0"/>
              <a:t>   environment use generic authentication credentials </a:t>
            </a:r>
          </a:p>
          <a:p>
            <a:pPr lvl="1" algn="l"/>
            <a:endParaRPr lang="en-US" sz="2000" dirty="0" smtClean="0"/>
          </a:p>
          <a:p>
            <a:pPr lvl="1" algn="l"/>
            <a:r>
              <a:rPr lang="en-US" sz="2000" dirty="0" smtClean="0"/>
              <a:t>Passwords may not conform to the standard password policy</a:t>
            </a:r>
          </a:p>
          <a:p>
            <a:pPr lvl="1" algn="l"/>
            <a:endParaRPr lang="en-US" sz="2000" dirty="0" smtClean="0"/>
          </a:p>
          <a:p>
            <a:pPr algn="l">
              <a:buFont typeface="Wingdings" pitchFamily="2" charset="2"/>
              <a:buChar char="§"/>
            </a:pPr>
            <a:r>
              <a:rPr lang="en-US" sz="2000" b="1" dirty="0" smtClean="0"/>
              <a:t> Non-production environment may contain data copied from its </a:t>
            </a:r>
          </a:p>
          <a:p>
            <a:pPr algn="l"/>
            <a:r>
              <a:rPr lang="en-US" sz="2000" b="1" dirty="0" smtClean="0"/>
              <a:t>   production equivalent</a:t>
            </a:r>
          </a:p>
          <a:p>
            <a:pPr algn="l">
              <a:buFont typeface="Wingdings" pitchFamily="2" charset="2"/>
              <a:buChar char="§"/>
            </a:pPr>
            <a:endParaRPr lang="en-US" sz="2000" dirty="0" smtClean="0"/>
          </a:p>
          <a:p>
            <a:pPr algn="l"/>
            <a:r>
              <a:rPr lang="en-US" sz="2000" dirty="0" smtClean="0"/>
              <a:t>        An unauthorized user can steal the sensitive production data such          </a:t>
            </a:r>
          </a:p>
          <a:p>
            <a:pPr algn="l"/>
            <a:r>
              <a:rPr lang="en-US" sz="2000" dirty="0" smtClean="0"/>
              <a:t>        as credit card and social security numbers.</a:t>
            </a:r>
          </a:p>
          <a:p>
            <a:endParaRPr lang="en-US" dirty="0" smtClean="0">
              <a:latin typeface="Arial" charset="0"/>
              <a:ea typeface="ＭＳ Ｐゴシック" charset="-128"/>
            </a:endParaRPr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04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latin typeface="Arial" charset="0"/>
              <a:ea typeface="ＭＳ Ｐゴシック" charset="-128"/>
            </a:endParaRPr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10605" indent="-110605" defTabSz="1001675">
              <a:lnSpc>
                <a:spcPct val="90000"/>
              </a:lnSpc>
              <a:spcBef>
                <a:spcPct val="50000"/>
              </a:spcBef>
              <a:buSzPct val="100000"/>
              <a:buFontTx/>
              <a:buChar char="•"/>
              <a:defRPr/>
            </a:pPr>
            <a:r>
              <a:rPr lang="en-US" dirty="0" smtClean="0"/>
              <a:t>Photo - http://fineartamerica.com/featured/peaceful-sleep-ron-white.htm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9320AC-6B27-4A22-B1C3-D729C1C8E80C}" type="slidenum">
              <a:rPr lang="en-US" smtClean="0"/>
              <a:pPr/>
              <a:t>36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F13586A-96ED-489A-9828-1F1FCA9BCA3D}" type="slidenum">
              <a:rPr lang="en-US"/>
              <a:pPr/>
              <a:t>4</a:t>
            </a:fld>
            <a:endParaRPr lang="en-US"/>
          </a:p>
        </p:txBody>
      </p:sp>
      <p:sp>
        <p:nvSpPr>
          <p:cNvPr id="6420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420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F13586A-96ED-489A-9828-1F1FCA9BCA3D}" type="slidenum">
              <a:rPr lang="en-US"/>
              <a:pPr/>
              <a:t>5</a:t>
            </a:fld>
            <a:endParaRPr lang="en-US"/>
          </a:p>
        </p:txBody>
      </p:sp>
      <p:sp>
        <p:nvSpPr>
          <p:cNvPr id="6420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420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A75B00A-4F7B-4111-819D-28CC7E8A0BA9}" type="slidenum">
              <a:rPr lang="en-US" smtClean="0"/>
              <a:pPr/>
              <a:t>6</a:t>
            </a:fld>
            <a:endParaRPr lang="en-US" smtClean="0"/>
          </a:p>
        </p:txBody>
      </p:sp>
      <p:sp>
        <p:nvSpPr>
          <p:cNvPr id="563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632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en-US" sz="900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DA5D4F6-18EC-417B-BB59-5E2F40407CCB}" type="slidenum">
              <a:rPr lang="en-US" smtClean="0"/>
              <a:pPr/>
              <a:t>7</a:t>
            </a:fld>
            <a:endParaRPr lang="en-US" smtClean="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EC5A1A6-71DA-4FCF-B3BF-9720798E0FCD}" type="slidenum">
              <a:rPr lang="en-US" smtClean="0"/>
              <a:pPr/>
              <a:t>8</a:t>
            </a:fld>
            <a:endParaRPr lang="en-US" smtClean="0"/>
          </a:p>
        </p:txBody>
      </p:sp>
      <p:sp>
        <p:nvSpPr>
          <p:cNvPr id="675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758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F13586A-96ED-489A-9828-1F1FCA9BCA3D}" type="slidenum">
              <a:rPr lang="en-US"/>
              <a:pPr/>
              <a:t>9</a:t>
            </a:fld>
            <a:endParaRPr lang="en-US"/>
          </a:p>
        </p:txBody>
      </p:sp>
      <p:sp>
        <p:nvSpPr>
          <p:cNvPr id="6420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420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5"/>
          <p:cNvSpPr>
            <a:spLocks noChangeArrowheads="1"/>
          </p:cNvSpPr>
          <p:nvPr/>
        </p:nvSpPr>
        <p:spPr bwMode="auto">
          <a:xfrm>
            <a:off x="1447800" y="762000"/>
            <a:ext cx="7696200" cy="4953000"/>
          </a:xfrm>
          <a:prstGeom prst="rect">
            <a:avLst/>
          </a:prstGeom>
          <a:solidFill>
            <a:srgbClr val="EAEAEA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n-US">
              <a:latin typeface="Tahoma" pitchFamily="34" charset="0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0"/>
            <a:ext cx="9144000" cy="609600"/>
          </a:xfrm>
          <a:prstGeom prst="rect">
            <a:avLst/>
          </a:prstGeom>
          <a:solidFill>
            <a:srgbClr val="336699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n-US">
              <a:latin typeface="Tahoma" pitchFamily="34" charset="0"/>
            </a:endParaRP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0" y="5715000"/>
            <a:ext cx="9144000" cy="1149350"/>
          </a:xfrm>
          <a:prstGeom prst="rect">
            <a:avLst/>
          </a:prstGeom>
          <a:solidFill>
            <a:srgbClr val="336699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pic>
        <p:nvPicPr>
          <p:cNvPr id="7" name="Picture 6" descr="owasp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676400" y="1066800"/>
            <a:ext cx="1371600" cy="1258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4038600" y="5165725"/>
            <a:ext cx="4191000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defRPr/>
            </a:pPr>
            <a:r>
              <a:rPr lang="en-US" sz="1000">
                <a:solidFill>
                  <a:srgbClr val="969696"/>
                </a:solidFill>
                <a:latin typeface="Tahoma" pitchFamily="34" charset="0"/>
              </a:rPr>
              <a:t>Copyright © The OWASP Foundation</a:t>
            </a:r>
          </a:p>
          <a:p>
            <a:pPr>
              <a:defRPr/>
            </a:pPr>
            <a:r>
              <a:rPr lang="en-US" sz="1000">
                <a:solidFill>
                  <a:srgbClr val="969696"/>
                </a:solidFill>
                <a:latin typeface="Tahoma" pitchFamily="34" charset="0"/>
              </a:rPr>
              <a:t>Permission is granted to copy, distribute and/or modify this document under the terms of the OWASP License.</a:t>
            </a: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0" y="609600"/>
            <a:ext cx="9144000" cy="152400"/>
          </a:xfrm>
          <a:prstGeom prst="rect">
            <a:avLst/>
          </a:prstGeom>
          <a:solidFill>
            <a:srgbClr val="777777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n-US">
              <a:latin typeface="Tahoma" pitchFamily="34" charset="0"/>
            </a:endParaRPr>
          </a:p>
        </p:txBody>
      </p:sp>
      <p:sp>
        <p:nvSpPr>
          <p:cNvPr id="10" name="Rectangle 16"/>
          <p:cNvSpPr>
            <a:spLocks noChangeArrowheads="1"/>
          </p:cNvSpPr>
          <p:nvPr/>
        </p:nvSpPr>
        <p:spPr bwMode="auto">
          <a:xfrm>
            <a:off x="6350" y="755650"/>
            <a:ext cx="1417638" cy="3740150"/>
          </a:xfrm>
          <a:prstGeom prst="rect">
            <a:avLst/>
          </a:prstGeom>
          <a:solidFill>
            <a:srgbClr val="003399">
              <a:alpha val="59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n-US">
              <a:latin typeface="Tahoma" pitchFamily="34" charset="0"/>
            </a:endParaRPr>
          </a:p>
        </p:txBody>
      </p:sp>
      <p:sp>
        <p:nvSpPr>
          <p:cNvPr id="11" name="Rectangle 18"/>
          <p:cNvSpPr>
            <a:spLocks noChangeArrowheads="1"/>
          </p:cNvSpPr>
          <p:nvPr/>
        </p:nvSpPr>
        <p:spPr bwMode="auto">
          <a:xfrm>
            <a:off x="6350" y="5302250"/>
            <a:ext cx="1417638" cy="412750"/>
          </a:xfrm>
          <a:prstGeom prst="rect">
            <a:avLst/>
          </a:prstGeom>
          <a:gradFill rotWithShape="0">
            <a:gsLst>
              <a:gs pos="0">
                <a:schemeClr val="tx1"/>
              </a:gs>
              <a:gs pos="100000">
                <a:schemeClr val="tx1">
                  <a:gamma/>
                  <a:shade val="0"/>
                  <a:invGamma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n-US">
              <a:latin typeface="Tahoma" pitchFamily="34" charset="0"/>
            </a:endParaRPr>
          </a:p>
        </p:txBody>
      </p:sp>
      <p:sp>
        <p:nvSpPr>
          <p:cNvPr id="12" name="Rectangle 19"/>
          <p:cNvSpPr>
            <a:spLocks noChangeArrowheads="1"/>
          </p:cNvSpPr>
          <p:nvPr/>
        </p:nvSpPr>
        <p:spPr bwMode="auto">
          <a:xfrm>
            <a:off x="6350" y="4845050"/>
            <a:ext cx="1417638" cy="565150"/>
          </a:xfrm>
          <a:prstGeom prst="rect">
            <a:avLst/>
          </a:prstGeom>
          <a:solidFill>
            <a:srgbClr val="339933">
              <a:alpha val="71001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n-US">
              <a:latin typeface="Tahoma" pitchFamily="34" charset="0"/>
            </a:endParaRPr>
          </a:p>
        </p:txBody>
      </p:sp>
      <p:sp>
        <p:nvSpPr>
          <p:cNvPr id="13" name="Rectangle 20"/>
          <p:cNvSpPr>
            <a:spLocks noChangeArrowheads="1"/>
          </p:cNvSpPr>
          <p:nvPr/>
        </p:nvSpPr>
        <p:spPr bwMode="auto">
          <a:xfrm>
            <a:off x="6350" y="2667000"/>
            <a:ext cx="1417638" cy="1219200"/>
          </a:xfrm>
          <a:prstGeom prst="rect">
            <a:avLst/>
          </a:prstGeom>
          <a:solidFill>
            <a:srgbClr val="003366">
              <a:alpha val="60001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n-US">
              <a:latin typeface="Tahoma" pitchFamily="34" charset="0"/>
            </a:endParaRPr>
          </a:p>
        </p:txBody>
      </p:sp>
      <p:sp>
        <p:nvSpPr>
          <p:cNvPr id="14" name="Rectangle 21"/>
          <p:cNvSpPr>
            <a:spLocks noChangeArrowheads="1"/>
          </p:cNvSpPr>
          <p:nvPr/>
        </p:nvSpPr>
        <p:spPr bwMode="auto">
          <a:xfrm>
            <a:off x="1452563" y="2667000"/>
            <a:ext cx="681037" cy="1219200"/>
          </a:xfrm>
          <a:prstGeom prst="rect">
            <a:avLst/>
          </a:prstGeom>
          <a:solidFill>
            <a:srgbClr val="339933">
              <a:alpha val="71001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n-US">
              <a:latin typeface="Tahoma" pitchFamily="34" charset="0"/>
            </a:endParaRPr>
          </a:p>
        </p:txBody>
      </p:sp>
      <p:sp>
        <p:nvSpPr>
          <p:cNvPr id="15" name="Rectangle 22"/>
          <p:cNvSpPr>
            <a:spLocks noChangeArrowheads="1"/>
          </p:cNvSpPr>
          <p:nvPr/>
        </p:nvSpPr>
        <p:spPr bwMode="auto">
          <a:xfrm>
            <a:off x="2170113" y="2667000"/>
            <a:ext cx="681037" cy="1219200"/>
          </a:xfrm>
          <a:prstGeom prst="rect">
            <a:avLst/>
          </a:prstGeom>
          <a:solidFill>
            <a:srgbClr val="339933">
              <a:alpha val="71001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n-US">
              <a:latin typeface="Tahoma" pitchFamily="34" charset="0"/>
            </a:endParaRPr>
          </a:p>
        </p:txBody>
      </p:sp>
      <p:sp>
        <p:nvSpPr>
          <p:cNvPr id="16" name="Rectangle 23"/>
          <p:cNvSpPr>
            <a:spLocks noChangeArrowheads="1"/>
          </p:cNvSpPr>
          <p:nvPr/>
        </p:nvSpPr>
        <p:spPr bwMode="auto">
          <a:xfrm>
            <a:off x="0" y="2641600"/>
            <a:ext cx="9144000" cy="2698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n-US">
              <a:latin typeface="Tahoma" pitchFamily="34" charset="0"/>
            </a:endParaRPr>
          </a:p>
        </p:txBody>
      </p:sp>
      <p:sp>
        <p:nvSpPr>
          <p:cNvPr id="17" name="Text Box 26"/>
          <p:cNvSpPr txBox="1">
            <a:spLocks noChangeArrowheads="1"/>
          </p:cNvSpPr>
          <p:nvPr/>
        </p:nvSpPr>
        <p:spPr bwMode="auto">
          <a:xfrm>
            <a:off x="4038600" y="5937250"/>
            <a:ext cx="4800600" cy="51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defRPr/>
            </a:pPr>
            <a:r>
              <a:rPr lang="en-US" sz="2800" b="1">
                <a:solidFill>
                  <a:srgbClr val="EAEAEA"/>
                </a:solidFill>
                <a:latin typeface="Tahoma" pitchFamily="34" charset="0"/>
              </a:rPr>
              <a:t>The OWASP Foundation</a:t>
            </a:r>
          </a:p>
        </p:txBody>
      </p:sp>
      <p:sp>
        <p:nvSpPr>
          <p:cNvPr id="18" name="Rectangle 28"/>
          <p:cNvSpPr>
            <a:spLocks noChangeArrowheads="1"/>
          </p:cNvSpPr>
          <p:nvPr/>
        </p:nvSpPr>
        <p:spPr bwMode="auto">
          <a:xfrm>
            <a:off x="8462963" y="2667000"/>
            <a:ext cx="681037" cy="1219200"/>
          </a:xfrm>
          <a:prstGeom prst="rect">
            <a:avLst/>
          </a:prstGeom>
          <a:solidFill>
            <a:srgbClr val="339933">
              <a:alpha val="71001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n-US">
              <a:latin typeface="Tahoma" pitchFamily="34" charset="0"/>
            </a:endParaRPr>
          </a:p>
        </p:txBody>
      </p:sp>
      <p:sp>
        <p:nvSpPr>
          <p:cNvPr id="19" name="Freeform 29"/>
          <p:cNvSpPr>
            <a:spLocks/>
          </p:cNvSpPr>
          <p:nvPr/>
        </p:nvSpPr>
        <p:spPr bwMode="auto">
          <a:xfrm>
            <a:off x="2705100" y="2667000"/>
            <a:ext cx="1028700" cy="12192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528"/>
              </a:cxn>
              <a:cxn ang="0">
                <a:pos x="192" y="528"/>
              </a:cxn>
              <a:cxn ang="0">
                <a:pos x="452" y="260"/>
              </a:cxn>
              <a:cxn ang="0">
                <a:pos x="456" y="1"/>
              </a:cxn>
              <a:cxn ang="0">
                <a:pos x="0" y="0"/>
              </a:cxn>
            </a:cxnLst>
            <a:rect l="0" t="0" r="r" b="b"/>
            <a:pathLst>
              <a:path w="456" h="528">
                <a:moveTo>
                  <a:pt x="0" y="0"/>
                </a:moveTo>
                <a:lnTo>
                  <a:pt x="0" y="528"/>
                </a:lnTo>
                <a:lnTo>
                  <a:pt x="192" y="528"/>
                </a:lnTo>
                <a:lnTo>
                  <a:pt x="452" y="260"/>
                </a:lnTo>
                <a:lnTo>
                  <a:pt x="456" y="1"/>
                </a:lnTo>
                <a:lnTo>
                  <a:pt x="0" y="0"/>
                </a:lnTo>
                <a:close/>
              </a:path>
            </a:pathLst>
          </a:custGeom>
          <a:solidFill>
            <a:srgbClr val="339933">
              <a:alpha val="33000"/>
            </a:srgbClr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20" name="Freeform 30"/>
          <p:cNvSpPr>
            <a:spLocks/>
          </p:cNvSpPr>
          <p:nvPr/>
        </p:nvSpPr>
        <p:spPr bwMode="auto">
          <a:xfrm rot="10800000">
            <a:off x="7385050" y="2667000"/>
            <a:ext cx="1028700" cy="12192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528"/>
              </a:cxn>
              <a:cxn ang="0">
                <a:pos x="192" y="528"/>
              </a:cxn>
              <a:cxn ang="0">
                <a:pos x="452" y="260"/>
              </a:cxn>
              <a:cxn ang="0">
                <a:pos x="456" y="1"/>
              </a:cxn>
              <a:cxn ang="0">
                <a:pos x="0" y="0"/>
              </a:cxn>
            </a:cxnLst>
            <a:rect l="0" t="0" r="r" b="b"/>
            <a:pathLst>
              <a:path w="456" h="528">
                <a:moveTo>
                  <a:pt x="0" y="0"/>
                </a:moveTo>
                <a:lnTo>
                  <a:pt x="0" y="528"/>
                </a:lnTo>
                <a:lnTo>
                  <a:pt x="192" y="528"/>
                </a:lnTo>
                <a:lnTo>
                  <a:pt x="452" y="260"/>
                </a:lnTo>
                <a:lnTo>
                  <a:pt x="456" y="1"/>
                </a:lnTo>
                <a:lnTo>
                  <a:pt x="0" y="0"/>
                </a:lnTo>
                <a:close/>
              </a:path>
            </a:pathLst>
          </a:custGeom>
          <a:solidFill>
            <a:srgbClr val="339933">
              <a:alpha val="33000"/>
            </a:srgbClr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21" name="Text Box 33"/>
          <p:cNvSpPr txBox="1">
            <a:spLocks noChangeArrowheads="1"/>
          </p:cNvSpPr>
          <p:nvPr/>
        </p:nvSpPr>
        <p:spPr bwMode="auto">
          <a:xfrm>
            <a:off x="1524000" y="4229100"/>
            <a:ext cx="2667000" cy="51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defRPr/>
            </a:pPr>
            <a:r>
              <a:rPr lang="en-US" sz="2800" b="1">
                <a:solidFill>
                  <a:srgbClr val="777777"/>
                </a:solidFill>
                <a:latin typeface="Tahoma" pitchFamily="34" charset="0"/>
              </a:rPr>
              <a:t>OWASP</a:t>
            </a:r>
          </a:p>
        </p:txBody>
      </p:sp>
      <p:sp>
        <p:nvSpPr>
          <p:cNvPr id="22" name="Text Box 34"/>
          <p:cNvSpPr txBox="1">
            <a:spLocks noChangeArrowheads="1"/>
          </p:cNvSpPr>
          <p:nvPr/>
        </p:nvSpPr>
        <p:spPr bwMode="auto">
          <a:xfrm>
            <a:off x="4038600" y="6326188"/>
            <a:ext cx="48006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defRPr/>
            </a:pPr>
            <a:r>
              <a:rPr lang="en-US" sz="1600" u="sng">
                <a:solidFill>
                  <a:srgbClr val="EAEAEA"/>
                </a:solidFill>
                <a:latin typeface="Tahoma" pitchFamily="34" charset="0"/>
              </a:rPr>
              <a:t>http://www.owasp.org</a:t>
            </a:r>
            <a:r>
              <a:rPr lang="en-US" sz="1600">
                <a:solidFill>
                  <a:srgbClr val="EAEAEA"/>
                </a:solidFill>
                <a:latin typeface="Tahoma" pitchFamily="34" charset="0"/>
              </a:rPr>
              <a:t> 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276600" y="762000"/>
            <a:ext cx="5867400" cy="1905000"/>
          </a:xfrm>
        </p:spPr>
        <p:txBody>
          <a:bodyPr/>
          <a:lstStyle>
            <a:lvl1pPr>
              <a:defRPr>
                <a:solidFill>
                  <a:srgbClr val="77777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38600" y="3260725"/>
            <a:ext cx="4648200" cy="1752600"/>
          </a:xfrm>
        </p:spPr>
        <p:txBody>
          <a:bodyPr/>
          <a:lstStyle>
            <a:lvl1pPr marL="0" indent="0">
              <a:spcBef>
                <a:spcPct val="5000"/>
              </a:spcBef>
              <a:buFont typeface="Webdings" pitchFamily="18" charset="2"/>
              <a:buNone/>
              <a:defRPr sz="1600">
                <a:solidFill>
                  <a:srgbClr val="969696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AF3FC8-CABD-488A-88A7-EB5CF0417D2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137325-2C2D-4B74-8C71-B609690CF25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A42724-B546-41E3-B8FF-B8785F4D0D4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9B755BD-C183-4CE5-BD77-E80E936B31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95400"/>
            <a:ext cx="4038600" cy="48307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5400"/>
            <a:ext cx="4038600" cy="48307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A74038-F3FD-4468-BD57-A9C8DF93D65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93A9C6-1865-4E34-ABD7-28269250419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FC4CE1-E464-4404-9A07-A566C381A48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43A703-22DB-475C-BC64-3224A7C4D06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DB1752-539E-409F-9DEF-3C47529AC3D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97FE36-860A-4664-9551-562E16E91C3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295400"/>
            <a:ext cx="8229600" cy="4830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0" y="0"/>
            <a:ext cx="9144000" cy="152400"/>
          </a:xfrm>
          <a:prstGeom prst="rect">
            <a:avLst/>
          </a:prstGeom>
          <a:solidFill>
            <a:srgbClr val="336699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auto">
          <a:xfrm>
            <a:off x="0" y="6711950"/>
            <a:ext cx="9144000" cy="152400"/>
          </a:xfrm>
          <a:prstGeom prst="rect">
            <a:avLst/>
          </a:prstGeom>
          <a:solidFill>
            <a:srgbClr val="336699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pic>
        <p:nvPicPr>
          <p:cNvPr id="1030" name="Picture 9" descr="owasp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077200" y="6248400"/>
            <a:ext cx="381000" cy="349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85200" y="6308725"/>
            <a:ext cx="40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000" b="1" smtClean="0">
                <a:solidFill>
                  <a:srgbClr val="969696"/>
                </a:solidFill>
                <a:latin typeface="+mn-lt"/>
              </a:defRPr>
            </a:lvl1pPr>
          </a:lstStyle>
          <a:p>
            <a:pPr>
              <a:defRPr/>
            </a:pPr>
            <a:fld id="{E906B0F9-8B3D-45E5-B572-EC303C8C547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54" name="Text Box 30"/>
          <p:cNvSpPr txBox="1">
            <a:spLocks noChangeArrowheads="1"/>
          </p:cNvSpPr>
          <p:nvPr/>
        </p:nvSpPr>
        <p:spPr bwMode="auto">
          <a:xfrm>
            <a:off x="5689600" y="6270625"/>
            <a:ext cx="2387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r">
              <a:defRPr/>
            </a:pPr>
            <a:r>
              <a:rPr lang="en-US" sz="1400" b="1">
                <a:solidFill>
                  <a:srgbClr val="969696"/>
                </a:solidFill>
                <a:latin typeface="Tahoma" pitchFamily="34" charset="0"/>
              </a:rPr>
              <a:t>OWASP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ahom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ahom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ahom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ahom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ahom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ahom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ahom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ahom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Webdings" pitchFamily="18" charset="2"/>
        <a:buChar char="&lt;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Webdings" pitchFamily="18" charset="2"/>
        <a:buChar char="4"/>
        <a:defRPr sz="24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shbabu@cisco.co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png"/><Relationship Id="rId5" Type="http://schemas.openxmlformats.org/officeDocument/2006/relationships/image" Target="../media/image13.wmf"/><Relationship Id="rId4" Type="http://schemas.openxmlformats.org/officeDocument/2006/relationships/image" Target="../media/image12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w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notesSlide" Target="../notesSlides/notesSlide16.xml"/><Relationship Id="rId7" Type="http://schemas.openxmlformats.org/officeDocument/2006/relationships/oleObject" Target="../embeddings/oleObject4.bin"/><Relationship Id="rId12" Type="http://schemas.openxmlformats.org/officeDocument/2006/relationships/image" Target="../media/image25.jpe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24.jpe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23.jpeg"/><Relationship Id="rId4" Type="http://schemas.openxmlformats.org/officeDocument/2006/relationships/oleObject" Target="../embeddings/oleObject1.bin"/><Relationship Id="rId9" Type="http://schemas.openxmlformats.org/officeDocument/2006/relationships/image" Target="../media/image22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13" Type="http://schemas.openxmlformats.org/officeDocument/2006/relationships/image" Target="../media/image28.png"/><Relationship Id="rId3" Type="http://schemas.openxmlformats.org/officeDocument/2006/relationships/notesSlide" Target="../notesSlides/notesSlide17.xml"/><Relationship Id="rId7" Type="http://schemas.openxmlformats.org/officeDocument/2006/relationships/oleObject" Target="../embeddings/oleObject6.bin"/><Relationship Id="rId12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4.jpeg"/><Relationship Id="rId11" Type="http://schemas.openxmlformats.org/officeDocument/2006/relationships/oleObject" Target="../embeddings/oleObject10.bin"/><Relationship Id="rId5" Type="http://schemas.openxmlformats.org/officeDocument/2006/relationships/image" Target="../media/image23.jpeg"/><Relationship Id="rId10" Type="http://schemas.openxmlformats.org/officeDocument/2006/relationships/oleObject" Target="../embeddings/oleObject9.bin"/><Relationship Id="rId4" Type="http://schemas.openxmlformats.org/officeDocument/2006/relationships/image" Target="../media/image22.jpeg"/><Relationship Id="rId9" Type="http://schemas.openxmlformats.org/officeDocument/2006/relationships/oleObject" Target="../embeddings/oleObject8.bin"/><Relationship Id="rId14" Type="http://schemas.openxmlformats.org/officeDocument/2006/relationships/image" Target="../media/image25.jpeg"/></Relationships>
</file>

<file path=ppt/slides/_rels/slide18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63" Type="http://schemas.openxmlformats.org/officeDocument/2006/relationships/tags" Target="../tags/tag63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59" Type="http://schemas.openxmlformats.org/officeDocument/2006/relationships/tags" Target="../tags/tag159.xml"/><Relationship Id="rId170" Type="http://schemas.openxmlformats.org/officeDocument/2006/relationships/tags" Target="../tags/tag170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26" Type="http://schemas.openxmlformats.org/officeDocument/2006/relationships/tags" Target="../tags/tag226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149" Type="http://schemas.openxmlformats.org/officeDocument/2006/relationships/tags" Target="../tags/tag149.xml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81" Type="http://schemas.openxmlformats.org/officeDocument/2006/relationships/tags" Target="../tags/tag181.xml"/><Relationship Id="rId216" Type="http://schemas.openxmlformats.org/officeDocument/2006/relationships/tags" Target="../tags/tag216.xml"/><Relationship Id="rId237" Type="http://schemas.openxmlformats.org/officeDocument/2006/relationships/tags" Target="../tags/tag237.xml"/><Relationship Id="rId258" Type="http://schemas.openxmlformats.org/officeDocument/2006/relationships/tags" Target="../tags/tag258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71" Type="http://schemas.openxmlformats.org/officeDocument/2006/relationships/tags" Target="../tags/tag171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27" Type="http://schemas.openxmlformats.org/officeDocument/2006/relationships/tags" Target="../tags/tag227.xml"/><Relationship Id="rId248" Type="http://schemas.openxmlformats.org/officeDocument/2006/relationships/tags" Target="../tags/tag248.xml"/><Relationship Id="rId12" Type="http://schemas.openxmlformats.org/officeDocument/2006/relationships/tags" Target="../tags/tag12.xml"/><Relationship Id="rId33" Type="http://schemas.openxmlformats.org/officeDocument/2006/relationships/tags" Target="../tags/tag33.xml"/><Relationship Id="rId108" Type="http://schemas.openxmlformats.org/officeDocument/2006/relationships/tags" Target="../tags/tag108.xml"/><Relationship Id="rId129" Type="http://schemas.openxmlformats.org/officeDocument/2006/relationships/tags" Target="../tags/tag129.xml"/><Relationship Id="rId54" Type="http://schemas.openxmlformats.org/officeDocument/2006/relationships/tags" Target="../tags/tag54.xml"/><Relationship Id="rId75" Type="http://schemas.openxmlformats.org/officeDocument/2006/relationships/tags" Target="../tags/tag75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61" Type="http://schemas.openxmlformats.org/officeDocument/2006/relationships/tags" Target="../tags/tag161.xml"/><Relationship Id="rId182" Type="http://schemas.openxmlformats.org/officeDocument/2006/relationships/tags" Target="../tags/tag182.xml"/><Relationship Id="rId217" Type="http://schemas.openxmlformats.org/officeDocument/2006/relationships/tags" Target="../tags/tag217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119" Type="http://schemas.openxmlformats.org/officeDocument/2006/relationships/tags" Target="../tags/tag119.xml"/><Relationship Id="rId44" Type="http://schemas.openxmlformats.org/officeDocument/2006/relationships/tags" Target="../tags/tag44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81" Type="http://schemas.openxmlformats.org/officeDocument/2006/relationships/tags" Target="../tags/tag81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35" Type="http://schemas.openxmlformats.org/officeDocument/2006/relationships/tags" Target="../tags/tag135.xml"/><Relationship Id="rId151" Type="http://schemas.openxmlformats.org/officeDocument/2006/relationships/tags" Target="../tags/tag151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202" Type="http://schemas.openxmlformats.org/officeDocument/2006/relationships/tags" Target="../tags/tag202.xml"/><Relationship Id="rId207" Type="http://schemas.openxmlformats.org/officeDocument/2006/relationships/tags" Target="../tags/tag207.xml"/><Relationship Id="rId223" Type="http://schemas.openxmlformats.org/officeDocument/2006/relationships/tags" Target="../tags/tag223.xml"/><Relationship Id="rId228" Type="http://schemas.openxmlformats.org/officeDocument/2006/relationships/tags" Target="../tags/tag228.xml"/><Relationship Id="rId244" Type="http://schemas.openxmlformats.org/officeDocument/2006/relationships/tags" Target="../tags/tag244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265" Type="http://schemas.openxmlformats.org/officeDocument/2006/relationships/tags" Target="../tags/tag265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04" Type="http://schemas.openxmlformats.org/officeDocument/2006/relationships/tags" Target="../tags/tag104.xml"/><Relationship Id="rId120" Type="http://schemas.openxmlformats.org/officeDocument/2006/relationships/tags" Target="../tags/tag120.xml"/><Relationship Id="rId125" Type="http://schemas.openxmlformats.org/officeDocument/2006/relationships/tags" Target="../tags/tag125.xml"/><Relationship Id="rId141" Type="http://schemas.openxmlformats.org/officeDocument/2006/relationships/tags" Target="../tags/tag141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3" Type="http://schemas.openxmlformats.org/officeDocument/2006/relationships/tags" Target="../tags/tag213.xml"/><Relationship Id="rId218" Type="http://schemas.openxmlformats.org/officeDocument/2006/relationships/tags" Target="../tags/tag218.xml"/><Relationship Id="rId234" Type="http://schemas.openxmlformats.org/officeDocument/2006/relationships/tags" Target="../tags/tag234.xml"/><Relationship Id="rId239" Type="http://schemas.openxmlformats.org/officeDocument/2006/relationships/tags" Target="../tags/tag239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0" Type="http://schemas.openxmlformats.org/officeDocument/2006/relationships/tags" Target="../tags/tag250.xml"/><Relationship Id="rId255" Type="http://schemas.openxmlformats.org/officeDocument/2006/relationships/tags" Target="../tags/tag255.xml"/><Relationship Id="rId24" Type="http://schemas.openxmlformats.org/officeDocument/2006/relationships/tags" Target="../tags/tag24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15" Type="http://schemas.openxmlformats.org/officeDocument/2006/relationships/tags" Target="../tags/tag115.xml"/><Relationship Id="rId131" Type="http://schemas.openxmlformats.org/officeDocument/2006/relationships/tags" Target="../tags/tag131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0" Type="http://schemas.openxmlformats.org/officeDocument/2006/relationships/tags" Target="../tags/tag240.xml"/><Relationship Id="rId245" Type="http://schemas.openxmlformats.org/officeDocument/2006/relationships/tags" Target="../tags/tag245.xml"/><Relationship Id="rId261" Type="http://schemas.openxmlformats.org/officeDocument/2006/relationships/tags" Target="../tags/tag261.xml"/><Relationship Id="rId266" Type="http://schemas.openxmlformats.org/officeDocument/2006/relationships/slideLayout" Target="../slideLayouts/slideLayout6.xml"/><Relationship Id="rId14" Type="http://schemas.openxmlformats.org/officeDocument/2006/relationships/tags" Target="../tags/tag14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189" Type="http://schemas.openxmlformats.org/officeDocument/2006/relationships/tags" Target="../tags/tag189.xml"/><Relationship Id="rId219" Type="http://schemas.openxmlformats.org/officeDocument/2006/relationships/tags" Target="../tags/tag219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0" Type="http://schemas.openxmlformats.org/officeDocument/2006/relationships/tags" Target="../tags/tag230.xml"/><Relationship Id="rId235" Type="http://schemas.openxmlformats.org/officeDocument/2006/relationships/tags" Target="../tags/tag235.xml"/><Relationship Id="rId251" Type="http://schemas.openxmlformats.org/officeDocument/2006/relationships/tags" Target="../tags/tag251.xml"/><Relationship Id="rId256" Type="http://schemas.openxmlformats.org/officeDocument/2006/relationships/tags" Target="../tags/tag256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79" Type="http://schemas.openxmlformats.org/officeDocument/2006/relationships/tags" Target="../tags/tag179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0" Type="http://schemas.openxmlformats.org/officeDocument/2006/relationships/tags" Target="../tags/tag220.xml"/><Relationship Id="rId225" Type="http://schemas.openxmlformats.org/officeDocument/2006/relationships/tags" Target="../tags/tag225.xml"/><Relationship Id="rId241" Type="http://schemas.openxmlformats.org/officeDocument/2006/relationships/tags" Target="../tags/tag241.xml"/><Relationship Id="rId246" Type="http://schemas.openxmlformats.org/officeDocument/2006/relationships/tags" Target="../tags/tag246.xml"/><Relationship Id="rId267" Type="http://schemas.openxmlformats.org/officeDocument/2006/relationships/notesSlide" Target="../notesSlides/notesSlide18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262" Type="http://schemas.openxmlformats.org/officeDocument/2006/relationships/tags" Target="../tags/tag262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94" Type="http://schemas.openxmlformats.org/officeDocument/2006/relationships/tags" Target="../tags/tag94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48" Type="http://schemas.openxmlformats.org/officeDocument/2006/relationships/tags" Target="../tags/tag148.xml"/><Relationship Id="rId164" Type="http://schemas.openxmlformats.org/officeDocument/2006/relationships/tags" Target="../tags/tag164.xml"/><Relationship Id="rId169" Type="http://schemas.openxmlformats.org/officeDocument/2006/relationships/tags" Target="../tags/tag169.xml"/><Relationship Id="rId185" Type="http://schemas.openxmlformats.org/officeDocument/2006/relationships/tags" Target="../tags/tag185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80" Type="http://schemas.openxmlformats.org/officeDocument/2006/relationships/tags" Target="../tags/tag180.xml"/><Relationship Id="rId210" Type="http://schemas.openxmlformats.org/officeDocument/2006/relationships/tags" Target="../tags/tag21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1.jpeg"/><Relationship Id="rId4" Type="http://schemas.openxmlformats.org/officeDocument/2006/relationships/image" Target="../media/image3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wm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5.wmf"/><Relationship Id="rId5" Type="http://schemas.openxmlformats.org/officeDocument/2006/relationships/image" Target="../media/image34.jpeg"/><Relationship Id="rId4" Type="http://schemas.openxmlformats.org/officeDocument/2006/relationships/image" Target="../media/image3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wm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gif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5.jpeg"/><Relationship Id="rId5" Type="http://schemas.openxmlformats.org/officeDocument/2006/relationships/image" Target="../media/image44.jpeg"/><Relationship Id="rId4" Type="http://schemas.openxmlformats.org/officeDocument/2006/relationships/image" Target="../media/image43.jpe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8.png"/><Relationship Id="rId4" Type="http://schemas.openxmlformats.org/officeDocument/2006/relationships/image" Target="../media/image47.w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7" Type="http://schemas.openxmlformats.org/officeDocument/2006/relationships/image" Target="../media/image53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jpe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smoothspan.wordpress.com/2010/06/11/wordpress-and-the-dark-side-of-multitenancy/" TargetMode="External"/><Relationship Id="rId5" Type="http://schemas.openxmlformats.org/officeDocument/2006/relationships/hyperlink" Target="http://chenxiwang.wordpress.com/2009/11/02/mit&#8217;s-attack-on-amazon-ec2-an-academic-exercise/" TargetMode="External"/><Relationship Id="rId4" Type="http://schemas.openxmlformats.org/officeDocument/2006/relationships/image" Target="../media/image55.jpe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jpeg"/><Relationship Id="rId3" Type="http://schemas.openxmlformats.org/officeDocument/2006/relationships/image" Target="../media/image56.png"/><Relationship Id="rId7" Type="http://schemas.openxmlformats.org/officeDocument/2006/relationships/image" Target="../media/image60.jpe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9.jpeg"/><Relationship Id="rId5" Type="http://schemas.openxmlformats.org/officeDocument/2006/relationships/image" Target="../media/image58.jpeg"/><Relationship Id="rId4" Type="http://schemas.openxmlformats.org/officeDocument/2006/relationships/image" Target="../media/image5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wmf"/><Relationship Id="rId4" Type="http://schemas.openxmlformats.org/officeDocument/2006/relationships/image" Target="../media/image4.wmf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4.png"/><Relationship Id="rId4" Type="http://schemas.openxmlformats.org/officeDocument/2006/relationships/image" Target="../media/image63.jpe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wmf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8.jpeg"/><Relationship Id="rId5" Type="http://schemas.openxmlformats.org/officeDocument/2006/relationships/image" Target="../media/image67.jpeg"/><Relationship Id="rId4" Type="http://schemas.openxmlformats.org/officeDocument/2006/relationships/image" Target="../media/image66.w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wmf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1.png"/><Relationship Id="rId4" Type="http://schemas.openxmlformats.org/officeDocument/2006/relationships/image" Target="../media/image70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wmf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3.jpeg"/><Relationship Id="rId4" Type="http://schemas.openxmlformats.org/officeDocument/2006/relationships/image" Target="../media/image33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tiff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1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Top Ten Risks With Cloud That Will Keep You Awake at Night</a:t>
            </a:r>
          </a:p>
        </p:txBody>
      </p:sp>
      <p:sp>
        <p:nvSpPr>
          <p:cNvPr id="3075" name="Rectangle 13"/>
          <p:cNvSpPr>
            <a:spLocks noGrp="1" noChangeArrowheads="1"/>
          </p:cNvSpPr>
          <p:nvPr>
            <p:ph type="subTitle" idx="1"/>
          </p:nvPr>
        </p:nvSpPr>
        <p:spPr>
          <a:xfrm>
            <a:off x="3810000" y="3352800"/>
            <a:ext cx="3733800" cy="1400175"/>
          </a:xfrm>
        </p:spPr>
        <p:txBody>
          <a:bodyPr/>
          <a:lstStyle/>
          <a:p>
            <a:pPr eaLnBrk="1" hangingPunct="1"/>
            <a:r>
              <a:rPr lang="en-US" b="1" dirty="0" smtClean="0"/>
              <a:t>Shankar B Chebrolu, </a:t>
            </a:r>
            <a:r>
              <a:rPr lang="en-US" sz="1200" b="1" dirty="0" smtClean="0"/>
              <a:t>PhD, </a:t>
            </a:r>
            <a:r>
              <a:rPr lang="en-US" sz="1200" b="1" dirty="0" err="1" smtClean="0"/>
              <a:t>CISSP</a:t>
            </a:r>
            <a:r>
              <a:rPr lang="en-US" sz="1200" b="1" dirty="0" smtClean="0"/>
              <a:t>,</a:t>
            </a:r>
            <a:endParaRPr lang="en-US" b="1" dirty="0" smtClean="0"/>
          </a:p>
          <a:p>
            <a:pPr eaLnBrk="1" hangingPunct="1"/>
            <a:r>
              <a:rPr lang="en-US" dirty="0" smtClean="0"/>
              <a:t>Vinay Bansal, </a:t>
            </a:r>
          </a:p>
          <a:p>
            <a:pPr eaLnBrk="1" hangingPunct="1"/>
            <a:r>
              <a:rPr lang="en-US" dirty="0" smtClean="0"/>
              <a:t>Pankaj Telang</a:t>
            </a:r>
          </a:p>
          <a:p>
            <a:pPr eaLnBrk="1" hangingPunct="1"/>
            <a:r>
              <a:rPr lang="en-US" sz="1200" b="1" dirty="0" smtClean="0"/>
              <a:t>(OWASP Cloud Top Ten Project Co-Leads)</a:t>
            </a:r>
          </a:p>
          <a:p>
            <a:pPr eaLnBrk="1" hangingPunct="1"/>
            <a:r>
              <a:rPr lang="en-US" b="1" dirty="0" smtClean="0"/>
              <a:t>Cisco Systems Inc</a:t>
            </a:r>
          </a:p>
          <a:p>
            <a:pPr eaLnBrk="1" hangingPunct="1"/>
            <a:r>
              <a:rPr lang="en-US" dirty="0" smtClean="0">
                <a:hlinkClick r:id="rId3"/>
              </a:rPr>
              <a:t>shbabu@cisco.com</a:t>
            </a:r>
            <a:r>
              <a:rPr lang="en-US" dirty="0" smtClean="0"/>
              <a:t> </a:t>
            </a:r>
          </a:p>
          <a:p>
            <a:pPr eaLnBrk="1" hangingPunct="1"/>
            <a:r>
              <a:rPr lang="en-US" dirty="0" smtClean="0"/>
              <a:t>9193925363	</a:t>
            </a:r>
          </a:p>
        </p:txBody>
      </p:sp>
      <p:sp>
        <p:nvSpPr>
          <p:cNvPr id="3076" name="Rectangle 17"/>
          <p:cNvSpPr>
            <a:spLocks noChangeArrowheads="1"/>
          </p:cNvSpPr>
          <p:nvPr/>
        </p:nvSpPr>
        <p:spPr bwMode="auto">
          <a:xfrm>
            <a:off x="1563688" y="4648200"/>
            <a:ext cx="138409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600" dirty="0" smtClean="0">
                <a:solidFill>
                  <a:srgbClr val="777777"/>
                </a:solidFill>
                <a:latin typeface="Tahoma" pitchFamily="34" charset="0"/>
                <a:cs typeface="+mn-cs"/>
              </a:rPr>
              <a:t>Sep 22, 2011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181600" y="2133600"/>
            <a:ext cx="1600200" cy="1140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1060" name="Rectangle 36"/>
          <p:cNvSpPr>
            <a:spLocks noGrp="1" noChangeArrowheads="1"/>
          </p:cNvSpPr>
          <p:nvPr>
            <p:ph type="title"/>
          </p:nvPr>
        </p:nvSpPr>
        <p:spPr>
          <a:xfrm>
            <a:off x="533400" y="228600"/>
            <a:ext cx="7802563" cy="838200"/>
          </a:xfrm>
        </p:spPr>
        <p:txBody>
          <a:bodyPr/>
          <a:lstStyle/>
          <a:p>
            <a:r>
              <a:rPr lang="en-US" dirty="0" smtClean="0"/>
              <a:t>Cloud </a:t>
            </a:r>
            <a:r>
              <a:rPr lang="en-US" dirty="0" smtClean="0"/>
              <a:t>Actors</a:t>
            </a:r>
            <a:endParaRPr lang="en-US" dirty="0"/>
          </a:p>
        </p:txBody>
      </p:sp>
      <p:sp>
        <p:nvSpPr>
          <p:cNvPr id="19" name="Rounded Rectangle 18"/>
          <p:cNvSpPr/>
          <p:nvPr/>
        </p:nvSpPr>
        <p:spPr bwMode="auto">
          <a:xfrm>
            <a:off x="609600" y="1611134"/>
            <a:ext cx="1776961" cy="82726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Cloud </a:t>
            </a:r>
          </a:p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Consumer</a:t>
            </a:r>
          </a:p>
        </p:txBody>
      </p:sp>
      <p:sp>
        <p:nvSpPr>
          <p:cNvPr id="20" name="Rounded Rectangle 19"/>
          <p:cNvSpPr/>
          <p:nvPr/>
        </p:nvSpPr>
        <p:spPr bwMode="auto">
          <a:xfrm>
            <a:off x="5029200" y="1736861"/>
            <a:ext cx="1608439" cy="82726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Cloud </a:t>
            </a:r>
          </a:p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Auditor</a:t>
            </a:r>
          </a:p>
        </p:txBody>
      </p:sp>
      <p:sp>
        <p:nvSpPr>
          <p:cNvPr id="21" name="Rounded Rectangle 20"/>
          <p:cNvSpPr/>
          <p:nvPr/>
        </p:nvSpPr>
        <p:spPr bwMode="auto">
          <a:xfrm>
            <a:off x="685800" y="3703901"/>
            <a:ext cx="1867519" cy="82726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Cloud </a:t>
            </a:r>
          </a:p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oker</a:t>
            </a:r>
          </a:p>
        </p:txBody>
      </p:sp>
      <p:sp>
        <p:nvSpPr>
          <p:cNvPr id="22" name="Rounded Rectangle 21"/>
          <p:cNvSpPr/>
          <p:nvPr/>
        </p:nvSpPr>
        <p:spPr bwMode="auto">
          <a:xfrm>
            <a:off x="5105400" y="3684275"/>
            <a:ext cx="1654159" cy="82726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Cloud Provider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0" y="6172200"/>
            <a:ext cx="121560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Source: (</a:t>
            </a:r>
            <a:r>
              <a:rPr lang="en-US" sz="1600" dirty="0" err="1" smtClean="0"/>
              <a:t>NIST</a:t>
            </a:r>
            <a:r>
              <a:rPr lang="en-US" sz="1600" dirty="0" smtClean="0"/>
              <a:t>: http://collaborate.nist.gov/twiki-cloud-computing/pub/CloudComputing/StandardsRoadmap/NIST_SP_500-291_Jul5A.pdf)</a:t>
            </a:r>
            <a:endParaRPr lang="en-US" sz="1600" dirty="0"/>
          </a:p>
        </p:txBody>
      </p:sp>
      <p:sp>
        <p:nvSpPr>
          <p:cNvPr id="28" name="Line 23"/>
          <p:cNvSpPr>
            <a:spLocks noChangeShapeType="1"/>
          </p:cNvSpPr>
          <p:nvPr/>
        </p:nvSpPr>
        <p:spPr bwMode="auto">
          <a:xfrm flipH="1" flipV="1">
            <a:off x="2362200" y="2133600"/>
            <a:ext cx="2667000" cy="0"/>
          </a:xfrm>
          <a:prstGeom prst="line">
            <a:avLst/>
          </a:prstGeom>
          <a:ln>
            <a:headEnd type="none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lIns="82124" tIns="41061" rIns="82124" bIns="41061"/>
          <a:lstStyle/>
          <a:p>
            <a:endParaRPr lang="en-US"/>
          </a:p>
        </p:txBody>
      </p:sp>
      <p:sp>
        <p:nvSpPr>
          <p:cNvPr id="31" name="Line 23"/>
          <p:cNvSpPr>
            <a:spLocks noChangeShapeType="1"/>
          </p:cNvSpPr>
          <p:nvPr/>
        </p:nvSpPr>
        <p:spPr bwMode="auto">
          <a:xfrm flipH="1" flipV="1">
            <a:off x="2514600" y="4114800"/>
            <a:ext cx="2590800" cy="0"/>
          </a:xfrm>
          <a:prstGeom prst="line">
            <a:avLst/>
          </a:prstGeom>
          <a:ln>
            <a:headEnd type="none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lIns="82124" tIns="41061" rIns="82124" bIns="41061"/>
          <a:lstStyle/>
          <a:p>
            <a:endParaRPr lang="en-US"/>
          </a:p>
        </p:txBody>
      </p:sp>
      <p:sp>
        <p:nvSpPr>
          <p:cNvPr id="32" name="Line 23"/>
          <p:cNvSpPr>
            <a:spLocks noChangeShapeType="1"/>
          </p:cNvSpPr>
          <p:nvPr/>
        </p:nvSpPr>
        <p:spPr bwMode="auto">
          <a:xfrm flipH="1" flipV="1">
            <a:off x="2362200" y="2362200"/>
            <a:ext cx="2743200" cy="1447800"/>
          </a:xfrm>
          <a:prstGeom prst="line">
            <a:avLst/>
          </a:prstGeom>
          <a:ln>
            <a:headEnd type="none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lIns="82124" tIns="41061" rIns="82124" bIns="41061"/>
          <a:lstStyle/>
          <a:p>
            <a:endParaRPr lang="en-US"/>
          </a:p>
        </p:txBody>
      </p:sp>
      <p:sp>
        <p:nvSpPr>
          <p:cNvPr id="33" name="Line 23"/>
          <p:cNvSpPr>
            <a:spLocks noChangeShapeType="1"/>
          </p:cNvSpPr>
          <p:nvPr/>
        </p:nvSpPr>
        <p:spPr bwMode="auto">
          <a:xfrm flipH="1" flipV="1">
            <a:off x="5867400" y="2590800"/>
            <a:ext cx="0" cy="1066800"/>
          </a:xfrm>
          <a:prstGeom prst="line">
            <a:avLst/>
          </a:prstGeom>
          <a:ln>
            <a:headEnd type="none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lIns="82124" tIns="41061" rIns="82124" bIns="41061"/>
          <a:lstStyle/>
          <a:p>
            <a:endParaRPr lang="en-US"/>
          </a:p>
        </p:txBody>
      </p:sp>
      <p:sp>
        <p:nvSpPr>
          <p:cNvPr id="34" name="Line 23"/>
          <p:cNvSpPr>
            <a:spLocks noChangeShapeType="1"/>
          </p:cNvSpPr>
          <p:nvPr/>
        </p:nvSpPr>
        <p:spPr bwMode="auto">
          <a:xfrm flipH="1" flipV="1">
            <a:off x="1600200" y="2438400"/>
            <a:ext cx="0" cy="1295400"/>
          </a:xfrm>
          <a:prstGeom prst="line">
            <a:avLst/>
          </a:prstGeom>
          <a:ln>
            <a:headEnd type="none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lIns="82124" tIns="41061" rIns="82124" bIns="41061"/>
          <a:lstStyle/>
          <a:p>
            <a:endParaRPr lang="en-US"/>
          </a:p>
        </p:txBody>
      </p:sp>
      <p:sp>
        <p:nvSpPr>
          <p:cNvPr id="35" name="Line 23"/>
          <p:cNvSpPr>
            <a:spLocks noChangeShapeType="1"/>
          </p:cNvSpPr>
          <p:nvPr/>
        </p:nvSpPr>
        <p:spPr bwMode="auto">
          <a:xfrm flipV="1">
            <a:off x="2514600" y="2362200"/>
            <a:ext cx="2514600" cy="1524000"/>
          </a:xfrm>
          <a:prstGeom prst="line">
            <a:avLst/>
          </a:prstGeom>
          <a:ln>
            <a:headEnd type="none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lIns="82124" tIns="41061" rIns="82124" bIns="41061"/>
          <a:lstStyle/>
          <a:p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7980" y="76200"/>
            <a:ext cx="7802563" cy="838200"/>
          </a:xfrm>
        </p:spPr>
        <p:txBody>
          <a:bodyPr/>
          <a:lstStyle/>
          <a:p>
            <a:r>
              <a:rPr lang="en-US" dirty="0" smtClean="0"/>
              <a:t>Cloud Top 10 Security Risks</a:t>
            </a:r>
            <a:endParaRPr lang="en-US" dirty="0"/>
          </a:p>
        </p:txBody>
      </p:sp>
      <p:graphicFrame>
        <p:nvGraphicFramePr>
          <p:cNvPr id="5" name="Diagram 4"/>
          <p:cNvGraphicFramePr/>
          <p:nvPr/>
        </p:nvGraphicFramePr>
        <p:xfrm>
          <a:off x="621666" y="1023581"/>
          <a:ext cx="7758060" cy="56706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0" y="0"/>
            <a:ext cx="9142413" cy="365125"/>
            <a:chOff x="0" y="0"/>
            <a:chExt cx="10237" cy="307"/>
          </a:xfrm>
          <a:solidFill>
            <a:srgbClr val="0070C0"/>
          </a:solidFill>
        </p:grpSpPr>
        <p:sp>
          <p:nvSpPr>
            <p:cNvPr id="6163" name="Rectangle 5"/>
            <p:cNvSpPr>
              <a:spLocks/>
            </p:cNvSpPr>
            <p:nvPr/>
          </p:nvSpPr>
          <p:spPr bwMode="auto">
            <a:xfrm>
              <a:off x="0" y="0"/>
              <a:ext cx="10237" cy="152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algn="l" eaLnBrk="1" hangingPunct="1">
                <a:lnSpc>
                  <a:spcPct val="100000"/>
                </a:lnSpc>
              </a:pPr>
              <a:endParaRPr lang="en-US">
                <a:solidFill>
                  <a:srgbClr val="FFFFFF"/>
                </a:solidFill>
                <a:ea typeface="华文细黑" charset="-122"/>
                <a:sym typeface="Arial" charset="0"/>
              </a:endParaRPr>
            </a:p>
          </p:txBody>
        </p:sp>
        <p:sp>
          <p:nvSpPr>
            <p:cNvPr id="6164" name="Rectangle 6"/>
            <p:cNvSpPr>
              <a:spLocks/>
            </p:cNvSpPr>
            <p:nvPr/>
          </p:nvSpPr>
          <p:spPr bwMode="auto">
            <a:xfrm>
              <a:off x="0" y="0"/>
              <a:ext cx="1" cy="307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1" hangingPunct="1">
                <a:lnSpc>
                  <a:spcPct val="100000"/>
                </a:lnSpc>
              </a:pPr>
              <a:endParaRPr lang="en-US">
                <a:solidFill>
                  <a:srgbClr val="FFFFFF"/>
                </a:solidFill>
                <a:ea typeface="华文细黑" charset="-122"/>
                <a:sym typeface="Arial" charset="0"/>
              </a:endParaRPr>
            </a:p>
          </p:txBody>
        </p:sp>
      </p:grpSp>
      <p:sp>
        <p:nvSpPr>
          <p:cNvPr id="6149" name="Slide Number Placeholder 3"/>
          <p:cNvSpPr txBox="1">
            <a:spLocks noGrp="1"/>
          </p:cNvSpPr>
          <p:nvPr/>
        </p:nvSpPr>
        <p:spPr bwMode="auto">
          <a:xfrm>
            <a:off x="8709025" y="6646863"/>
            <a:ext cx="171450" cy="215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b"/>
          <a:lstStyle/>
          <a:p>
            <a:pPr eaLnBrk="1" hangingPunct="1">
              <a:lnSpc>
                <a:spcPct val="100000"/>
              </a:lnSpc>
            </a:pPr>
            <a:fld id="{F752C20E-9033-415D-8AD6-90674CC451FC}" type="slidenum">
              <a:rPr lang="en-US" sz="1000">
                <a:solidFill>
                  <a:srgbClr val="777777"/>
                </a:solidFill>
                <a:ea typeface="华文细黑" charset="-122"/>
                <a:sym typeface="Arial" charset="0"/>
              </a:rPr>
              <a:pPr eaLnBrk="1" hangingPunct="1">
                <a:lnSpc>
                  <a:spcPct val="100000"/>
                </a:lnSpc>
              </a:pPr>
              <a:t>12</a:t>
            </a:fld>
            <a:endParaRPr lang="en-US" sz="1000">
              <a:solidFill>
                <a:srgbClr val="777777"/>
              </a:solidFill>
              <a:ea typeface="华文细黑" charset="-122"/>
              <a:sym typeface="Arial" charset="0"/>
            </a:endParaRPr>
          </a:p>
        </p:txBody>
      </p:sp>
      <p:sp>
        <p:nvSpPr>
          <p:cNvPr id="29" name="Rectangle 9"/>
          <p:cNvSpPr txBox="1">
            <a:spLocks noChangeArrowheads="1"/>
          </p:cNvSpPr>
          <p:nvPr/>
        </p:nvSpPr>
        <p:spPr bwMode="auto">
          <a:xfrm>
            <a:off x="228600" y="228600"/>
            <a:ext cx="8153400" cy="5981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124" tIns="41061" rIns="82124" bIns="41061" anchor="b"/>
          <a:lstStyle/>
          <a:p>
            <a:pPr algn="l" defTabSz="814388" eaLnBrk="1" hangingPunct="1">
              <a:defRPr/>
            </a:pPr>
            <a:r>
              <a:rPr lang="en-US" sz="2800" b="1" kern="0" dirty="0" err="1" smtClean="0">
                <a:latin typeface="+mj-lt"/>
                <a:ea typeface="ＭＳ Ｐゴシック" charset="-128"/>
                <a:cs typeface="ＭＳ Ｐゴシック" charset="-128"/>
              </a:rPr>
              <a:t>R1</a:t>
            </a:r>
            <a:r>
              <a:rPr lang="en-US" sz="2800" b="1" kern="0" dirty="0" smtClean="0">
                <a:latin typeface="+mj-lt"/>
                <a:ea typeface="ＭＳ Ｐゴシック" charset="-128"/>
                <a:cs typeface="ＭＳ Ｐゴシック" charset="-128"/>
              </a:rPr>
              <a:t>: Risk: Accountability &amp; Data</a:t>
            </a:r>
            <a:endParaRPr lang="en-US" sz="2800" b="1" kern="0" dirty="0">
              <a:latin typeface="+mj-lt"/>
              <a:ea typeface="ＭＳ Ｐゴシック" charset="-128"/>
              <a:cs typeface="ＭＳ Ｐゴシック" charset="-128"/>
            </a:endParaRPr>
          </a:p>
        </p:txBody>
      </p:sp>
      <p:grpSp>
        <p:nvGrpSpPr>
          <p:cNvPr id="3" name="Group 42"/>
          <p:cNvGrpSpPr/>
          <p:nvPr/>
        </p:nvGrpSpPr>
        <p:grpSpPr>
          <a:xfrm>
            <a:off x="5734814" y="2187649"/>
            <a:ext cx="2293946" cy="1629107"/>
            <a:chOff x="3203884" y="1080572"/>
            <a:chExt cx="2736232" cy="2192509"/>
          </a:xfrm>
        </p:grpSpPr>
        <p:sp>
          <p:nvSpPr>
            <p:cNvPr id="45" name="Rectangle 44"/>
            <p:cNvSpPr/>
            <p:nvPr/>
          </p:nvSpPr>
          <p:spPr>
            <a:xfrm>
              <a:off x="3203884" y="1080572"/>
              <a:ext cx="2736232" cy="45978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en-US" sz="1800" dirty="0" smtClean="0"/>
                <a:t>Application</a:t>
              </a: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3203884" y="1507290"/>
              <a:ext cx="2736232" cy="497060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en-US" sz="1800" dirty="0" smtClean="0">
                  <a:solidFill>
                    <a:schemeClr val="bg1"/>
                  </a:solidFill>
                </a:rPr>
                <a:t>Web/App/DB server</a:t>
              </a:r>
            </a:p>
          </p:txBody>
        </p:sp>
        <p:sp>
          <p:nvSpPr>
            <p:cNvPr id="60" name="Rectangle 59"/>
            <p:cNvSpPr/>
            <p:nvPr/>
          </p:nvSpPr>
          <p:spPr>
            <a:xfrm>
              <a:off x="3203884" y="1934012"/>
              <a:ext cx="2736232" cy="497060"/>
            </a:xfrm>
            <a:prstGeom prst="rect">
              <a:avLst/>
            </a:prstGeom>
            <a:solidFill>
              <a:srgbClr val="7030A0"/>
            </a:solidFill>
          </p:spPr>
          <p:txBody>
            <a:bodyPr wrap="square">
              <a:spAutoFit/>
            </a:bodyPr>
            <a:lstStyle/>
            <a:p>
              <a:r>
                <a:rPr lang="en-US" sz="1800" dirty="0" smtClean="0">
                  <a:solidFill>
                    <a:schemeClr val="bg1"/>
                  </a:solidFill>
                </a:rPr>
                <a:t>Computing</a:t>
              </a:r>
            </a:p>
          </p:txBody>
        </p:sp>
        <p:sp>
          <p:nvSpPr>
            <p:cNvPr id="64" name="Rectangle 63"/>
            <p:cNvSpPr/>
            <p:nvPr/>
          </p:nvSpPr>
          <p:spPr>
            <a:xfrm>
              <a:off x="3203884" y="2349302"/>
              <a:ext cx="2736232" cy="45978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en-US" sz="1800" dirty="0" smtClean="0"/>
                <a:t>Network</a:t>
              </a:r>
            </a:p>
          </p:txBody>
        </p:sp>
        <p:sp>
          <p:nvSpPr>
            <p:cNvPr id="66" name="Rectangle 65"/>
            <p:cNvSpPr/>
            <p:nvPr/>
          </p:nvSpPr>
          <p:spPr>
            <a:xfrm>
              <a:off x="3203884" y="2776021"/>
              <a:ext cx="2736232" cy="49706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en-US" sz="1800" dirty="0" smtClean="0">
                  <a:solidFill>
                    <a:schemeClr val="bg1"/>
                  </a:solidFill>
                </a:rPr>
                <a:t>Storage</a:t>
              </a:r>
              <a:endParaRPr lang="en-US" sz="1800" dirty="0">
                <a:solidFill>
                  <a:schemeClr val="bg1"/>
                </a:solidFill>
              </a:endParaRPr>
            </a:p>
          </p:txBody>
        </p:sp>
      </p:grpSp>
      <p:sp>
        <p:nvSpPr>
          <p:cNvPr id="73" name="TextBox 72"/>
          <p:cNvSpPr txBox="1"/>
          <p:nvPr/>
        </p:nvSpPr>
        <p:spPr>
          <a:xfrm>
            <a:off x="237440" y="873580"/>
            <a:ext cx="8457524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 smtClean="0"/>
              <a:t>In traditional data center, the owning organization is accountable for security at all layers</a:t>
            </a:r>
            <a:endParaRPr lang="en-US" b="1" i="1" dirty="0"/>
          </a:p>
        </p:txBody>
      </p:sp>
      <p:sp>
        <p:nvSpPr>
          <p:cNvPr id="76" name="Right Arrow 75"/>
          <p:cNvSpPr/>
          <p:nvPr/>
        </p:nvSpPr>
        <p:spPr bwMode="auto">
          <a:xfrm>
            <a:off x="3477985" y="2947307"/>
            <a:ext cx="1224643" cy="269421"/>
          </a:xfrm>
          <a:prstGeom prst="rightArrow">
            <a:avLst/>
          </a:prstGeom>
          <a:solidFill>
            <a:schemeClr val="tx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</a:endParaRPr>
          </a:p>
        </p:txBody>
      </p:sp>
      <p:pic>
        <p:nvPicPr>
          <p:cNvPr id="1027" name="Picture 3" descr="C:\Documents and Settings\ptelang\Local Settings\Temporary Internet Files\Content.IE5\MX1I7YH0\MP900400421[1]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8524" y="2016579"/>
            <a:ext cx="2079170" cy="1959428"/>
          </a:xfrm>
          <a:prstGeom prst="rect">
            <a:avLst/>
          </a:prstGeom>
          <a:noFill/>
        </p:spPr>
      </p:pic>
      <p:sp>
        <p:nvSpPr>
          <p:cNvPr id="77" name="TextBox 76"/>
          <p:cNvSpPr txBox="1"/>
          <p:nvPr/>
        </p:nvSpPr>
        <p:spPr>
          <a:xfrm>
            <a:off x="2753007" y="2408465"/>
            <a:ext cx="2994650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600" dirty="0" smtClean="0"/>
              <a:t>Organization fully accountable for security at all layers</a:t>
            </a:r>
            <a:endParaRPr lang="en-US" sz="1600" dirty="0"/>
          </a:p>
        </p:txBody>
      </p:sp>
      <p:sp>
        <p:nvSpPr>
          <p:cNvPr id="78" name="TextBox 77"/>
          <p:cNvSpPr txBox="1"/>
          <p:nvPr/>
        </p:nvSpPr>
        <p:spPr>
          <a:xfrm>
            <a:off x="484001" y="5698673"/>
            <a:ext cx="8457524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b="1" i="1" dirty="0" smtClean="0"/>
              <a:t>In a cloud, who is accountable for security at these layers?</a:t>
            </a:r>
            <a:endParaRPr lang="en-US" b="1" i="1" dirty="0"/>
          </a:p>
        </p:txBody>
      </p:sp>
      <p:sp>
        <p:nvSpPr>
          <p:cNvPr id="18" name="Rectangle 17"/>
          <p:cNvSpPr/>
          <p:nvPr/>
        </p:nvSpPr>
        <p:spPr>
          <a:xfrm>
            <a:off x="2057400" y="4103436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i="1" dirty="0" smtClean="0"/>
              <a:t>You can outsource hosted services but you cannot outsource </a:t>
            </a:r>
            <a:r>
              <a:rPr lang="en-US" b="1" i="1" dirty="0" smtClean="0">
                <a:solidFill>
                  <a:srgbClr val="FF3300"/>
                </a:solidFill>
              </a:rPr>
              <a:t>accountability</a:t>
            </a:r>
            <a:endParaRPr lang="en-US" b="1" i="1" dirty="0">
              <a:solidFill>
                <a:srgbClr val="FF330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0" y="0"/>
            <a:ext cx="9142413" cy="365125"/>
            <a:chOff x="0" y="0"/>
            <a:chExt cx="10237" cy="307"/>
          </a:xfrm>
          <a:solidFill>
            <a:srgbClr val="0070C0"/>
          </a:solidFill>
        </p:grpSpPr>
        <p:sp>
          <p:nvSpPr>
            <p:cNvPr id="6163" name="Rectangle 5"/>
            <p:cNvSpPr>
              <a:spLocks/>
            </p:cNvSpPr>
            <p:nvPr/>
          </p:nvSpPr>
          <p:spPr bwMode="auto">
            <a:xfrm>
              <a:off x="0" y="0"/>
              <a:ext cx="10237" cy="152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algn="l" eaLnBrk="1" hangingPunct="1">
                <a:lnSpc>
                  <a:spcPct val="100000"/>
                </a:lnSpc>
              </a:pPr>
              <a:endParaRPr lang="en-US">
                <a:solidFill>
                  <a:srgbClr val="FFFFFF"/>
                </a:solidFill>
                <a:ea typeface="华文细黑" charset="-122"/>
                <a:sym typeface="Arial" charset="0"/>
              </a:endParaRPr>
            </a:p>
          </p:txBody>
        </p:sp>
        <p:sp>
          <p:nvSpPr>
            <p:cNvPr id="6164" name="Rectangle 6"/>
            <p:cNvSpPr>
              <a:spLocks/>
            </p:cNvSpPr>
            <p:nvPr/>
          </p:nvSpPr>
          <p:spPr bwMode="auto">
            <a:xfrm>
              <a:off x="0" y="0"/>
              <a:ext cx="1" cy="307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1" hangingPunct="1">
                <a:lnSpc>
                  <a:spcPct val="100000"/>
                </a:lnSpc>
              </a:pPr>
              <a:endParaRPr lang="en-US">
                <a:solidFill>
                  <a:srgbClr val="FFFFFF"/>
                </a:solidFill>
                <a:ea typeface="华文细黑" charset="-122"/>
                <a:sym typeface="Arial" charset="0"/>
              </a:endParaRPr>
            </a:p>
          </p:txBody>
        </p:sp>
      </p:grpSp>
      <p:sp>
        <p:nvSpPr>
          <p:cNvPr id="29" name="Rectangle 9"/>
          <p:cNvSpPr txBox="1">
            <a:spLocks noChangeArrowheads="1"/>
          </p:cNvSpPr>
          <p:nvPr/>
        </p:nvSpPr>
        <p:spPr bwMode="auto">
          <a:xfrm>
            <a:off x="217170" y="91440"/>
            <a:ext cx="8926830" cy="5981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124" tIns="41061" rIns="82124" bIns="41061" anchor="b"/>
          <a:lstStyle/>
          <a:p>
            <a:pPr defTabSz="814388">
              <a:defRPr/>
            </a:pPr>
            <a:r>
              <a:rPr lang="en-US" sz="2800" b="1" kern="0" dirty="0" err="1" smtClean="0">
                <a:latin typeface="+mj-lt"/>
                <a:ea typeface="ＭＳ Ｐゴシック" charset="-128"/>
                <a:cs typeface="ＭＳ Ｐゴシック" charset="-128"/>
              </a:rPr>
              <a:t>R1</a:t>
            </a:r>
            <a:r>
              <a:rPr lang="en-US" sz="2800" b="1" kern="0" dirty="0" smtClean="0">
                <a:latin typeface="+mj-lt"/>
                <a:ea typeface="ＭＳ Ｐゴシック" charset="-128"/>
                <a:cs typeface="ＭＳ Ｐゴシック" charset="-128"/>
              </a:rPr>
              <a:t>: Risk: Accountability &amp; Data</a:t>
            </a:r>
            <a:endParaRPr lang="en-US" sz="2800" b="1" kern="0" dirty="0">
              <a:latin typeface="+mj-lt"/>
              <a:ea typeface="ＭＳ Ｐゴシック" charset="-128"/>
              <a:cs typeface="ＭＳ Ｐゴシック" charset="-128"/>
            </a:endParaRPr>
          </a:p>
        </p:txBody>
      </p:sp>
      <p:grpSp>
        <p:nvGrpSpPr>
          <p:cNvPr id="3" name="Group 38"/>
          <p:cNvGrpSpPr/>
          <p:nvPr/>
        </p:nvGrpSpPr>
        <p:grpSpPr>
          <a:xfrm>
            <a:off x="4175434" y="1354892"/>
            <a:ext cx="2293946" cy="1629107"/>
            <a:chOff x="3203884" y="1080572"/>
            <a:chExt cx="2736232" cy="2192509"/>
          </a:xfrm>
        </p:grpSpPr>
        <p:sp>
          <p:nvSpPr>
            <p:cNvPr id="19" name="Rectangle 18"/>
            <p:cNvSpPr/>
            <p:nvPr/>
          </p:nvSpPr>
          <p:spPr>
            <a:xfrm>
              <a:off x="3203884" y="1080572"/>
              <a:ext cx="2736232" cy="45978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en-US" sz="1800" dirty="0" smtClean="0"/>
                <a:t>Application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3203884" y="1507290"/>
              <a:ext cx="2736232" cy="497060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en-US" sz="1800" dirty="0" smtClean="0">
                  <a:solidFill>
                    <a:schemeClr val="bg1"/>
                  </a:solidFill>
                </a:rPr>
                <a:t>Web/App/DB server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3203884" y="1934011"/>
              <a:ext cx="2736232" cy="497060"/>
            </a:xfrm>
            <a:prstGeom prst="rect">
              <a:avLst/>
            </a:prstGeom>
            <a:solidFill>
              <a:srgbClr val="7030A0"/>
            </a:solidFill>
          </p:spPr>
          <p:txBody>
            <a:bodyPr wrap="square">
              <a:spAutoFit/>
            </a:bodyPr>
            <a:lstStyle/>
            <a:p>
              <a:r>
                <a:rPr lang="en-US" sz="1800" dirty="0" smtClean="0">
                  <a:solidFill>
                    <a:schemeClr val="bg1"/>
                  </a:solidFill>
                </a:rPr>
                <a:t>Computing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3203884" y="2349302"/>
              <a:ext cx="2736232" cy="45978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en-US" sz="1800" dirty="0" smtClean="0"/>
                <a:t>Network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3203884" y="2776021"/>
              <a:ext cx="2736232" cy="49706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en-US" sz="1800" dirty="0" smtClean="0">
                  <a:solidFill>
                    <a:schemeClr val="bg1"/>
                  </a:solidFill>
                </a:rPr>
                <a:t>Storage</a:t>
              </a:r>
              <a:endParaRPr lang="en-US" sz="1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" name="Group 39"/>
          <p:cNvGrpSpPr/>
          <p:nvPr/>
        </p:nvGrpSpPr>
        <p:grpSpPr>
          <a:xfrm>
            <a:off x="4179244" y="3187502"/>
            <a:ext cx="2293946" cy="1629107"/>
            <a:chOff x="3203884" y="1080572"/>
            <a:chExt cx="2736232" cy="2192509"/>
          </a:xfrm>
        </p:grpSpPr>
        <p:sp>
          <p:nvSpPr>
            <p:cNvPr id="42" name="Rectangle 41"/>
            <p:cNvSpPr/>
            <p:nvPr/>
          </p:nvSpPr>
          <p:spPr>
            <a:xfrm>
              <a:off x="3203884" y="1080572"/>
              <a:ext cx="2736232" cy="45978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en-US" sz="1800" dirty="0" smtClean="0"/>
                <a:t>Application</a:t>
              </a: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3203884" y="1507290"/>
              <a:ext cx="2736232" cy="497060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en-US" sz="1800" dirty="0" smtClean="0">
                  <a:solidFill>
                    <a:schemeClr val="bg1"/>
                  </a:solidFill>
                </a:rPr>
                <a:t>Web/App/DB server</a:t>
              </a:r>
            </a:p>
          </p:txBody>
        </p:sp>
        <p:sp>
          <p:nvSpPr>
            <p:cNvPr id="46" name="Rectangle 45"/>
            <p:cNvSpPr/>
            <p:nvPr/>
          </p:nvSpPr>
          <p:spPr>
            <a:xfrm>
              <a:off x="3203884" y="1934011"/>
              <a:ext cx="2736232" cy="497060"/>
            </a:xfrm>
            <a:prstGeom prst="rect">
              <a:avLst/>
            </a:prstGeom>
            <a:solidFill>
              <a:srgbClr val="7030A0"/>
            </a:solidFill>
          </p:spPr>
          <p:txBody>
            <a:bodyPr wrap="square">
              <a:spAutoFit/>
            </a:bodyPr>
            <a:lstStyle/>
            <a:p>
              <a:r>
                <a:rPr lang="en-US" sz="1800" dirty="0" smtClean="0">
                  <a:solidFill>
                    <a:schemeClr val="bg1"/>
                  </a:solidFill>
                </a:rPr>
                <a:t>Computing</a:t>
              </a: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3203884" y="2349302"/>
              <a:ext cx="2736232" cy="45978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en-US" sz="1800" dirty="0" smtClean="0"/>
                <a:t>Network</a:t>
              </a: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3203884" y="2776021"/>
              <a:ext cx="2736232" cy="49706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en-US" sz="1800" dirty="0" smtClean="0">
                  <a:solidFill>
                    <a:schemeClr val="bg1"/>
                  </a:solidFill>
                </a:rPr>
                <a:t>Storag</a:t>
              </a:r>
              <a:r>
                <a:rPr lang="en-US" sz="1800" dirty="0" smtClean="0"/>
                <a:t>e</a:t>
              </a:r>
              <a:endParaRPr lang="en-US" sz="1800" dirty="0"/>
            </a:p>
          </p:txBody>
        </p:sp>
      </p:grpSp>
      <p:grpSp>
        <p:nvGrpSpPr>
          <p:cNvPr id="5" name="Group 48"/>
          <p:cNvGrpSpPr/>
          <p:nvPr/>
        </p:nvGrpSpPr>
        <p:grpSpPr>
          <a:xfrm>
            <a:off x="4190674" y="5039162"/>
            <a:ext cx="2293946" cy="1629107"/>
            <a:chOff x="3203884" y="1080572"/>
            <a:chExt cx="2736232" cy="2192509"/>
          </a:xfrm>
        </p:grpSpPr>
        <p:sp>
          <p:nvSpPr>
            <p:cNvPr id="50" name="Rectangle 49"/>
            <p:cNvSpPr/>
            <p:nvPr/>
          </p:nvSpPr>
          <p:spPr>
            <a:xfrm>
              <a:off x="3203884" y="1080572"/>
              <a:ext cx="2736232" cy="45978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en-US" sz="1800" dirty="0" smtClean="0"/>
                <a:t>Application</a:t>
              </a: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3203884" y="1507290"/>
              <a:ext cx="2736232" cy="497060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en-US" sz="1800" dirty="0" smtClean="0">
                  <a:solidFill>
                    <a:schemeClr val="bg1"/>
                  </a:solidFill>
                </a:rPr>
                <a:t>Web/App/DB server</a:t>
              </a:r>
            </a:p>
          </p:txBody>
        </p:sp>
        <p:sp>
          <p:nvSpPr>
            <p:cNvPr id="52" name="Rectangle 51"/>
            <p:cNvSpPr/>
            <p:nvPr/>
          </p:nvSpPr>
          <p:spPr>
            <a:xfrm>
              <a:off x="3203884" y="1934011"/>
              <a:ext cx="2736232" cy="497060"/>
            </a:xfrm>
            <a:prstGeom prst="rect">
              <a:avLst/>
            </a:prstGeom>
            <a:solidFill>
              <a:srgbClr val="7030A0"/>
            </a:solidFill>
          </p:spPr>
          <p:txBody>
            <a:bodyPr wrap="square">
              <a:spAutoFit/>
            </a:bodyPr>
            <a:lstStyle/>
            <a:p>
              <a:r>
                <a:rPr lang="en-US" sz="1800" dirty="0" smtClean="0">
                  <a:solidFill>
                    <a:schemeClr val="bg1"/>
                  </a:solidFill>
                </a:rPr>
                <a:t>Computing</a:t>
              </a:r>
            </a:p>
          </p:txBody>
        </p:sp>
        <p:sp>
          <p:nvSpPr>
            <p:cNvPr id="53" name="Rectangle 52"/>
            <p:cNvSpPr/>
            <p:nvPr/>
          </p:nvSpPr>
          <p:spPr>
            <a:xfrm>
              <a:off x="3203884" y="2349302"/>
              <a:ext cx="2736232" cy="45978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en-US" sz="1800" dirty="0" smtClean="0"/>
                <a:t>Network</a:t>
              </a:r>
            </a:p>
          </p:txBody>
        </p:sp>
        <p:sp>
          <p:nvSpPr>
            <p:cNvPr id="54" name="Rectangle 53"/>
            <p:cNvSpPr/>
            <p:nvPr/>
          </p:nvSpPr>
          <p:spPr>
            <a:xfrm>
              <a:off x="3203884" y="2776021"/>
              <a:ext cx="2736232" cy="49706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en-US" sz="1800" dirty="0" smtClean="0">
                  <a:solidFill>
                    <a:schemeClr val="bg1"/>
                  </a:solidFill>
                </a:rPr>
                <a:t>Storage</a:t>
              </a:r>
              <a:endParaRPr lang="en-US" sz="1800" dirty="0">
                <a:solidFill>
                  <a:schemeClr val="bg1"/>
                </a:solidFill>
              </a:endParaRPr>
            </a:p>
          </p:txBody>
        </p:sp>
      </p:grpSp>
      <p:sp>
        <p:nvSpPr>
          <p:cNvPr id="56" name="Rectangle 55"/>
          <p:cNvSpPr/>
          <p:nvPr/>
        </p:nvSpPr>
        <p:spPr bwMode="auto">
          <a:xfrm>
            <a:off x="6553200" y="743964"/>
            <a:ext cx="2133600" cy="359923"/>
          </a:xfrm>
          <a:prstGeom prst="rect">
            <a:avLst/>
          </a:prstGeom>
          <a:solidFill>
            <a:schemeClr val="accent1"/>
          </a:solidFill>
          <a:ln w="25400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-112" charset="0"/>
              </a:rPr>
              <a:t>Cloud Consumer</a:t>
            </a:r>
            <a:endParaRPr kumimoji="0" 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433932" y="2103120"/>
            <a:ext cx="646331" cy="369332"/>
          </a:xfrm>
          <a:prstGeom prst="rect">
            <a:avLst/>
          </a:prstGeom>
          <a:solidFill>
            <a:srgbClr val="92D050"/>
          </a:solidFill>
        </p:spPr>
        <p:txBody>
          <a:bodyPr wrap="none" rtlCol="0">
            <a:spAutoFit/>
          </a:bodyPr>
          <a:lstStyle/>
          <a:p>
            <a:r>
              <a:rPr lang="en-US" dirty="0" err="1" smtClean="0"/>
              <a:t>SaaS</a:t>
            </a:r>
            <a:endParaRPr lang="en-US" dirty="0"/>
          </a:p>
        </p:txBody>
      </p:sp>
      <p:sp>
        <p:nvSpPr>
          <p:cNvPr id="58" name="TextBox 57"/>
          <p:cNvSpPr txBox="1"/>
          <p:nvPr/>
        </p:nvSpPr>
        <p:spPr>
          <a:xfrm>
            <a:off x="433932" y="3775710"/>
            <a:ext cx="646331" cy="369332"/>
          </a:xfrm>
          <a:prstGeom prst="rect">
            <a:avLst/>
          </a:prstGeom>
          <a:solidFill>
            <a:srgbClr val="92D050"/>
          </a:solidFill>
        </p:spPr>
        <p:txBody>
          <a:bodyPr wrap="none" rtlCol="0">
            <a:spAutoFit/>
          </a:bodyPr>
          <a:lstStyle/>
          <a:p>
            <a:r>
              <a:rPr lang="en-US" dirty="0" err="1" smtClean="0"/>
              <a:t>PaaS</a:t>
            </a:r>
            <a:endParaRPr lang="en-US" dirty="0"/>
          </a:p>
        </p:txBody>
      </p:sp>
      <p:sp>
        <p:nvSpPr>
          <p:cNvPr id="59" name="TextBox 58"/>
          <p:cNvSpPr txBox="1"/>
          <p:nvPr/>
        </p:nvSpPr>
        <p:spPr>
          <a:xfrm>
            <a:off x="494044" y="5631180"/>
            <a:ext cx="595035" cy="369332"/>
          </a:xfrm>
          <a:prstGeom prst="rect">
            <a:avLst/>
          </a:prstGeom>
          <a:solidFill>
            <a:srgbClr val="92D050"/>
          </a:solidFill>
        </p:spPr>
        <p:txBody>
          <a:bodyPr wrap="none" rtlCol="0">
            <a:spAutoFit/>
          </a:bodyPr>
          <a:lstStyle/>
          <a:p>
            <a:r>
              <a:rPr lang="en-US" dirty="0" err="1" smtClean="0"/>
              <a:t>IaaS</a:t>
            </a:r>
            <a:endParaRPr lang="en-US" dirty="0"/>
          </a:p>
        </p:txBody>
      </p:sp>
      <p:cxnSp>
        <p:nvCxnSpPr>
          <p:cNvPr id="61" name="Straight Connector 60"/>
          <p:cNvCxnSpPr/>
          <p:nvPr/>
        </p:nvCxnSpPr>
        <p:spPr bwMode="auto">
          <a:xfrm>
            <a:off x="160020" y="3063240"/>
            <a:ext cx="8709660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2" name="Straight Connector 61"/>
          <p:cNvCxnSpPr/>
          <p:nvPr/>
        </p:nvCxnSpPr>
        <p:spPr bwMode="auto">
          <a:xfrm>
            <a:off x="163830" y="4930140"/>
            <a:ext cx="8709660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3" name="Straight Connector 62"/>
          <p:cNvCxnSpPr/>
          <p:nvPr/>
        </p:nvCxnSpPr>
        <p:spPr bwMode="auto">
          <a:xfrm>
            <a:off x="220980" y="1261110"/>
            <a:ext cx="8709660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5" name="Left Brace 64"/>
          <p:cNvSpPr/>
          <p:nvPr/>
        </p:nvSpPr>
        <p:spPr bwMode="auto">
          <a:xfrm>
            <a:off x="3714750" y="1394460"/>
            <a:ext cx="308610" cy="1531620"/>
          </a:xfrm>
          <a:prstGeom prst="leftBrace">
            <a:avLst/>
          </a:prstGeom>
          <a:noFill/>
          <a:ln w="25400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</a:endParaRPr>
          </a:p>
        </p:txBody>
      </p:sp>
      <p:sp>
        <p:nvSpPr>
          <p:cNvPr id="67" name="Left Brace 66"/>
          <p:cNvSpPr/>
          <p:nvPr/>
        </p:nvSpPr>
        <p:spPr bwMode="auto">
          <a:xfrm rot="10800000">
            <a:off x="6595110" y="3158490"/>
            <a:ext cx="217170" cy="373380"/>
          </a:xfrm>
          <a:prstGeom prst="leftBrace">
            <a:avLst/>
          </a:prstGeom>
          <a:noFill/>
          <a:ln w="25400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</a:endParaRPr>
          </a:p>
        </p:txBody>
      </p:sp>
      <p:sp>
        <p:nvSpPr>
          <p:cNvPr id="68" name="Left Brace 67"/>
          <p:cNvSpPr/>
          <p:nvPr/>
        </p:nvSpPr>
        <p:spPr bwMode="auto">
          <a:xfrm>
            <a:off x="3718560" y="3554730"/>
            <a:ext cx="327660" cy="1226820"/>
          </a:xfrm>
          <a:prstGeom prst="leftBrace">
            <a:avLst/>
          </a:prstGeom>
          <a:noFill/>
          <a:ln w="25400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</a:endParaRPr>
          </a:p>
        </p:txBody>
      </p:sp>
      <p:sp>
        <p:nvSpPr>
          <p:cNvPr id="69" name="Left Brace 68"/>
          <p:cNvSpPr/>
          <p:nvPr/>
        </p:nvSpPr>
        <p:spPr bwMode="auto">
          <a:xfrm>
            <a:off x="3733800" y="5680710"/>
            <a:ext cx="312420" cy="967740"/>
          </a:xfrm>
          <a:prstGeom prst="leftBrace">
            <a:avLst/>
          </a:prstGeom>
          <a:noFill/>
          <a:ln w="25400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</a:endParaRPr>
          </a:p>
        </p:txBody>
      </p:sp>
      <p:sp>
        <p:nvSpPr>
          <p:cNvPr id="70" name="Left Brace 69"/>
          <p:cNvSpPr/>
          <p:nvPr/>
        </p:nvSpPr>
        <p:spPr bwMode="auto">
          <a:xfrm rot="10800000">
            <a:off x="6598920" y="5048250"/>
            <a:ext cx="201930" cy="621030"/>
          </a:xfrm>
          <a:prstGeom prst="leftBrace">
            <a:avLst/>
          </a:prstGeom>
          <a:noFill/>
          <a:ln w="25400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6518396" y="1334708"/>
            <a:ext cx="304892" cy="4247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*</a:t>
            </a:r>
            <a:endParaRPr lang="en-US" dirty="0"/>
          </a:p>
        </p:txBody>
      </p:sp>
      <p:sp>
        <p:nvSpPr>
          <p:cNvPr id="66" name="TextBox 65"/>
          <p:cNvSpPr txBox="1"/>
          <p:nvPr/>
        </p:nvSpPr>
        <p:spPr>
          <a:xfrm>
            <a:off x="274629" y="6287708"/>
            <a:ext cx="1941557" cy="3416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 smtClean="0"/>
              <a:t>* Few exceptions</a:t>
            </a:r>
            <a:endParaRPr lang="en-US" sz="1800" dirty="0"/>
          </a:p>
        </p:txBody>
      </p:sp>
      <p:cxnSp>
        <p:nvCxnSpPr>
          <p:cNvPr id="64" name="Straight Connector 63"/>
          <p:cNvCxnSpPr/>
          <p:nvPr/>
        </p:nvCxnSpPr>
        <p:spPr bwMode="auto">
          <a:xfrm rot="16200000" flipH="1">
            <a:off x="392876" y="3616135"/>
            <a:ext cx="5037833" cy="28575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5" name="Straight Arrow Connector 74"/>
          <p:cNvCxnSpPr/>
          <p:nvPr/>
        </p:nvCxnSpPr>
        <p:spPr bwMode="auto">
          <a:xfrm>
            <a:off x="2891790" y="2148840"/>
            <a:ext cx="754380" cy="1588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rgbClr val="C0C0C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6" name="Straight Arrow Connector 75"/>
          <p:cNvCxnSpPr/>
          <p:nvPr/>
        </p:nvCxnSpPr>
        <p:spPr bwMode="auto">
          <a:xfrm>
            <a:off x="2918460" y="4164330"/>
            <a:ext cx="754380" cy="1588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rgbClr val="C0C0C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7" name="Straight Arrow Connector 76"/>
          <p:cNvCxnSpPr/>
          <p:nvPr/>
        </p:nvCxnSpPr>
        <p:spPr bwMode="auto">
          <a:xfrm>
            <a:off x="2907030" y="6153150"/>
            <a:ext cx="754380" cy="1588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rgbClr val="C0C0C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8" name="Straight Connector 77"/>
          <p:cNvCxnSpPr/>
          <p:nvPr/>
        </p:nvCxnSpPr>
        <p:spPr bwMode="auto">
          <a:xfrm rot="16200000" flipH="1">
            <a:off x="5540184" y="3197036"/>
            <a:ext cx="4222497" cy="36196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9" name="Straight Arrow Connector 78"/>
          <p:cNvCxnSpPr/>
          <p:nvPr/>
        </p:nvCxnSpPr>
        <p:spPr bwMode="auto">
          <a:xfrm rot="10800000">
            <a:off x="6926580" y="3337560"/>
            <a:ext cx="735330" cy="3810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rgbClr val="C0C0C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81" name="Straight Arrow Connector 80"/>
          <p:cNvCxnSpPr/>
          <p:nvPr/>
        </p:nvCxnSpPr>
        <p:spPr bwMode="auto">
          <a:xfrm rot="10800000" flipV="1">
            <a:off x="6907530" y="5337810"/>
            <a:ext cx="773430" cy="3810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rgbClr val="C0C0C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85" name="TextBox 84"/>
          <p:cNvSpPr txBox="1"/>
          <p:nvPr/>
        </p:nvSpPr>
        <p:spPr>
          <a:xfrm rot="16200000">
            <a:off x="1877091" y="3285250"/>
            <a:ext cx="1596912" cy="369332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2000" dirty="0" smtClean="0"/>
              <a:t>Accountable</a:t>
            </a:r>
            <a:endParaRPr lang="en-US" sz="2000" dirty="0"/>
          </a:p>
        </p:txBody>
      </p:sp>
      <p:sp>
        <p:nvSpPr>
          <p:cNvPr id="86" name="TextBox 85"/>
          <p:cNvSpPr txBox="1"/>
          <p:nvPr/>
        </p:nvSpPr>
        <p:spPr>
          <a:xfrm rot="5400000">
            <a:off x="7081551" y="3071890"/>
            <a:ext cx="1596912" cy="369332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2000" dirty="0" smtClean="0"/>
              <a:t>Accountable</a:t>
            </a:r>
            <a:endParaRPr lang="en-US" sz="2000" dirty="0"/>
          </a:p>
        </p:txBody>
      </p:sp>
      <p:sp>
        <p:nvSpPr>
          <p:cNvPr id="72" name="Cloud 71"/>
          <p:cNvSpPr/>
          <p:nvPr/>
        </p:nvSpPr>
        <p:spPr bwMode="auto">
          <a:xfrm>
            <a:off x="1851660" y="674045"/>
            <a:ext cx="1958340" cy="885218"/>
          </a:xfrm>
          <a:prstGeom prst="cloud">
            <a:avLst/>
          </a:prstGeom>
          <a:solidFill>
            <a:schemeClr val="accent1"/>
          </a:solidFill>
          <a:ln w="25400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-112" charset="0"/>
              </a:rPr>
              <a:t>Cloud Provider</a:t>
            </a: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 animBg="1"/>
      <p:bldP spid="58" grpId="0" animBg="1"/>
      <p:bldP spid="65" grpId="0" animBg="1"/>
      <p:bldP spid="67" grpId="0" animBg="1"/>
      <p:bldP spid="68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loud 13"/>
          <p:cNvSpPr/>
          <p:nvPr/>
        </p:nvSpPr>
        <p:spPr bwMode="auto">
          <a:xfrm>
            <a:off x="1653833" y="967153"/>
            <a:ext cx="5180721" cy="3063240"/>
          </a:xfrm>
          <a:prstGeom prst="cloud">
            <a:avLst/>
          </a:prstGeom>
          <a:solidFill>
            <a:schemeClr val="accent1"/>
          </a:solidFill>
          <a:ln w="25400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</a:endParaRPr>
          </a:p>
        </p:txBody>
      </p:sp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0" y="0"/>
            <a:ext cx="9142413" cy="365125"/>
            <a:chOff x="0" y="0"/>
            <a:chExt cx="10237" cy="307"/>
          </a:xfrm>
          <a:solidFill>
            <a:srgbClr val="0070C0"/>
          </a:solidFill>
        </p:grpSpPr>
        <p:sp>
          <p:nvSpPr>
            <p:cNvPr id="6163" name="Rectangle 5"/>
            <p:cNvSpPr>
              <a:spLocks/>
            </p:cNvSpPr>
            <p:nvPr/>
          </p:nvSpPr>
          <p:spPr bwMode="auto">
            <a:xfrm>
              <a:off x="0" y="0"/>
              <a:ext cx="10237" cy="152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algn="l" eaLnBrk="1" hangingPunct="1">
                <a:lnSpc>
                  <a:spcPct val="100000"/>
                </a:lnSpc>
              </a:pPr>
              <a:endParaRPr lang="en-US">
                <a:solidFill>
                  <a:srgbClr val="FFFFFF"/>
                </a:solidFill>
                <a:ea typeface="华文细黑" charset="-122"/>
                <a:sym typeface="Arial" charset="0"/>
              </a:endParaRPr>
            </a:p>
          </p:txBody>
        </p:sp>
        <p:sp>
          <p:nvSpPr>
            <p:cNvPr id="6164" name="Rectangle 6"/>
            <p:cNvSpPr>
              <a:spLocks/>
            </p:cNvSpPr>
            <p:nvPr/>
          </p:nvSpPr>
          <p:spPr bwMode="auto">
            <a:xfrm>
              <a:off x="0" y="0"/>
              <a:ext cx="1" cy="307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1" hangingPunct="1">
                <a:lnSpc>
                  <a:spcPct val="100000"/>
                </a:lnSpc>
              </a:pPr>
              <a:endParaRPr lang="en-US">
                <a:solidFill>
                  <a:srgbClr val="FFFFFF"/>
                </a:solidFill>
                <a:ea typeface="华文细黑" charset="-122"/>
                <a:sym typeface="Arial" charset="0"/>
              </a:endParaRPr>
            </a:p>
          </p:txBody>
        </p:sp>
      </p:grpSp>
      <p:sp>
        <p:nvSpPr>
          <p:cNvPr id="6149" name="Slide Number Placeholder 3"/>
          <p:cNvSpPr txBox="1">
            <a:spLocks noGrp="1"/>
          </p:cNvSpPr>
          <p:nvPr/>
        </p:nvSpPr>
        <p:spPr bwMode="auto">
          <a:xfrm>
            <a:off x="8709025" y="6646863"/>
            <a:ext cx="171450" cy="215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b"/>
          <a:lstStyle/>
          <a:p>
            <a:pPr eaLnBrk="1" hangingPunct="1">
              <a:lnSpc>
                <a:spcPct val="100000"/>
              </a:lnSpc>
            </a:pPr>
            <a:fld id="{F752C20E-9033-415D-8AD6-90674CC451FC}" type="slidenum">
              <a:rPr lang="en-US" sz="1000">
                <a:solidFill>
                  <a:srgbClr val="777777"/>
                </a:solidFill>
                <a:ea typeface="华文细黑" charset="-122"/>
                <a:sym typeface="Arial" charset="0"/>
              </a:rPr>
              <a:pPr eaLnBrk="1" hangingPunct="1">
                <a:lnSpc>
                  <a:spcPct val="100000"/>
                </a:lnSpc>
              </a:pPr>
              <a:t>14</a:t>
            </a:fld>
            <a:endParaRPr lang="en-US" sz="1000">
              <a:solidFill>
                <a:srgbClr val="777777"/>
              </a:solidFill>
              <a:ea typeface="华文细黑" charset="-122"/>
              <a:sym typeface="Arial" charset="0"/>
            </a:endParaRPr>
          </a:p>
        </p:txBody>
      </p:sp>
      <p:sp>
        <p:nvSpPr>
          <p:cNvPr id="29" name="Rectangle 9"/>
          <p:cNvSpPr txBox="1">
            <a:spLocks noChangeArrowheads="1"/>
          </p:cNvSpPr>
          <p:nvPr/>
        </p:nvSpPr>
        <p:spPr bwMode="auto">
          <a:xfrm>
            <a:off x="217170" y="91440"/>
            <a:ext cx="8926830" cy="5981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124" tIns="41061" rIns="82124" bIns="41061" anchor="b"/>
          <a:lstStyle/>
          <a:p>
            <a:pPr defTabSz="814388">
              <a:defRPr/>
            </a:pPr>
            <a:r>
              <a:rPr lang="en-US" sz="2800" b="1" kern="0" dirty="0" err="1" smtClean="0">
                <a:latin typeface="+mj-lt"/>
                <a:ea typeface="ＭＳ Ｐゴシック" charset="-128"/>
                <a:cs typeface="ＭＳ Ｐゴシック" charset="-128"/>
              </a:rPr>
              <a:t>R1</a:t>
            </a:r>
            <a:r>
              <a:rPr lang="en-US" sz="2800" b="1" kern="0" dirty="0" smtClean="0">
                <a:latin typeface="+mj-lt"/>
                <a:ea typeface="ＭＳ Ｐゴシック" charset="-128"/>
                <a:cs typeface="ＭＳ Ｐゴシック" charset="-128"/>
              </a:rPr>
              <a:t>: Risk: Accountability &amp; Data</a:t>
            </a:r>
            <a:endParaRPr lang="en-US" sz="2800" b="1" kern="0" dirty="0">
              <a:latin typeface="+mj-lt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127063" y="2568224"/>
            <a:ext cx="1574470" cy="1077218"/>
          </a:xfrm>
          <a:prstGeom prst="rect">
            <a:avLst/>
          </a:prstGeom>
          <a:solidFill>
            <a:srgbClr val="FF0000"/>
          </a:solidFill>
        </p:spPr>
        <p:txBody>
          <a:bodyPr wrap="none" rtlCol="0">
            <a:spAutoFit/>
          </a:bodyPr>
          <a:lstStyle/>
          <a:p>
            <a:pPr algn="l"/>
            <a:r>
              <a:rPr lang="en-US" sz="1600" dirty="0" smtClean="0">
                <a:solidFill>
                  <a:schemeClr val="bg1"/>
                </a:solidFill>
              </a:rPr>
              <a:t>Health records</a:t>
            </a:r>
          </a:p>
          <a:p>
            <a:pPr algn="l"/>
            <a:r>
              <a:rPr lang="en-US" sz="1600" dirty="0" smtClean="0">
                <a:solidFill>
                  <a:schemeClr val="bg1"/>
                </a:solidFill>
              </a:rPr>
              <a:t>Criminal records</a:t>
            </a:r>
          </a:p>
          <a:p>
            <a:pPr algn="l"/>
            <a:r>
              <a:rPr lang="en-US" sz="1600" dirty="0" smtClean="0">
                <a:solidFill>
                  <a:schemeClr val="bg1"/>
                </a:solidFill>
              </a:rPr>
              <a:t>Credit history</a:t>
            </a:r>
          </a:p>
          <a:p>
            <a:pPr algn="l"/>
            <a:r>
              <a:rPr lang="en-US" sz="1600" dirty="0" smtClean="0">
                <a:solidFill>
                  <a:schemeClr val="bg1"/>
                </a:solidFill>
              </a:rPr>
              <a:t>Payroll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261805" y="721472"/>
            <a:ext cx="3847528" cy="4247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How sensitive is the data? </a:t>
            </a:r>
            <a:endParaRPr lang="en-US" dirty="0"/>
          </a:p>
        </p:txBody>
      </p:sp>
      <p:pic>
        <p:nvPicPr>
          <p:cNvPr id="4099" name="Picture 3" descr="C:\Documents and Settings\ptelang\Local Settings\Temporary Internet Files\Content.IE5\6SUXBXWC\MP900402692[1]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13164" y="2138288"/>
            <a:ext cx="1595824" cy="1577340"/>
          </a:xfrm>
          <a:prstGeom prst="rect">
            <a:avLst/>
          </a:prstGeom>
          <a:noFill/>
        </p:spPr>
      </p:pic>
      <p:sp>
        <p:nvSpPr>
          <p:cNvPr id="60" name="TextBox 59"/>
          <p:cNvSpPr txBox="1"/>
          <p:nvPr/>
        </p:nvSpPr>
        <p:spPr>
          <a:xfrm>
            <a:off x="4241660" y="1487098"/>
            <a:ext cx="2212465" cy="978729"/>
          </a:xfrm>
          <a:prstGeom prst="rect">
            <a:avLst/>
          </a:prstGeom>
          <a:solidFill>
            <a:srgbClr val="92D050"/>
          </a:solidFill>
        </p:spPr>
        <p:txBody>
          <a:bodyPr wrap="none" rtlCol="0">
            <a:spAutoFit/>
          </a:bodyPr>
          <a:lstStyle/>
          <a:p>
            <a:pPr algn="l"/>
            <a:r>
              <a:rPr lang="en-US" sz="1600" dirty="0" smtClean="0"/>
              <a:t>Informal blogs</a:t>
            </a:r>
          </a:p>
          <a:p>
            <a:pPr algn="l"/>
            <a:r>
              <a:rPr lang="en-US" sz="1600" dirty="0" smtClean="0"/>
              <a:t>Twitter posts</a:t>
            </a:r>
          </a:p>
          <a:p>
            <a:pPr algn="l"/>
            <a:r>
              <a:rPr lang="en-US" sz="1600" dirty="0" smtClean="0"/>
              <a:t>Public news</a:t>
            </a:r>
          </a:p>
          <a:p>
            <a:pPr algn="l"/>
            <a:r>
              <a:rPr lang="en-US" sz="1600" dirty="0" smtClean="0"/>
              <a:t>Newsgroup messages</a:t>
            </a:r>
            <a:endParaRPr lang="en-US" sz="1600" dirty="0"/>
          </a:p>
        </p:txBody>
      </p:sp>
      <p:pic>
        <p:nvPicPr>
          <p:cNvPr id="15" name="Picture 14" descr="images-1.jpe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206262" y="4366845"/>
            <a:ext cx="2242780" cy="1139190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5709665" y="5519224"/>
            <a:ext cx="321863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Data encrypted? Single vs. Unique keys</a:t>
            </a:r>
            <a:endParaRPr lang="en-US" sz="2000" dirty="0"/>
          </a:p>
        </p:txBody>
      </p:sp>
      <p:pic>
        <p:nvPicPr>
          <p:cNvPr id="4100" name="Picture 4" descr="C:\Documents and Settings\ptelang\Local Settings\Temporary Internet Files\Content.IE5\5ZRVH9CE\dglxasset[4].aspx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73142" y="3881152"/>
            <a:ext cx="1454242" cy="1265280"/>
          </a:xfrm>
          <a:prstGeom prst="rect">
            <a:avLst/>
          </a:prstGeom>
          <a:noFill/>
        </p:spPr>
      </p:pic>
      <p:sp>
        <p:nvSpPr>
          <p:cNvPr id="18" name="TextBox 17"/>
          <p:cNvSpPr txBox="1"/>
          <p:nvPr/>
        </p:nvSpPr>
        <p:spPr>
          <a:xfrm>
            <a:off x="0" y="5216770"/>
            <a:ext cx="32186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Who owns the data?</a:t>
            </a:r>
            <a:endParaRPr lang="en-US" sz="2000" dirty="0"/>
          </a:p>
        </p:txBody>
      </p:sp>
      <p:pic>
        <p:nvPicPr>
          <p:cNvPr id="4105" name="Picture 9" descr="C:\Documents and Settings\ptelang\Local Settings\Temporary Internet Files\Content.IE5\OL2NWLYJ\MC900438064[2]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563815" y="4812323"/>
            <a:ext cx="1471246" cy="1471246"/>
          </a:xfrm>
          <a:prstGeom prst="rect">
            <a:avLst/>
          </a:prstGeom>
          <a:noFill/>
        </p:spPr>
      </p:pic>
      <p:sp>
        <p:nvSpPr>
          <p:cNvPr id="24" name="TextBox 23"/>
          <p:cNvSpPr txBox="1"/>
          <p:nvPr/>
        </p:nvSpPr>
        <p:spPr>
          <a:xfrm>
            <a:off x="2877369" y="6248401"/>
            <a:ext cx="32186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Data stored anywhere !!</a:t>
            </a:r>
            <a:endParaRPr lang="en-US" sz="20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0" y="0"/>
            <a:ext cx="9142413" cy="365125"/>
            <a:chOff x="0" y="0"/>
            <a:chExt cx="10237" cy="307"/>
          </a:xfrm>
          <a:solidFill>
            <a:srgbClr val="0070C0"/>
          </a:solidFill>
        </p:grpSpPr>
        <p:sp>
          <p:nvSpPr>
            <p:cNvPr id="6163" name="Rectangle 5"/>
            <p:cNvSpPr>
              <a:spLocks/>
            </p:cNvSpPr>
            <p:nvPr/>
          </p:nvSpPr>
          <p:spPr bwMode="auto">
            <a:xfrm>
              <a:off x="0" y="0"/>
              <a:ext cx="10237" cy="152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algn="l" eaLnBrk="1" hangingPunct="1">
                <a:lnSpc>
                  <a:spcPct val="100000"/>
                </a:lnSpc>
              </a:pPr>
              <a:endParaRPr lang="en-US">
                <a:solidFill>
                  <a:srgbClr val="FFFFFF"/>
                </a:solidFill>
                <a:ea typeface="华文细黑" charset="-122"/>
                <a:sym typeface="Arial" charset="0"/>
              </a:endParaRPr>
            </a:p>
          </p:txBody>
        </p:sp>
        <p:sp>
          <p:nvSpPr>
            <p:cNvPr id="6164" name="Rectangle 6"/>
            <p:cNvSpPr>
              <a:spLocks/>
            </p:cNvSpPr>
            <p:nvPr/>
          </p:nvSpPr>
          <p:spPr bwMode="auto">
            <a:xfrm>
              <a:off x="0" y="0"/>
              <a:ext cx="1" cy="307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1" hangingPunct="1">
                <a:lnSpc>
                  <a:spcPct val="100000"/>
                </a:lnSpc>
              </a:pPr>
              <a:endParaRPr lang="en-US">
                <a:solidFill>
                  <a:srgbClr val="FFFFFF"/>
                </a:solidFill>
                <a:ea typeface="华文细黑" charset="-122"/>
                <a:sym typeface="Arial" charset="0"/>
              </a:endParaRPr>
            </a:p>
          </p:txBody>
        </p:sp>
      </p:grpSp>
      <p:sp>
        <p:nvSpPr>
          <p:cNvPr id="6149" name="Slide Number Placeholder 3"/>
          <p:cNvSpPr txBox="1">
            <a:spLocks noGrp="1"/>
          </p:cNvSpPr>
          <p:nvPr/>
        </p:nvSpPr>
        <p:spPr bwMode="auto">
          <a:xfrm>
            <a:off x="8709025" y="6646863"/>
            <a:ext cx="171450" cy="215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b"/>
          <a:lstStyle/>
          <a:p>
            <a:pPr eaLnBrk="1" hangingPunct="1">
              <a:lnSpc>
                <a:spcPct val="100000"/>
              </a:lnSpc>
            </a:pPr>
            <a:fld id="{F752C20E-9033-415D-8AD6-90674CC451FC}" type="slidenum">
              <a:rPr lang="en-US" sz="1000">
                <a:solidFill>
                  <a:srgbClr val="777777"/>
                </a:solidFill>
                <a:ea typeface="华文细黑" charset="-122"/>
                <a:sym typeface="Arial" charset="0"/>
              </a:rPr>
              <a:pPr eaLnBrk="1" hangingPunct="1">
                <a:lnSpc>
                  <a:spcPct val="100000"/>
                </a:lnSpc>
              </a:pPr>
              <a:t>15</a:t>
            </a:fld>
            <a:endParaRPr lang="en-US" sz="1000">
              <a:solidFill>
                <a:srgbClr val="777777"/>
              </a:solidFill>
              <a:ea typeface="华文细黑" charset="-122"/>
              <a:sym typeface="Arial" charset="0"/>
            </a:endParaRPr>
          </a:p>
        </p:txBody>
      </p:sp>
      <p:sp>
        <p:nvSpPr>
          <p:cNvPr id="29" name="Rectangle 9"/>
          <p:cNvSpPr txBox="1">
            <a:spLocks noChangeArrowheads="1"/>
          </p:cNvSpPr>
          <p:nvPr/>
        </p:nvSpPr>
        <p:spPr bwMode="auto">
          <a:xfrm>
            <a:off x="209005" y="304800"/>
            <a:ext cx="8477795" cy="5981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124" tIns="41061" rIns="82124" bIns="41061" anchor="b"/>
          <a:lstStyle/>
          <a:p>
            <a:pPr algn="l" defTabSz="814388" eaLnBrk="1" hangingPunct="1">
              <a:defRPr/>
            </a:pPr>
            <a:r>
              <a:rPr lang="en-US" sz="2800" b="1" kern="0" dirty="0" err="1" smtClean="0">
                <a:latin typeface="+mj-lt"/>
                <a:ea typeface="ＭＳ Ｐゴシック" charset="-128"/>
                <a:cs typeface="ＭＳ Ｐゴシック" charset="-128"/>
              </a:rPr>
              <a:t>R1</a:t>
            </a:r>
            <a:r>
              <a:rPr lang="en-US" sz="2800" b="1" kern="0" dirty="0" smtClean="0">
                <a:latin typeface="+mj-lt"/>
                <a:ea typeface="ＭＳ Ｐゴシック" charset="-128"/>
                <a:cs typeface="ＭＳ Ｐゴシック" charset="-128"/>
              </a:rPr>
              <a:t>: Mitigations: Accountability &amp; Data</a:t>
            </a:r>
          </a:p>
        </p:txBody>
      </p:sp>
      <p:grpSp>
        <p:nvGrpSpPr>
          <p:cNvPr id="3" name="Group 15"/>
          <p:cNvGrpSpPr/>
          <p:nvPr/>
        </p:nvGrpSpPr>
        <p:grpSpPr>
          <a:xfrm>
            <a:off x="6012180" y="971550"/>
            <a:ext cx="1748789" cy="1419665"/>
            <a:chOff x="5804974" y="297180"/>
            <a:chExt cx="1944565" cy="1625405"/>
          </a:xfrm>
        </p:grpSpPr>
        <p:sp>
          <p:nvSpPr>
            <p:cNvPr id="15" name="Rectangle 14"/>
            <p:cNvSpPr/>
            <p:nvPr/>
          </p:nvSpPr>
          <p:spPr bwMode="auto">
            <a:xfrm>
              <a:off x="5804974" y="297180"/>
              <a:ext cx="1944565" cy="1625405"/>
            </a:xfrm>
            <a:prstGeom prst="rect">
              <a:avLst/>
            </a:prstGeom>
            <a:solidFill>
              <a:schemeClr val="accent1"/>
            </a:solidFill>
            <a:ln w="25400" cap="flat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82124" tIns="41061" rIns="82124" bIns="41061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814388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-112" charset="0"/>
              </a:endParaRPr>
            </a:p>
          </p:txBody>
        </p:sp>
        <p:pic>
          <p:nvPicPr>
            <p:cNvPr id="5127" name="Picture 7" descr="C:\Documents and Settings\ptelang\Local Settings\Temporary Internet Files\Content.IE5\5ZRVH9CE\dglxasset[3].aspx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864660" y="332329"/>
              <a:ext cx="1835115" cy="1544243"/>
            </a:xfrm>
            <a:prstGeom prst="rect">
              <a:avLst/>
            </a:prstGeom>
            <a:noFill/>
          </p:spPr>
        </p:pic>
      </p:grpSp>
      <p:pic>
        <p:nvPicPr>
          <p:cNvPr id="5128" name="Picture 8" descr="C:\Documents and Settings\ptelang\Local Settings\Temporary Internet Files\Content.IE5\2H0JMD4L\MP900285101[2]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74920" y="4845958"/>
            <a:ext cx="1874520" cy="1240307"/>
          </a:xfrm>
          <a:prstGeom prst="rect">
            <a:avLst/>
          </a:prstGeom>
          <a:noFill/>
        </p:spPr>
      </p:pic>
      <p:pic>
        <p:nvPicPr>
          <p:cNvPr id="21" name="Picture 20" descr="images-2.jpe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20190" y="2377115"/>
            <a:ext cx="1478280" cy="1659579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4921307" y="2606040"/>
            <a:ext cx="40855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Logical isolation of the data of multiple consumers</a:t>
            </a:r>
            <a:endParaRPr lang="en-US" sz="2000" dirty="0"/>
          </a:p>
        </p:txBody>
      </p:sp>
      <p:sp>
        <p:nvSpPr>
          <p:cNvPr id="23" name="TextBox 22"/>
          <p:cNvSpPr txBox="1"/>
          <p:nvPr/>
        </p:nvSpPr>
        <p:spPr>
          <a:xfrm>
            <a:off x="3804977" y="6187440"/>
            <a:ext cx="40855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Unique encryption keys</a:t>
            </a:r>
            <a:endParaRPr lang="en-US" sz="2000" dirty="0"/>
          </a:p>
        </p:txBody>
      </p:sp>
      <p:sp>
        <p:nvSpPr>
          <p:cNvPr id="24" name="TextBox 23"/>
          <p:cNvSpPr txBox="1"/>
          <p:nvPr/>
        </p:nvSpPr>
        <p:spPr>
          <a:xfrm>
            <a:off x="341687" y="4175760"/>
            <a:ext cx="37388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Provider fully destroys deleted data</a:t>
            </a:r>
            <a:endParaRPr lang="en-US" sz="20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2263" y="247650"/>
            <a:ext cx="8583612" cy="514350"/>
          </a:xfrm>
        </p:spPr>
        <p:txBody>
          <a:bodyPr/>
          <a:lstStyle/>
          <a:p>
            <a:r>
              <a:rPr lang="en-US" sz="2800" dirty="0" err="1" smtClean="0"/>
              <a:t>R2</a:t>
            </a:r>
            <a:r>
              <a:rPr lang="en-US" sz="2800" dirty="0" smtClean="0"/>
              <a:t>: Risk: </a:t>
            </a:r>
            <a:r>
              <a:rPr lang="en-US" dirty="0" smtClean="0">
                <a:solidFill>
                  <a:schemeClr val="tx1"/>
                </a:solidFill>
              </a:rPr>
              <a:t>User Identities</a:t>
            </a:r>
            <a:endParaRPr lang="en-US" sz="2800" dirty="0"/>
          </a:p>
        </p:txBody>
      </p:sp>
      <p:cxnSp>
        <p:nvCxnSpPr>
          <p:cNvPr id="5" name="Straight Connector 4"/>
          <p:cNvCxnSpPr/>
          <p:nvPr/>
        </p:nvCxnSpPr>
        <p:spPr bwMode="auto">
          <a:xfrm flipV="1">
            <a:off x="493713" y="4257675"/>
            <a:ext cx="5316537" cy="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10" name="Object 2"/>
          <p:cNvGraphicFramePr>
            <a:graphicFrameLocks noChangeAspect="1"/>
          </p:cNvGraphicFramePr>
          <p:nvPr/>
        </p:nvGraphicFramePr>
        <p:xfrm>
          <a:off x="1200149" y="1991679"/>
          <a:ext cx="390525" cy="547217"/>
        </p:xfrm>
        <a:graphic>
          <a:graphicData uri="http://schemas.openxmlformats.org/presentationml/2006/ole">
            <p:oleObj spid="_x0000_s18434" name="Visio" r:id="rId4" imgW="1297305" imgH="1797844" progId="Visio.Drawing.11">
              <p:embed/>
            </p:oleObj>
          </a:graphicData>
        </a:graphic>
      </p:graphicFrame>
      <p:graphicFrame>
        <p:nvGraphicFramePr>
          <p:cNvPr id="2100228" name="Object 4"/>
          <p:cNvGraphicFramePr>
            <a:graphicFrameLocks noChangeAspect="1"/>
          </p:cNvGraphicFramePr>
          <p:nvPr/>
        </p:nvGraphicFramePr>
        <p:xfrm>
          <a:off x="3812381" y="2341017"/>
          <a:ext cx="319088" cy="447675"/>
        </p:xfrm>
        <a:graphic>
          <a:graphicData uri="http://schemas.openxmlformats.org/presentationml/2006/ole">
            <p:oleObj spid="_x0000_s18435" name="Visio" r:id="rId5" imgW="1245524" imgH="1746019" progId="Visio.Drawing.11">
              <p:embed/>
            </p:oleObj>
          </a:graphicData>
        </a:graphic>
      </p:graphicFrame>
      <p:graphicFrame>
        <p:nvGraphicFramePr>
          <p:cNvPr id="2100229" name="Object 5"/>
          <p:cNvGraphicFramePr>
            <a:graphicFrameLocks noChangeAspect="1"/>
          </p:cNvGraphicFramePr>
          <p:nvPr/>
        </p:nvGraphicFramePr>
        <p:xfrm>
          <a:off x="5343524" y="2705100"/>
          <a:ext cx="390525" cy="547217"/>
        </p:xfrm>
        <a:graphic>
          <a:graphicData uri="http://schemas.openxmlformats.org/presentationml/2006/ole">
            <p:oleObj spid="_x0000_s18436" name="Visio" r:id="rId6" imgW="1297449" imgH="1797726" progId="Visio.Drawing.11">
              <p:embed/>
            </p:oleObj>
          </a:graphicData>
        </a:graphic>
      </p:graphicFrame>
      <p:graphicFrame>
        <p:nvGraphicFramePr>
          <p:cNvPr id="2100230" name="Object 6"/>
          <p:cNvGraphicFramePr>
            <a:graphicFrameLocks noChangeAspect="1"/>
          </p:cNvGraphicFramePr>
          <p:nvPr/>
        </p:nvGraphicFramePr>
        <p:xfrm>
          <a:off x="2857577" y="1907307"/>
          <a:ext cx="296863" cy="415925"/>
        </p:xfrm>
        <a:graphic>
          <a:graphicData uri="http://schemas.openxmlformats.org/presentationml/2006/ole">
            <p:oleObj spid="_x0000_s18437" name="Visio" r:id="rId7" imgW="1245524" imgH="1746019" progId="Visio.Drawing.11">
              <p:embed/>
            </p:oleObj>
          </a:graphicData>
        </a:graphic>
      </p:graphicFrame>
      <p:sp>
        <p:nvSpPr>
          <p:cNvPr id="17" name="Cloud Callout 16"/>
          <p:cNvSpPr/>
          <p:nvPr/>
        </p:nvSpPr>
        <p:spPr bwMode="auto">
          <a:xfrm>
            <a:off x="704850" y="4533900"/>
            <a:ext cx="3590924" cy="1866900"/>
          </a:xfrm>
          <a:prstGeom prst="cloudCallout">
            <a:avLst>
              <a:gd name="adj1" fmla="val 18819"/>
              <a:gd name="adj2" fmla="val 44925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8925" marR="0" indent="-288925" algn="ctr" defTabSz="814388" rtl="0" eaLnBrk="0" fontAlgn="base" latinLnBrk="0" hangingPunct="0">
              <a:lnSpc>
                <a:spcPct val="9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tabLst/>
            </a:pPr>
            <a:endParaRPr kumimoji="0" lang="en-US" sz="4000" b="1" i="0" u="none" strike="noStrike" cap="none" normalizeH="0" baseline="0" smtClean="0">
              <a:ln>
                <a:noFill/>
              </a:ln>
              <a:solidFill>
                <a:schemeClr val="accent2"/>
              </a:solidFill>
              <a:effectLst/>
              <a:latin typeface="Arial" charset="0"/>
            </a:endParaRPr>
          </a:p>
        </p:txBody>
      </p:sp>
      <p:graphicFrame>
        <p:nvGraphicFramePr>
          <p:cNvPr id="18" name="Object 4"/>
          <p:cNvGraphicFramePr>
            <a:graphicFrameLocks noChangeAspect="1"/>
          </p:cNvGraphicFramePr>
          <p:nvPr/>
        </p:nvGraphicFramePr>
        <p:xfrm>
          <a:off x="1871739" y="5231371"/>
          <a:ext cx="319088" cy="447675"/>
        </p:xfrm>
        <a:graphic>
          <a:graphicData uri="http://schemas.openxmlformats.org/presentationml/2006/ole">
            <p:oleObj spid="_x0000_s18438" name="Visio" r:id="rId8" imgW="1245524" imgH="1746019" progId="Visio.Drawing.11">
              <p:embed/>
            </p:oleObj>
          </a:graphicData>
        </a:graphic>
      </p:graphicFrame>
      <p:sp>
        <p:nvSpPr>
          <p:cNvPr id="22" name="Cloud Callout 21"/>
          <p:cNvSpPr/>
          <p:nvPr/>
        </p:nvSpPr>
        <p:spPr bwMode="auto">
          <a:xfrm>
            <a:off x="638175" y="2543175"/>
            <a:ext cx="1323974" cy="666750"/>
          </a:xfrm>
          <a:prstGeom prst="cloudCallout">
            <a:avLst>
              <a:gd name="adj1" fmla="val 11387"/>
              <a:gd name="adj2" fmla="val -984"/>
            </a:avLst>
          </a:prstGeom>
          <a:solidFill>
            <a:srgbClr val="7030A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8925" marR="0" indent="-288925" algn="ctr" defTabSz="814388" rtl="0" eaLnBrk="0" fontAlgn="base" latinLnBrk="0" hangingPunct="0">
              <a:lnSpc>
                <a:spcPct val="9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tabLst/>
            </a:pPr>
            <a:endParaRPr kumimoji="0" lang="en-US" sz="4000" b="1" i="0" u="none" strike="noStrike" cap="none" normalizeH="0" baseline="0" smtClean="0">
              <a:ln>
                <a:noFill/>
              </a:ln>
              <a:solidFill>
                <a:schemeClr val="accent2"/>
              </a:solidFill>
              <a:effectLst/>
              <a:latin typeface="Arial" charset="0"/>
            </a:endParaRPr>
          </a:p>
        </p:txBody>
      </p:sp>
      <p:sp>
        <p:nvSpPr>
          <p:cNvPr id="23" name="Cloud Callout 22"/>
          <p:cNvSpPr/>
          <p:nvPr/>
        </p:nvSpPr>
        <p:spPr bwMode="auto">
          <a:xfrm>
            <a:off x="2343150" y="2514600"/>
            <a:ext cx="1323974" cy="666750"/>
          </a:xfrm>
          <a:prstGeom prst="cloudCallout">
            <a:avLst>
              <a:gd name="adj1" fmla="val 11387"/>
              <a:gd name="adj2" fmla="val -984"/>
            </a:avLst>
          </a:prstGeom>
          <a:solidFill>
            <a:srgbClr val="92D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8925" marR="0" indent="-288925" algn="ctr" defTabSz="814388" rtl="0" eaLnBrk="0" fontAlgn="base" latinLnBrk="0" hangingPunct="0">
              <a:lnSpc>
                <a:spcPct val="9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tabLst/>
            </a:pPr>
            <a:endParaRPr kumimoji="0" lang="en-US" sz="4000" b="1" i="0" u="none" strike="noStrike" cap="none" normalizeH="0" baseline="0" smtClean="0">
              <a:ln>
                <a:noFill/>
              </a:ln>
              <a:solidFill>
                <a:schemeClr val="accent2"/>
              </a:solidFill>
              <a:effectLst/>
              <a:latin typeface="Arial" charset="0"/>
            </a:endParaRPr>
          </a:p>
        </p:txBody>
      </p:sp>
      <p:sp>
        <p:nvSpPr>
          <p:cNvPr id="24" name="Cloud Callout 23"/>
          <p:cNvSpPr/>
          <p:nvPr/>
        </p:nvSpPr>
        <p:spPr bwMode="auto">
          <a:xfrm>
            <a:off x="3733800" y="2628900"/>
            <a:ext cx="1323974" cy="666750"/>
          </a:xfrm>
          <a:prstGeom prst="cloudCallout">
            <a:avLst>
              <a:gd name="adj1" fmla="val 11387"/>
              <a:gd name="adj2" fmla="val -984"/>
            </a:avLst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8925" marR="0" indent="-288925" algn="ctr" defTabSz="814388" rtl="0" eaLnBrk="0" fontAlgn="base" latinLnBrk="0" hangingPunct="0">
              <a:lnSpc>
                <a:spcPct val="9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tabLst/>
            </a:pPr>
            <a:endParaRPr kumimoji="0" lang="en-US" sz="4000" b="1" i="0" u="none" strike="noStrike" cap="none" normalizeH="0" baseline="0" smtClean="0">
              <a:ln>
                <a:noFill/>
              </a:ln>
              <a:solidFill>
                <a:schemeClr val="accent2"/>
              </a:solidFill>
              <a:effectLst/>
              <a:latin typeface="Arial" charset="0"/>
            </a:endParaRPr>
          </a:p>
        </p:txBody>
      </p:sp>
      <p:sp>
        <p:nvSpPr>
          <p:cNvPr id="25" name="Cloud Callout 24"/>
          <p:cNvSpPr/>
          <p:nvPr/>
        </p:nvSpPr>
        <p:spPr bwMode="auto">
          <a:xfrm>
            <a:off x="4800600" y="3267075"/>
            <a:ext cx="1323974" cy="666750"/>
          </a:xfrm>
          <a:prstGeom prst="cloudCallout">
            <a:avLst>
              <a:gd name="adj1" fmla="val 11387"/>
              <a:gd name="adj2" fmla="val -984"/>
            </a:avLst>
          </a:prstGeom>
          <a:solidFill>
            <a:srgbClr val="FFC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8925" marR="0" indent="-288925" algn="ctr" defTabSz="814388" rtl="0" eaLnBrk="0" fontAlgn="base" latinLnBrk="0" hangingPunct="0">
              <a:lnSpc>
                <a:spcPct val="9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tabLst/>
            </a:pPr>
            <a:endParaRPr kumimoji="0" lang="en-US" sz="4000" b="1" i="0" u="none" strike="noStrike" cap="none" normalizeH="0" baseline="0" smtClean="0">
              <a:ln>
                <a:noFill/>
              </a:ln>
              <a:solidFill>
                <a:schemeClr val="accent2"/>
              </a:solidFill>
              <a:effectLst/>
              <a:latin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752128" y="5715000"/>
            <a:ext cx="1119217" cy="3139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/>
              <a:t>Enterprise</a:t>
            </a:r>
            <a:endParaRPr lang="en-US" dirty="0"/>
          </a:p>
        </p:txBody>
      </p:sp>
      <p:pic>
        <p:nvPicPr>
          <p:cNvPr id="4110" name="Picture 14" descr="http://blogit.realwire.com/media/Webex_4color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349057" y="2420937"/>
            <a:ext cx="692968" cy="265113"/>
          </a:xfrm>
          <a:prstGeom prst="rect">
            <a:avLst/>
          </a:prstGeom>
          <a:noFill/>
        </p:spPr>
      </p:pic>
      <p:pic>
        <p:nvPicPr>
          <p:cNvPr id="4114" name="Picture 18" descr="http://www.makanasolutions.com/Portals/1085/images/salesforce%20logo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42159" y="1552575"/>
            <a:ext cx="1442165" cy="409575"/>
          </a:xfrm>
          <a:prstGeom prst="rect">
            <a:avLst/>
          </a:prstGeom>
          <a:noFill/>
        </p:spPr>
      </p:pic>
      <p:pic>
        <p:nvPicPr>
          <p:cNvPr id="4120" name="Picture 24" descr="google apps logo image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4010024" y="1985962"/>
            <a:ext cx="746125" cy="512961"/>
          </a:xfrm>
          <a:prstGeom prst="rect">
            <a:avLst/>
          </a:prstGeom>
          <a:noFill/>
        </p:spPr>
      </p:pic>
      <p:cxnSp>
        <p:nvCxnSpPr>
          <p:cNvPr id="33" name="Straight Connector 32"/>
          <p:cNvCxnSpPr/>
          <p:nvPr/>
        </p:nvCxnSpPr>
        <p:spPr bwMode="auto">
          <a:xfrm flipV="1">
            <a:off x="2333625" y="3800475"/>
            <a:ext cx="3086100" cy="151447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6" name="Straight Connector 35"/>
          <p:cNvCxnSpPr/>
          <p:nvPr/>
        </p:nvCxnSpPr>
        <p:spPr bwMode="auto">
          <a:xfrm rot="5400000" flipH="1" flipV="1">
            <a:off x="1847855" y="3171828"/>
            <a:ext cx="2409821" cy="174307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8" name="Straight Connector 37"/>
          <p:cNvCxnSpPr/>
          <p:nvPr/>
        </p:nvCxnSpPr>
        <p:spPr bwMode="auto">
          <a:xfrm rot="5400000" flipH="1" flipV="1">
            <a:off x="1090614" y="3367087"/>
            <a:ext cx="2809876" cy="78105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9" name="Straight Connector 38"/>
          <p:cNvCxnSpPr/>
          <p:nvPr/>
        </p:nvCxnSpPr>
        <p:spPr bwMode="auto">
          <a:xfrm rot="16200000" flipV="1">
            <a:off x="366714" y="3586163"/>
            <a:ext cx="2647948" cy="56197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66" name="TextBox 65"/>
          <p:cNvSpPr txBox="1"/>
          <p:nvPr/>
        </p:nvSpPr>
        <p:spPr>
          <a:xfrm>
            <a:off x="6238875" y="2009775"/>
            <a:ext cx="2676525" cy="1908215"/>
          </a:xfrm>
          <a:prstGeom prst="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2800" b="1" dirty="0" smtClean="0">
                <a:latin typeface="Arial Narrow" pitchFamily="34" charset="0"/>
              </a:rPr>
              <a:t>Security Risks</a:t>
            </a:r>
          </a:p>
          <a:p>
            <a:pPr marL="342900" indent="-342900" algn="l">
              <a:buAutoNum type="arabicPeriod"/>
            </a:pPr>
            <a:r>
              <a:rPr lang="en-US" dirty="0" smtClean="0">
                <a:latin typeface="Arial Narrow" pitchFamily="34" charset="0"/>
              </a:rPr>
              <a:t>Managing Identities across multiple providers</a:t>
            </a:r>
          </a:p>
          <a:p>
            <a:pPr marL="342900" indent="-342900" algn="l">
              <a:buFontTx/>
              <a:buAutoNum type="arabicPeriod"/>
            </a:pPr>
            <a:r>
              <a:rPr lang="en-US" dirty="0" smtClean="0">
                <a:latin typeface="Arial Narrow" pitchFamily="34" charset="0"/>
              </a:rPr>
              <a:t>Less control over user lifecycle (off-boarding)</a:t>
            </a:r>
          </a:p>
          <a:p>
            <a:pPr marL="342900" indent="-342900" algn="l">
              <a:buFontTx/>
              <a:buAutoNum type="arabicPeriod"/>
            </a:pPr>
            <a:r>
              <a:rPr lang="en-US" dirty="0" smtClean="0">
                <a:latin typeface="Arial Narrow" pitchFamily="34" charset="0"/>
              </a:rPr>
              <a:t>User experience </a:t>
            </a:r>
          </a:p>
        </p:txBody>
      </p:sp>
      <p:pic>
        <p:nvPicPr>
          <p:cNvPr id="26" name="Picture 12" descr="http://cyclingsavvy.org/wp-content/uploads/2011/02/facebook-logo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2514601" y="1524000"/>
            <a:ext cx="914399" cy="344043"/>
          </a:xfrm>
          <a:prstGeom prst="rect">
            <a:avLst/>
          </a:prstGeom>
          <a:noFill/>
        </p:spPr>
      </p:pic>
      <p:sp>
        <p:nvSpPr>
          <p:cNvPr id="28" name="Title 1"/>
          <p:cNvSpPr txBox="1">
            <a:spLocks/>
          </p:cNvSpPr>
          <p:nvPr/>
        </p:nvSpPr>
        <p:spPr bwMode="auto">
          <a:xfrm>
            <a:off x="533400" y="3581400"/>
            <a:ext cx="4164012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i="0" u="none" strike="noStrike" kern="0" cap="none" spc="0" normalizeH="0" baseline="0" noProof="0" dirty="0" smtClean="0">
                <a:ln>
                  <a:noFill/>
                </a:ln>
                <a:solidFill>
                  <a:srgbClr val="CC3300"/>
                </a:solidFill>
                <a:effectLst/>
                <a:uLnTx/>
                <a:uFillTx/>
                <a:ea typeface="+mj-ea"/>
                <a:cs typeface="Times New Roman" pitchFamily="18" charset="0"/>
              </a:rPr>
              <a:t>Islands of User</a:t>
            </a:r>
            <a:r>
              <a:rPr kumimoji="0" lang="en-US" sz="2800" i="0" u="none" strike="noStrike" kern="0" cap="none" spc="0" normalizeH="0" noProof="0" dirty="0" smtClean="0">
                <a:ln>
                  <a:noFill/>
                </a:ln>
                <a:solidFill>
                  <a:srgbClr val="CC3300"/>
                </a:solidFill>
                <a:effectLst/>
                <a:uLnTx/>
                <a:uFillTx/>
                <a:ea typeface="+mj-ea"/>
                <a:cs typeface="Times New Roman" pitchFamily="18" charset="0"/>
              </a:rPr>
              <a:t> Identities</a:t>
            </a:r>
            <a:endParaRPr kumimoji="0" lang="en-US" sz="2800" i="0" u="none" strike="noStrike" kern="0" cap="none" spc="0" normalizeH="0" baseline="0" noProof="0" dirty="0">
              <a:ln>
                <a:noFill/>
              </a:ln>
              <a:solidFill>
                <a:srgbClr val="CC3300"/>
              </a:solidFill>
              <a:effectLst/>
              <a:uLnTx/>
              <a:uFillTx/>
              <a:ea typeface="+mj-ea"/>
              <a:cs typeface="Times New Roman" pitchFamily="18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6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6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0" dur="500"/>
                                        <p:tgtEl>
                                          <p:spTgt spid="6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5" dur="500"/>
                                        <p:tgtEl>
                                          <p:spTgt spid="6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6" grpId="0" uiExpand="1" build="allAtOnce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2263" y="247650"/>
            <a:ext cx="8583612" cy="514350"/>
          </a:xfrm>
        </p:spPr>
        <p:txBody>
          <a:bodyPr/>
          <a:lstStyle/>
          <a:p>
            <a:r>
              <a:rPr lang="en-US" sz="2800" dirty="0" err="1" smtClean="0">
                <a:solidFill>
                  <a:schemeClr val="tx1"/>
                </a:solidFill>
              </a:rPr>
              <a:t>R2</a:t>
            </a:r>
            <a:r>
              <a:rPr lang="en-US" sz="2800" dirty="0" smtClean="0">
                <a:solidFill>
                  <a:schemeClr val="tx1"/>
                </a:solidFill>
              </a:rPr>
              <a:t>: Mitigations: User Identities</a:t>
            </a:r>
            <a:endParaRPr lang="en-US" sz="2800" dirty="0">
              <a:solidFill>
                <a:schemeClr val="tx1"/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 bwMode="auto">
          <a:xfrm flipV="1">
            <a:off x="531813" y="3790950"/>
            <a:ext cx="5611812" cy="2857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7" name="Cloud Callout 16"/>
          <p:cNvSpPr/>
          <p:nvPr/>
        </p:nvSpPr>
        <p:spPr bwMode="auto">
          <a:xfrm>
            <a:off x="504825" y="4552950"/>
            <a:ext cx="3571875" cy="2085975"/>
          </a:xfrm>
          <a:prstGeom prst="cloudCallout">
            <a:avLst>
              <a:gd name="adj1" fmla="val 18819"/>
              <a:gd name="adj2" fmla="val 44925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8925" marR="0" indent="-288925" algn="ctr" defTabSz="814388" rtl="0" eaLnBrk="0" fontAlgn="base" latinLnBrk="0" hangingPunct="0">
              <a:lnSpc>
                <a:spcPct val="9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tabLst/>
            </a:pPr>
            <a:endParaRPr kumimoji="0" lang="en-US" sz="4000" b="1" i="0" u="none" strike="noStrike" cap="none" normalizeH="0" baseline="0" smtClean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22" name="Cloud Callout 21"/>
          <p:cNvSpPr/>
          <p:nvPr/>
        </p:nvSpPr>
        <p:spPr bwMode="auto">
          <a:xfrm>
            <a:off x="333375" y="2752725"/>
            <a:ext cx="1323974" cy="666750"/>
          </a:xfrm>
          <a:prstGeom prst="cloudCallout">
            <a:avLst>
              <a:gd name="adj1" fmla="val 11387"/>
              <a:gd name="adj2" fmla="val -984"/>
            </a:avLst>
          </a:prstGeom>
          <a:solidFill>
            <a:srgbClr val="7030A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8925" marR="0" indent="-288925" algn="ctr" defTabSz="814388" rtl="0" eaLnBrk="0" fontAlgn="base" latinLnBrk="0" hangingPunct="0">
              <a:lnSpc>
                <a:spcPct val="9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tabLst/>
            </a:pPr>
            <a:endParaRPr kumimoji="0" lang="en-US" sz="4000" b="1" i="0" u="none" strike="noStrike" cap="none" normalizeH="0" baseline="0" smtClean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23" name="Cloud Callout 22"/>
          <p:cNvSpPr/>
          <p:nvPr/>
        </p:nvSpPr>
        <p:spPr bwMode="auto">
          <a:xfrm>
            <a:off x="1876425" y="2381250"/>
            <a:ext cx="1323974" cy="666750"/>
          </a:xfrm>
          <a:prstGeom prst="cloudCallout">
            <a:avLst>
              <a:gd name="adj1" fmla="val 11387"/>
              <a:gd name="adj2" fmla="val -984"/>
            </a:avLst>
          </a:prstGeom>
          <a:solidFill>
            <a:srgbClr val="92D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8925" marR="0" indent="-288925" algn="ctr" defTabSz="814388" rtl="0" eaLnBrk="0" fontAlgn="base" latinLnBrk="0" hangingPunct="0">
              <a:lnSpc>
                <a:spcPct val="9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tabLst/>
            </a:pPr>
            <a:endParaRPr kumimoji="0" lang="en-US" sz="4000" b="1" i="0" u="none" strike="noStrike" cap="none" normalizeH="0" baseline="0" smtClean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24" name="Cloud Callout 23"/>
          <p:cNvSpPr/>
          <p:nvPr/>
        </p:nvSpPr>
        <p:spPr bwMode="auto">
          <a:xfrm>
            <a:off x="3409950" y="2457450"/>
            <a:ext cx="1323974" cy="666750"/>
          </a:xfrm>
          <a:prstGeom prst="cloudCallout">
            <a:avLst>
              <a:gd name="adj1" fmla="val 11387"/>
              <a:gd name="adj2" fmla="val -984"/>
            </a:avLst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8925" marR="0" indent="-288925" algn="ctr" defTabSz="814388" rtl="0" eaLnBrk="0" fontAlgn="base" latinLnBrk="0" hangingPunct="0">
              <a:lnSpc>
                <a:spcPct val="9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tabLst/>
            </a:pPr>
            <a:endParaRPr kumimoji="0" lang="en-US" sz="4000" b="1" i="0" u="none" strike="noStrike" cap="none" normalizeH="0" baseline="0" smtClean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25" name="Cloud Callout 24"/>
          <p:cNvSpPr/>
          <p:nvPr/>
        </p:nvSpPr>
        <p:spPr bwMode="auto">
          <a:xfrm>
            <a:off x="4819650" y="2809875"/>
            <a:ext cx="1143000" cy="628650"/>
          </a:xfrm>
          <a:prstGeom prst="cloudCallout">
            <a:avLst>
              <a:gd name="adj1" fmla="val 11387"/>
              <a:gd name="adj2" fmla="val -984"/>
            </a:avLst>
          </a:prstGeom>
          <a:solidFill>
            <a:srgbClr val="FFC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8925" marR="0" indent="-288925" algn="ctr" defTabSz="814388" rtl="0" eaLnBrk="0" fontAlgn="base" latinLnBrk="0" hangingPunct="0">
              <a:lnSpc>
                <a:spcPct val="9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tabLst/>
            </a:pPr>
            <a:endParaRPr kumimoji="0" lang="en-US" sz="4000" b="1" i="0" u="none" strike="noStrike" cap="none" normalizeH="0" baseline="0" smtClean="0">
              <a:ln>
                <a:noFill/>
              </a:ln>
              <a:effectLst/>
              <a:latin typeface="Arial" charset="0"/>
            </a:endParaRPr>
          </a:p>
        </p:txBody>
      </p:sp>
      <p:pic>
        <p:nvPicPr>
          <p:cNvPr id="4110" name="Picture 14" descr="http://blogit.realwire.com/media/Webex_4color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491932" y="2430462"/>
            <a:ext cx="692968" cy="265113"/>
          </a:xfrm>
          <a:prstGeom prst="rect">
            <a:avLst/>
          </a:prstGeom>
          <a:noFill/>
        </p:spPr>
      </p:pic>
      <p:pic>
        <p:nvPicPr>
          <p:cNvPr id="4114" name="Picture 18" descr="http://www.makanasolutions.com/Portals/1085/images/salesforce%20logo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04084" y="1590675"/>
            <a:ext cx="1442165" cy="409575"/>
          </a:xfrm>
          <a:prstGeom prst="rect">
            <a:avLst/>
          </a:prstGeom>
          <a:noFill/>
        </p:spPr>
      </p:pic>
      <p:pic>
        <p:nvPicPr>
          <p:cNvPr id="4120" name="Picture 24" descr="google apps logo image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133849" y="1947862"/>
            <a:ext cx="746125" cy="512961"/>
          </a:xfrm>
          <a:prstGeom prst="rect">
            <a:avLst/>
          </a:prstGeom>
          <a:noFill/>
        </p:spPr>
      </p:pic>
      <p:cxnSp>
        <p:nvCxnSpPr>
          <p:cNvPr id="33" name="Straight Connector 32"/>
          <p:cNvCxnSpPr/>
          <p:nvPr/>
        </p:nvCxnSpPr>
        <p:spPr bwMode="auto">
          <a:xfrm flipV="1">
            <a:off x="2162175" y="2771775"/>
            <a:ext cx="2847975" cy="229552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6" name="Straight Connector 35"/>
          <p:cNvCxnSpPr/>
          <p:nvPr/>
        </p:nvCxnSpPr>
        <p:spPr bwMode="auto">
          <a:xfrm rot="5400000" flipH="1" flipV="1">
            <a:off x="1743078" y="2771773"/>
            <a:ext cx="2562224" cy="176213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8" name="Straight Connector 37"/>
          <p:cNvCxnSpPr/>
          <p:nvPr/>
        </p:nvCxnSpPr>
        <p:spPr bwMode="auto">
          <a:xfrm rot="5400000" flipH="1" flipV="1">
            <a:off x="1066801" y="3286125"/>
            <a:ext cx="2466975" cy="58102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9" name="Straight Connector 38"/>
          <p:cNvCxnSpPr/>
          <p:nvPr/>
        </p:nvCxnSpPr>
        <p:spPr bwMode="auto">
          <a:xfrm rot="16200000" flipV="1">
            <a:off x="157165" y="3424240"/>
            <a:ext cx="2447923" cy="85724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26" name="Object 4"/>
          <p:cNvGraphicFramePr>
            <a:graphicFrameLocks noChangeAspect="1"/>
          </p:cNvGraphicFramePr>
          <p:nvPr/>
        </p:nvGraphicFramePr>
        <p:xfrm>
          <a:off x="647700" y="2200275"/>
          <a:ext cx="314325" cy="447675"/>
        </p:xfrm>
        <a:graphic>
          <a:graphicData uri="http://schemas.openxmlformats.org/presentationml/2006/ole">
            <p:oleObj spid="_x0000_s19458" name="Visio" r:id="rId7" imgW="1297449" imgH="1797726" progId="Visio.Drawing.11">
              <p:embed/>
            </p:oleObj>
          </a:graphicData>
        </a:graphic>
      </p:graphicFrame>
      <p:graphicFrame>
        <p:nvGraphicFramePr>
          <p:cNvPr id="28" name="Object 4"/>
          <p:cNvGraphicFramePr>
            <a:graphicFrameLocks noChangeAspect="1"/>
          </p:cNvGraphicFramePr>
          <p:nvPr/>
        </p:nvGraphicFramePr>
        <p:xfrm>
          <a:off x="2447925" y="1914525"/>
          <a:ext cx="314325" cy="447675"/>
        </p:xfrm>
        <a:graphic>
          <a:graphicData uri="http://schemas.openxmlformats.org/presentationml/2006/ole">
            <p:oleObj spid="_x0000_s19459" name="Visio" r:id="rId8" imgW="1297449" imgH="1797726" progId="Visio.Drawing.11">
              <p:embed/>
            </p:oleObj>
          </a:graphicData>
        </a:graphic>
      </p:graphicFrame>
      <p:graphicFrame>
        <p:nvGraphicFramePr>
          <p:cNvPr id="29" name="Object 4"/>
          <p:cNvGraphicFramePr>
            <a:graphicFrameLocks noChangeAspect="1"/>
          </p:cNvGraphicFramePr>
          <p:nvPr/>
        </p:nvGraphicFramePr>
        <p:xfrm>
          <a:off x="3714750" y="1971675"/>
          <a:ext cx="314325" cy="447675"/>
        </p:xfrm>
        <a:graphic>
          <a:graphicData uri="http://schemas.openxmlformats.org/presentationml/2006/ole">
            <p:oleObj spid="_x0000_s19460" name="Visio" r:id="rId9" imgW="1297449" imgH="1797726" progId="Visio.Drawing.11">
              <p:embed/>
            </p:oleObj>
          </a:graphicData>
        </a:graphic>
      </p:graphicFrame>
      <p:graphicFrame>
        <p:nvGraphicFramePr>
          <p:cNvPr id="30" name="Object 4"/>
          <p:cNvGraphicFramePr>
            <a:graphicFrameLocks noChangeAspect="1"/>
          </p:cNvGraphicFramePr>
          <p:nvPr/>
        </p:nvGraphicFramePr>
        <p:xfrm>
          <a:off x="1838325" y="4890943"/>
          <a:ext cx="351210" cy="500208"/>
        </p:xfrm>
        <a:graphic>
          <a:graphicData uri="http://schemas.openxmlformats.org/presentationml/2006/ole">
            <p:oleObj spid="_x0000_s19461" name="Visio" r:id="rId10" imgW="1297449" imgH="1797726" progId="Visio.Drawing.11">
              <p:embed/>
            </p:oleObj>
          </a:graphicData>
        </a:graphic>
      </p:graphicFrame>
      <p:graphicFrame>
        <p:nvGraphicFramePr>
          <p:cNvPr id="31" name="Object 4"/>
          <p:cNvGraphicFramePr>
            <a:graphicFrameLocks noChangeAspect="1"/>
          </p:cNvGraphicFramePr>
          <p:nvPr/>
        </p:nvGraphicFramePr>
        <p:xfrm>
          <a:off x="5019675" y="2381250"/>
          <a:ext cx="314325" cy="447675"/>
        </p:xfrm>
        <a:graphic>
          <a:graphicData uri="http://schemas.openxmlformats.org/presentationml/2006/ole">
            <p:oleObj spid="_x0000_s19462" name="Visio" r:id="rId11" imgW="1297449" imgH="1797726" progId="Visio.Drawing.11">
              <p:embed/>
            </p:oleObj>
          </a:graphicData>
        </a:graphic>
      </p:graphicFrame>
      <p:pic>
        <p:nvPicPr>
          <p:cNvPr id="32" name="Picture 25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809750" y="5374375"/>
            <a:ext cx="383137" cy="567865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</p:pic>
      <p:sp>
        <p:nvSpPr>
          <p:cNvPr id="34" name="TextBox 33"/>
          <p:cNvSpPr txBox="1"/>
          <p:nvPr/>
        </p:nvSpPr>
        <p:spPr>
          <a:xfrm>
            <a:off x="2362200" y="4953000"/>
            <a:ext cx="18738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rgbClr val="004C22"/>
                </a:solidFill>
              </a:rPr>
              <a:t>Identity Federation</a:t>
            </a:r>
            <a:endParaRPr lang="en-US" sz="2400" b="1" dirty="0">
              <a:solidFill>
                <a:srgbClr val="004C22"/>
              </a:solidFill>
            </a:endParaRPr>
          </a:p>
        </p:txBody>
      </p:sp>
      <p:grpSp>
        <p:nvGrpSpPr>
          <p:cNvPr id="3" name="Group 40"/>
          <p:cNvGrpSpPr/>
          <p:nvPr/>
        </p:nvGrpSpPr>
        <p:grpSpPr>
          <a:xfrm>
            <a:off x="1581151" y="3505200"/>
            <a:ext cx="1317059" cy="791734"/>
            <a:chOff x="6677024" y="4377963"/>
            <a:chExt cx="1315445" cy="887508"/>
          </a:xfrm>
        </p:grpSpPr>
        <p:sp>
          <p:nvSpPr>
            <p:cNvPr id="40" name="Rounded Rectangle 39"/>
            <p:cNvSpPr/>
            <p:nvPr/>
          </p:nvSpPr>
          <p:spPr bwMode="auto">
            <a:xfrm>
              <a:off x="6677024" y="4462092"/>
              <a:ext cx="1314451" cy="515091"/>
            </a:xfrm>
            <a:prstGeom prst="roundRect">
              <a:avLst/>
            </a:prstGeom>
            <a:solidFill>
              <a:schemeClr val="bg1">
                <a:lumMod val="50000"/>
                <a:lumOff val="50000"/>
              </a:schemeClr>
            </a:solidFill>
            <a:ln w="25400" cap="flat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82124" tIns="41061" rIns="82124" bIns="41061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814388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effectLst/>
                <a:latin typeface="Arial" pitchFamily="-112" charset="0"/>
              </a:endParaRPr>
            </a:p>
          </p:txBody>
        </p:sp>
        <p:pic>
          <p:nvPicPr>
            <p:cNvPr id="54285" name="Picture 13" descr="http://twitgoo.com/images/oauth-icon.png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7124700" y="4797426"/>
              <a:ext cx="469899" cy="468045"/>
            </a:xfrm>
            <a:prstGeom prst="rect">
              <a:avLst/>
            </a:prstGeom>
            <a:noFill/>
          </p:spPr>
        </p:pic>
        <p:sp>
          <p:nvSpPr>
            <p:cNvPr id="37" name="TextBox 36"/>
            <p:cNvSpPr txBox="1"/>
            <p:nvPr/>
          </p:nvSpPr>
          <p:spPr>
            <a:xfrm>
              <a:off x="6772157" y="4377963"/>
              <a:ext cx="1220312" cy="58651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b="1" dirty="0" smtClean="0"/>
                <a:t>SAML</a:t>
              </a:r>
              <a:endParaRPr lang="en-US" sz="4000" b="1" dirty="0"/>
            </a:p>
          </p:txBody>
        </p:sp>
      </p:grpSp>
      <p:sp>
        <p:nvSpPr>
          <p:cNvPr id="53" name="TextBox 52"/>
          <p:cNvSpPr txBox="1"/>
          <p:nvPr/>
        </p:nvSpPr>
        <p:spPr>
          <a:xfrm>
            <a:off x="6305550" y="2962275"/>
            <a:ext cx="2676525" cy="1908215"/>
          </a:xfrm>
          <a:prstGeom prst="rect">
            <a:avLst/>
          </a:prstGeom>
          <a:solidFill>
            <a:srgbClr val="00B050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chemeClr val="tx1"/>
                </a:solidFill>
                <a:latin typeface="Arial Narrow" pitchFamily="34" charset="0"/>
              </a:rPr>
              <a:t>Mitigations</a:t>
            </a:r>
          </a:p>
          <a:p>
            <a:pPr marL="342900" indent="-342900" algn="l">
              <a:buAutoNum type="arabicPeriod"/>
            </a:pPr>
            <a:r>
              <a:rPr lang="en-US" dirty="0" smtClean="0">
                <a:solidFill>
                  <a:schemeClr val="tx1"/>
                </a:solidFill>
                <a:latin typeface="Arial Narrow" pitchFamily="34" charset="0"/>
              </a:rPr>
              <a:t>Federated Identity</a:t>
            </a:r>
          </a:p>
          <a:p>
            <a:pPr marL="342900" indent="-342900" algn="l">
              <a:buFontTx/>
              <a:buAutoNum type="arabicPeriod"/>
            </a:pPr>
            <a:r>
              <a:rPr lang="en-US" dirty="0" err="1" smtClean="0">
                <a:solidFill>
                  <a:schemeClr val="tx1"/>
                </a:solidFill>
                <a:latin typeface="Arial Narrow" pitchFamily="34" charset="0"/>
              </a:rPr>
              <a:t>OAuth</a:t>
            </a:r>
            <a:r>
              <a:rPr lang="en-US" dirty="0" smtClean="0">
                <a:solidFill>
                  <a:schemeClr val="tx1"/>
                </a:solidFill>
                <a:latin typeface="Arial Narrow" pitchFamily="34" charset="0"/>
              </a:rPr>
              <a:t> for backend integrations</a:t>
            </a:r>
          </a:p>
          <a:p>
            <a:pPr marL="342900" indent="-342900" algn="l">
              <a:buFontTx/>
              <a:buAutoNum type="arabicPeriod"/>
            </a:pPr>
            <a:r>
              <a:rPr lang="en-US" dirty="0" smtClean="0">
                <a:solidFill>
                  <a:schemeClr val="tx1"/>
                </a:solidFill>
                <a:latin typeface="Arial Narrow" pitchFamily="34" charset="0"/>
              </a:rPr>
              <a:t>Tighter user provisioning controls</a:t>
            </a:r>
          </a:p>
        </p:txBody>
      </p:sp>
      <p:pic>
        <p:nvPicPr>
          <p:cNvPr id="35" name="Picture 12" descr="http://cyclingsavvy.org/wp-content/uploads/2011/02/facebook-logo.jpg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2209800" y="1524000"/>
            <a:ext cx="914399" cy="344043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5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5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0" dur="500"/>
                                        <p:tgtEl>
                                          <p:spTgt spid="5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5" dur="500"/>
                                        <p:tgtEl>
                                          <p:spTgt spid="5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 build="allAtOnce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8" name="Rectangle 8"/>
          <p:cNvSpPr>
            <a:spLocks noGrp="1" noChangeArrowheads="1"/>
          </p:cNvSpPr>
          <p:nvPr>
            <p:ph type="title"/>
          </p:nvPr>
        </p:nvSpPr>
        <p:spPr>
          <a:xfrm>
            <a:off x="381000" y="381000"/>
            <a:ext cx="8145462" cy="428625"/>
          </a:xfrm>
        </p:spPr>
        <p:txBody>
          <a:bodyPr/>
          <a:lstStyle/>
          <a:p>
            <a:pPr eaLnBrk="1" hangingPunct="1"/>
            <a:r>
              <a:rPr lang="en-US" sz="2800" dirty="0" err="1" smtClean="0">
                <a:solidFill>
                  <a:schemeClr val="tx1"/>
                </a:solidFill>
                <a:ea typeface="ＭＳ Ｐゴシック" charset="-128"/>
              </a:rPr>
              <a:t>R3</a:t>
            </a:r>
            <a:r>
              <a:rPr lang="en-US" sz="2800" dirty="0" smtClean="0">
                <a:solidFill>
                  <a:schemeClr val="tx1"/>
                </a:solidFill>
                <a:ea typeface="ＭＳ Ｐゴシック" charset="-128"/>
              </a:rPr>
              <a:t>: Risk: Regulatory Compliance</a:t>
            </a:r>
            <a:br>
              <a:rPr lang="en-US" sz="2800" dirty="0" smtClean="0">
                <a:solidFill>
                  <a:schemeClr val="tx1"/>
                </a:solidFill>
                <a:ea typeface="ＭＳ Ｐゴシック" charset="-128"/>
              </a:rPr>
            </a:br>
            <a:endParaRPr lang="en-US" sz="2800" dirty="0" smtClean="0">
              <a:solidFill>
                <a:schemeClr val="tx1"/>
              </a:solidFill>
            </a:endParaRPr>
          </a:p>
        </p:txBody>
      </p:sp>
      <p:grpSp>
        <p:nvGrpSpPr>
          <p:cNvPr id="2" name="Group 9"/>
          <p:cNvGrpSpPr>
            <a:grpSpLocks/>
          </p:cNvGrpSpPr>
          <p:nvPr/>
        </p:nvGrpSpPr>
        <p:grpSpPr bwMode="auto">
          <a:xfrm>
            <a:off x="311150" y="1752600"/>
            <a:ext cx="5632450" cy="3241675"/>
            <a:chOff x="292" y="1049"/>
            <a:chExt cx="5204" cy="2995"/>
          </a:xfrm>
        </p:grpSpPr>
        <p:sp>
          <p:nvSpPr>
            <p:cNvPr id="5173" name="Freeform 10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1844" y="2834"/>
              <a:ext cx="69" cy="127"/>
            </a:xfrm>
            <a:custGeom>
              <a:avLst/>
              <a:gdLst>
                <a:gd name="T0" fmla="*/ 319 w 447"/>
                <a:gd name="T1" fmla="*/ 194 h 854"/>
                <a:gd name="T2" fmla="*/ 282 w 447"/>
                <a:gd name="T3" fmla="*/ 190 h 854"/>
                <a:gd name="T4" fmla="*/ 262 w 447"/>
                <a:gd name="T5" fmla="*/ 171 h 854"/>
                <a:gd name="T6" fmla="*/ 258 w 447"/>
                <a:gd name="T7" fmla="*/ 110 h 854"/>
                <a:gd name="T8" fmla="*/ 141 w 447"/>
                <a:gd name="T9" fmla="*/ 2 h 854"/>
                <a:gd name="T10" fmla="*/ 144 w 447"/>
                <a:gd name="T11" fmla="*/ 14 h 854"/>
                <a:gd name="T12" fmla="*/ 67 w 447"/>
                <a:gd name="T13" fmla="*/ 103 h 854"/>
                <a:gd name="T14" fmla="*/ 66 w 447"/>
                <a:gd name="T15" fmla="*/ 127 h 854"/>
                <a:gd name="T16" fmla="*/ 100 w 447"/>
                <a:gd name="T17" fmla="*/ 174 h 854"/>
                <a:gd name="T18" fmla="*/ 67 w 447"/>
                <a:gd name="T19" fmla="*/ 197 h 854"/>
                <a:gd name="T20" fmla="*/ 21 w 447"/>
                <a:gd name="T21" fmla="*/ 262 h 854"/>
                <a:gd name="T22" fmla="*/ 0 w 447"/>
                <a:gd name="T23" fmla="*/ 301 h 854"/>
                <a:gd name="T24" fmla="*/ 67 w 447"/>
                <a:gd name="T25" fmla="*/ 402 h 854"/>
                <a:gd name="T26" fmla="*/ 99 w 447"/>
                <a:gd name="T27" fmla="*/ 386 h 854"/>
                <a:gd name="T28" fmla="*/ 133 w 447"/>
                <a:gd name="T29" fmla="*/ 398 h 854"/>
                <a:gd name="T30" fmla="*/ 114 w 447"/>
                <a:gd name="T31" fmla="*/ 467 h 854"/>
                <a:gd name="T32" fmla="*/ 151 w 447"/>
                <a:gd name="T33" fmla="*/ 474 h 854"/>
                <a:gd name="T34" fmla="*/ 139 w 447"/>
                <a:gd name="T35" fmla="*/ 619 h 854"/>
                <a:gd name="T36" fmla="*/ 136 w 447"/>
                <a:gd name="T37" fmla="*/ 693 h 854"/>
                <a:gd name="T38" fmla="*/ 152 w 447"/>
                <a:gd name="T39" fmla="*/ 749 h 854"/>
                <a:gd name="T40" fmla="*/ 160 w 447"/>
                <a:gd name="T41" fmla="*/ 784 h 854"/>
                <a:gd name="T42" fmla="*/ 235 w 447"/>
                <a:gd name="T43" fmla="*/ 854 h 854"/>
                <a:gd name="T44" fmla="*/ 296 w 447"/>
                <a:gd name="T45" fmla="*/ 821 h 854"/>
                <a:gd name="T46" fmla="*/ 405 w 447"/>
                <a:gd name="T47" fmla="*/ 765 h 854"/>
                <a:gd name="T48" fmla="*/ 447 w 447"/>
                <a:gd name="T49" fmla="*/ 756 h 854"/>
                <a:gd name="T50" fmla="*/ 401 w 447"/>
                <a:gd name="T51" fmla="*/ 622 h 854"/>
                <a:gd name="T52" fmla="*/ 368 w 447"/>
                <a:gd name="T53" fmla="*/ 605 h 854"/>
                <a:gd name="T54" fmla="*/ 333 w 447"/>
                <a:gd name="T55" fmla="*/ 488 h 854"/>
                <a:gd name="T56" fmla="*/ 335 w 447"/>
                <a:gd name="T57" fmla="*/ 423 h 854"/>
                <a:gd name="T58" fmla="*/ 393 w 447"/>
                <a:gd name="T59" fmla="*/ 409 h 854"/>
                <a:gd name="T60" fmla="*/ 403 w 447"/>
                <a:gd name="T61" fmla="*/ 349 h 854"/>
                <a:gd name="T62" fmla="*/ 410 w 447"/>
                <a:gd name="T63" fmla="*/ 306 h 854"/>
                <a:gd name="T64" fmla="*/ 376 w 447"/>
                <a:gd name="T65" fmla="*/ 245 h 854"/>
                <a:gd name="T66" fmla="*/ 323 w 447"/>
                <a:gd name="T67" fmla="*/ 201 h 8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447"/>
                <a:gd name="T103" fmla="*/ 0 h 854"/>
                <a:gd name="T104" fmla="*/ 447 w 447"/>
                <a:gd name="T105" fmla="*/ 854 h 8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447" h="854">
                  <a:moveTo>
                    <a:pt x="323" y="201"/>
                  </a:moveTo>
                  <a:lnTo>
                    <a:pt x="319" y="194"/>
                  </a:lnTo>
                  <a:lnTo>
                    <a:pt x="292" y="185"/>
                  </a:lnTo>
                  <a:lnTo>
                    <a:pt x="282" y="190"/>
                  </a:lnTo>
                  <a:lnTo>
                    <a:pt x="270" y="222"/>
                  </a:lnTo>
                  <a:lnTo>
                    <a:pt x="262" y="171"/>
                  </a:lnTo>
                  <a:lnTo>
                    <a:pt x="263" y="131"/>
                  </a:lnTo>
                  <a:lnTo>
                    <a:pt x="258" y="110"/>
                  </a:lnTo>
                  <a:lnTo>
                    <a:pt x="233" y="74"/>
                  </a:lnTo>
                  <a:lnTo>
                    <a:pt x="141" y="2"/>
                  </a:lnTo>
                  <a:lnTo>
                    <a:pt x="139" y="0"/>
                  </a:lnTo>
                  <a:lnTo>
                    <a:pt x="144" y="14"/>
                  </a:lnTo>
                  <a:lnTo>
                    <a:pt x="140" y="37"/>
                  </a:lnTo>
                  <a:lnTo>
                    <a:pt x="67" y="103"/>
                  </a:lnTo>
                  <a:lnTo>
                    <a:pt x="63" y="115"/>
                  </a:lnTo>
                  <a:lnTo>
                    <a:pt x="66" y="127"/>
                  </a:lnTo>
                  <a:lnTo>
                    <a:pt x="94" y="160"/>
                  </a:lnTo>
                  <a:lnTo>
                    <a:pt x="100" y="174"/>
                  </a:lnTo>
                  <a:lnTo>
                    <a:pt x="86" y="190"/>
                  </a:lnTo>
                  <a:lnTo>
                    <a:pt x="67" y="197"/>
                  </a:lnTo>
                  <a:lnTo>
                    <a:pt x="22" y="208"/>
                  </a:lnTo>
                  <a:lnTo>
                    <a:pt x="21" y="262"/>
                  </a:lnTo>
                  <a:lnTo>
                    <a:pt x="2" y="291"/>
                  </a:lnTo>
                  <a:lnTo>
                    <a:pt x="0" y="301"/>
                  </a:lnTo>
                  <a:lnTo>
                    <a:pt x="14" y="329"/>
                  </a:lnTo>
                  <a:lnTo>
                    <a:pt x="67" y="402"/>
                  </a:lnTo>
                  <a:lnTo>
                    <a:pt x="86" y="389"/>
                  </a:lnTo>
                  <a:lnTo>
                    <a:pt x="99" y="386"/>
                  </a:lnTo>
                  <a:lnTo>
                    <a:pt x="121" y="393"/>
                  </a:lnTo>
                  <a:lnTo>
                    <a:pt x="133" y="398"/>
                  </a:lnTo>
                  <a:lnTo>
                    <a:pt x="135" y="409"/>
                  </a:lnTo>
                  <a:lnTo>
                    <a:pt x="114" y="467"/>
                  </a:lnTo>
                  <a:lnTo>
                    <a:pt x="127" y="467"/>
                  </a:lnTo>
                  <a:lnTo>
                    <a:pt x="151" y="474"/>
                  </a:lnTo>
                  <a:lnTo>
                    <a:pt x="170" y="525"/>
                  </a:lnTo>
                  <a:lnTo>
                    <a:pt x="139" y="619"/>
                  </a:lnTo>
                  <a:lnTo>
                    <a:pt x="128" y="668"/>
                  </a:lnTo>
                  <a:lnTo>
                    <a:pt x="136" y="693"/>
                  </a:lnTo>
                  <a:lnTo>
                    <a:pt x="156" y="730"/>
                  </a:lnTo>
                  <a:lnTo>
                    <a:pt x="152" y="749"/>
                  </a:lnTo>
                  <a:lnTo>
                    <a:pt x="152" y="770"/>
                  </a:lnTo>
                  <a:lnTo>
                    <a:pt x="160" y="784"/>
                  </a:lnTo>
                  <a:lnTo>
                    <a:pt x="209" y="832"/>
                  </a:lnTo>
                  <a:lnTo>
                    <a:pt x="235" y="854"/>
                  </a:lnTo>
                  <a:lnTo>
                    <a:pt x="265" y="851"/>
                  </a:lnTo>
                  <a:lnTo>
                    <a:pt x="296" y="821"/>
                  </a:lnTo>
                  <a:lnTo>
                    <a:pt x="319" y="806"/>
                  </a:lnTo>
                  <a:lnTo>
                    <a:pt x="405" y="765"/>
                  </a:lnTo>
                  <a:lnTo>
                    <a:pt x="446" y="767"/>
                  </a:lnTo>
                  <a:lnTo>
                    <a:pt x="447" y="756"/>
                  </a:lnTo>
                  <a:lnTo>
                    <a:pt x="411" y="666"/>
                  </a:lnTo>
                  <a:lnTo>
                    <a:pt x="401" y="622"/>
                  </a:lnTo>
                  <a:lnTo>
                    <a:pt x="393" y="608"/>
                  </a:lnTo>
                  <a:lnTo>
                    <a:pt x="368" y="605"/>
                  </a:lnTo>
                  <a:lnTo>
                    <a:pt x="320" y="525"/>
                  </a:lnTo>
                  <a:lnTo>
                    <a:pt x="333" y="488"/>
                  </a:lnTo>
                  <a:lnTo>
                    <a:pt x="337" y="463"/>
                  </a:lnTo>
                  <a:lnTo>
                    <a:pt x="335" y="423"/>
                  </a:lnTo>
                  <a:lnTo>
                    <a:pt x="342" y="414"/>
                  </a:lnTo>
                  <a:lnTo>
                    <a:pt x="393" y="409"/>
                  </a:lnTo>
                  <a:lnTo>
                    <a:pt x="400" y="395"/>
                  </a:lnTo>
                  <a:lnTo>
                    <a:pt x="403" y="349"/>
                  </a:lnTo>
                  <a:lnTo>
                    <a:pt x="410" y="324"/>
                  </a:lnTo>
                  <a:lnTo>
                    <a:pt x="410" y="306"/>
                  </a:lnTo>
                  <a:lnTo>
                    <a:pt x="394" y="271"/>
                  </a:lnTo>
                  <a:lnTo>
                    <a:pt x="376" y="245"/>
                  </a:lnTo>
                  <a:lnTo>
                    <a:pt x="345" y="216"/>
                  </a:lnTo>
                  <a:lnTo>
                    <a:pt x="323" y="201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174" name="Freeform 11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1722" y="3151"/>
              <a:ext cx="177" cy="234"/>
            </a:xfrm>
            <a:custGeom>
              <a:avLst/>
              <a:gdLst>
                <a:gd name="T0" fmla="*/ 1177 w 1177"/>
                <a:gd name="T1" fmla="*/ 1007 h 1583"/>
                <a:gd name="T2" fmla="*/ 1162 w 1177"/>
                <a:gd name="T3" fmla="*/ 938 h 1583"/>
                <a:gd name="T4" fmla="*/ 1116 w 1177"/>
                <a:gd name="T5" fmla="*/ 894 h 1583"/>
                <a:gd name="T6" fmla="*/ 1093 w 1177"/>
                <a:gd name="T7" fmla="*/ 841 h 1583"/>
                <a:gd name="T8" fmla="*/ 1103 w 1177"/>
                <a:gd name="T9" fmla="*/ 778 h 1583"/>
                <a:gd name="T10" fmla="*/ 929 w 1177"/>
                <a:gd name="T11" fmla="*/ 768 h 1583"/>
                <a:gd name="T12" fmla="*/ 912 w 1177"/>
                <a:gd name="T13" fmla="*/ 570 h 1583"/>
                <a:gd name="T14" fmla="*/ 904 w 1177"/>
                <a:gd name="T15" fmla="*/ 484 h 1583"/>
                <a:gd name="T16" fmla="*/ 882 w 1177"/>
                <a:gd name="T17" fmla="*/ 463 h 1583"/>
                <a:gd name="T18" fmla="*/ 780 w 1177"/>
                <a:gd name="T19" fmla="*/ 452 h 1583"/>
                <a:gd name="T20" fmla="*/ 753 w 1177"/>
                <a:gd name="T21" fmla="*/ 431 h 1583"/>
                <a:gd name="T22" fmla="*/ 692 w 1177"/>
                <a:gd name="T23" fmla="*/ 387 h 1583"/>
                <a:gd name="T24" fmla="*/ 646 w 1177"/>
                <a:gd name="T25" fmla="*/ 350 h 1583"/>
                <a:gd name="T26" fmla="*/ 587 w 1177"/>
                <a:gd name="T27" fmla="*/ 320 h 1583"/>
                <a:gd name="T28" fmla="*/ 536 w 1177"/>
                <a:gd name="T29" fmla="*/ 320 h 1583"/>
                <a:gd name="T30" fmla="*/ 473 w 1177"/>
                <a:gd name="T31" fmla="*/ 265 h 1583"/>
                <a:gd name="T32" fmla="*/ 422 w 1177"/>
                <a:gd name="T33" fmla="*/ 184 h 1583"/>
                <a:gd name="T34" fmla="*/ 414 w 1177"/>
                <a:gd name="T35" fmla="*/ 105 h 1583"/>
                <a:gd name="T36" fmla="*/ 420 w 1177"/>
                <a:gd name="T37" fmla="*/ 0 h 1583"/>
                <a:gd name="T38" fmla="*/ 266 w 1177"/>
                <a:gd name="T39" fmla="*/ 37 h 1583"/>
                <a:gd name="T40" fmla="*/ 184 w 1177"/>
                <a:gd name="T41" fmla="*/ 109 h 1583"/>
                <a:gd name="T42" fmla="*/ 106 w 1177"/>
                <a:gd name="T43" fmla="*/ 151 h 1583"/>
                <a:gd name="T44" fmla="*/ 41 w 1177"/>
                <a:gd name="T45" fmla="*/ 136 h 1583"/>
                <a:gd name="T46" fmla="*/ 89 w 1177"/>
                <a:gd name="T47" fmla="*/ 315 h 1583"/>
                <a:gd name="T48" fmla="*/ 74 w 1177"/>
                <a:gd name="T49" fmla="*/ 367 h 1583"/>
                <a:gd name="T50" fmla="*/ 61 w 1177"/>
                <a:gd name="T51" fmla="*/ 440 h 1583"/>
                <a:gd name="T52" fmla="*/ 74 w 1177"/>
                <a:gd name="T53" fmla="*/ 516 h 1583"/>
                <a:gd name="T54" fmla="*/ 34 w 1177"/>
                <a:gd name="T55" fmla="*/ 584 h 1583"/>
                <a:gd name="T56" fmla="*/ 44 w 1177"/>
                <a:gd name="T57" fmla="*/ 653 h 1583"/>
                <a:gd name="T58" fmla="*/ 28 w 1177"/>
                <a:gd name="T59" fmla="*/ 717 h 1583"/>
                <a:gd name="T60" fmla="*/ 56 w 1177"/>
                <a:gd name="T61" fmla="*/ 808 h 1583"/>
                <a:gd name="T62" fmla="*/ 12 w 1177"/>
                <a:gd name="T63" fmla="*/ 866 h 1583"/>
                <a:gd name="T64" fmla="*/ 9 w 1177"/>
                <a:gd name="T65" fmla="*/ 905 h 1583"/>
                <a:gd name="T66" fmla="*/ 15 w 1177"/>
                <a:gd name="T67" fmla="*/ 928 h 1583"/>
                <a:gd name="T68" fmla="*/ 59 w 1177"/>
                <a:gd name="T69" fmla="*/ 1018 h 1583"/>
                <a:gd name="T70" fmla="*/ 80 w 1177"/>
                <a:gd name="T71" fmla="*/ 1111 h 1583"/>
                <a:gd name="T72" fmla="*/ 114 w 1177"/>
                <a:gd name="T73" fmla="*/ 1167 h 1583"/>
                <a:gd name="T74" fmla="*/ 93 w 1177"/>
                <a:gd name="T75" fmla="*/ 1272 h 1583"/>
                <a:gd name="T76" fmla="*/ 138 w 1177"/>
                <a:gd name="T77" fmla="*/ 1370 h 1583"/>
                <a:gd name="T78" fmla="*/ 176 w 1177"/>
                <a:gd name="T79" fmla="*/ 1572 h 1583"/>
                <a:gd name="T80" fmla="*/ 234 w 1177"/>
                <a:gd name="T81" fmla="*/ 1583 h 1583"/>
                <a:gd name="T82" fmla="*/ 351 w 1177"/>
                <a:gd name="T83" fmla="*/ 1462 h 1583"/>
                <a:gd name="T84" fmla="*/ 387 w 1177"/>
                <a:gd name="T85" fmla="*/ 1481 h 1583"/>
                <a:gd name="T86" fmla="*/ 473 w 1177"/>
                <a:gd name="T87" fmla="*/ 1481 h 1583"/>
                <a:gd name="T88" fmla="*/ 506 w 1177"/>
                <a:gd name="T89" fmla="*/ 1510 h 1583"/>
                <a:gd name="T90" fmla="*/ 569 w 1177"/>
                <a:gd name="T91" fmla="*/ 1471 h 1583"/>
                <a:gd name="T92" fmla="*/ 683 w 1177"/>
                <a:gd name="T93" fmla="*/ 1480 h 1583"/>
                <a:gd name="T94" fmla="*/ 724 w 1177"/>
                <a:gd name="T95" fmla="*/ 1337 h 1583"/>
                <a:gd name="T96" fmla="*/ 729 w 1177"/>
                <a:gd name="T97" fmla="*/ 1273 h 1583"/>
                <a:gd name="T98" fmla="*/ 773 w 1177"/>
                <a:gd name="T99" fmla="*/ 1196 h 1583"/>
                <a:gd name="T100" fmla="*/ 932 w 1177"/>
                <a:gd name="T101" fmla="*/ 1141 h 1583"/>
                <a:gd name="T102" fmla="*/ 1017 w 1177"/>
                <a:gd name="T103" fmla="*/ 1134 h 1583"/>
                <a:gd name="T104" fmla="*/ 1117 w 1177"/>
                <a:gd name="T105" fmla="*/ 1190 h 1583"/>
                <a:gd name="T106" fmla="*/ 1141 w 1177"/>
                <a:gd name="T107" fmla="*/ 1159 h 1583"/>
                <a:gd name="T108" fmla="*/ 1168 w 1177"/>
                <a:gd name="T109" fmla="*/ 1072 h 158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177"/>
                <a:gd name="T166" fmla="*/ 0 h 1583"/>
                <a:gd name="T167" fmla="*/ 1177 w 1177"/>
                <a:gd name="T168" fmla="*/ 1583 h 158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177" h="1583">
                  <a:moveTo>
                    <a:pt x="1168" y="1072"/>
                  </a:moveTo>
                  <a:lnTo>
                    <a:pt x="1177" y="1007"/>
                  </a:lnTo>
                  <a:lnTo>
                    <a:pt x="1175" y="981"/>
                  </a:lnTo>
                  <a:lnTo>
                    <a:pt x="1162" y="938"/>
                  </a:lnTo>
                  <a:lnTo>
                    <a:pt x="1148" y="913"/>
                  </a:lnTo>
                  <a:lnTo>
                    <a:pt x="1116" y="894"/>
                  </a:lnTo>
                  <a:lnTo>
                    <a:pt x="1097" y="871"/>
                  </a:lnTo>
                  <a:lnTo>
                    <a:pt x="1093" y="841"/>
                  </a:lnTo>
                  <a:lnTo>
                    <a:pt x="1104" y="794"/>
                  </a:lnTo>
                  <a:lnTo>
                    <a:pt x="1103" y="778"/>
                  </a:lnTo>
                  <a:lnTo>
                    <a:pt x="937" y="775"/>
                  </a:lnTo>
                  <a:lnTo>
                    <a:pt x="929" y="768"/>
                  </a:lnTo>
                  <a:lnTo>
                    <a:pt x="919" y="717"/>
                  </a:lnTo>
                  <a:lnTo>
                    <a:pt x="912" y="570"/>
                  </a:lnTo>
                  <a:lnTo>
                    <a:pt x="903" y="516"/>
                  </a:lnTo>
                  <a:lnTo>
                    <a:pt x="904" y="484"/>
                  </a:lnTo>
                  <a:lnTo>
                    <a:pt x="900" y="475"/>
                  </a:lnTo>
                  <a:lnTo>
                    <a:pt x="882" y="463"/>
                  </a:lnTo>
                  <a:lnTo>
                    <a:pt x="831" y="447"/>
                  </a:lnTo>
                  <a:lnTo>
                    <a:pt x="780" y="452"/>
                  </a:lnTo>
                  <a:lnTo>
                    <a:pt x="770" y="447"/>
                  </a:lnTo>
                  <a:lnTo>
                    <a:pt x="753" y="431"/>
                  </a:lnTo>
                  <a:lnTo>
                    <a:pt x="735" y="389"/>
                  </a:lnTo>
                  <a:lnTo>
                    <a:pt x="692" y="387"/>
                  </a:lnTo>
                  <a:lnTo>
                    <a:pt x="679" y="382"/>
                  </a:lnTo>
                  <a:lnTo>
                    <a:pt x="646" y="350"/>
                  </a:lnTo>
                  <a:lnTo>
                    <a:pt x="617" y="332"/>
                  </a:lnTo>
                  <a:lnTo>
                    <a:pt x="587" y="320"/>
                  </a:lnTo>
                  <a:lnTo>
                    <a:pt x="571" y="322"/>
                  </a:lnTo>
                  <a:lnTo>
                    <a:pt x="536" y="320"/>
                  </a:lnTo>
                  <a:lnTo>
                    <a:pt x="522" y="315"/>
                  </a:lnTo>
                  <a:lnTo>
                    <a:pt x="473" y="265"/>
                  </a:lnTo>
                  <a:lnTo>
                    <a:pt x="437" y="216"/>
                  </a:lnTo>
                  <a:lnTo>
                    <a:pt x="422" y="184"/>
                  </a:lnTo>
                  <a:lnTo>
                    <a:pt x="417" y="151"/>
                  </a:lnTo>
                  <a:lnTo>
                    <a:pt x="414" y="105"/>
                  </a:lnTo>
                  <a:lnTo>
                    <a:pt x="421" y="40"/>
                  </a:lnTo>
                  <a:lnTo>
                    <a:pt x="420" y="0"/>
                  </a:lnTo>
                  <a:lnTo>
                    <a:pt x="322" y="3"/>
                  </a:lnTo>
                  <a:lnTo>
                    <a:pt x="266" y="37"/>
                  </a:lnTo>
                  <a:lnTo>
                    <a:pt x="201" y="97"/>
                  </a:lnTo>
                  <a:lnTo>
                    <a:pt x="184" y="109"/>
                  </a:lnTo>
                  <a:lnTo>
                    <a:pt x="148" y="105"/>
                  </a:lnTo>
                  <a:lnTo>
                    <a:pt x="106" y="151"/>
                  </a:lnTo>
                  <a:lnTo>
                    <a:pt x="90" y="152"/>
                  </a:lnTo>
                  <a:lnTo>
                    <a:pt x="41" y="136"/>
                  </a:lnTo>
                  <a:lnTo>
                    <a:pt x="0" y="129"/>
                  </a:lnTo>
                  <a:lnTo>
                    <a:pt x="89" y="315"/>
                  </a:lnTo>
                  <a:lnTo>
                    <a:pt x="93" y="327"/>
                  </a:lnTo>
                  <a:lnTo>
                    <a:pt x="74" y="367"/>
                  </a:lnTo>
                  <a:lnTo>
                    <a:pt x="66" y="396"/>
                  </a:lnTo>
                  <a:lnTo>
                    <a:pt x="61" y="440"/>
                  </a:lnTo>
                  <a:lnTo>
                    <a:pt x="64" y="468"/>
                  </a:lnTo>
                  <a:lnTo>
                    <a:pt x="74" y="516"/>
                  </a:lnTo>
                  <a:lnTo>
                    <a:pt x="66" y="535"/>
                  </a:lnTo>
                  <a:lnTo>
                    <a:pt x="34" y="584"/>
                  </a:lnTo>
                  <a:lnTo>
                    <a:pt x="28" y="609"/>
                  </a:lnTo>
                  <a:lnTo>
                    <a:pt x="44" y="653"/>
                  </a:lnTo>
                  <a:lnTo>
                    <a:pt x="28" y="692"/>
                  </a:lnTo>
                  <a:lnTo>
                    <a:pt x="28" y="717"/>
                  </a:lnTo>
                  <a:lnTo>
                    <a:pt x="54" y="780"/>
                  </a:lnTo>
                  <a:lnTo>
                    <a:pt x="56" y="808"/>
                  </a:lnTo>
                  <a:lnTo>
                    <a:pt x="42" y="834"/>
                  </a:lnTo>
                  <a:lnTo>
                    <a:pt x="12" y="866"/>
                  </a:lnTo>
                  <a:lnTo>
                    <a:pt x="5" y="878"/>
                  </a:lnTo>
                  <a:lnTo>
                    <a:pt x="9" y="905"/>
                  </a:lnTo>
                  <a:lnTo>
                    <a:pt x="15" y="921"/>
                  </a:lnTo>
                  <a:lnTo>
                    <a:pt x="15" y="928"/>
                  </a:lnTo>
                  <a:lnTo>
                    <a:pt x="45" y="982"/>
                  </a:lnTo>
                  <a:lnTo>
                    <a:pt x="59" y="1018"/>
                  </a:lnTo>
                  <a:lnTo>
                    <a:pt x="68" y="1083"/>
                  </a:lnTo>
                  <a:lnTo>
                    <a:pt x="80" y="1111"/>
                  </a:lnTo>
                  <a:lnTo>
                    <a:pt x="113" y="1152"/>
                  </a:lnTo>
                  <a:lnTo>
                    <a:pt x="114" y="1167"/>
                  </a:lnTo>
                  <a:lnTo>
                    <a:pt x="94" y="1252"/>
                  </a:lnTo>
                  <a:lnTo>
                    <a:pt x="93" y="1272"/>
                  </a:lnTo>
                  <a:lnTo>
                    <a:pt x="103" y="1309"/>
                  </a:lnTo>
                  <a:lnTo>
                    <a:pt x="138" y="1370"/>
                  </a:lnTo>
                  <a:lnTo>
                    <a:pt x="159" y="1453"/>
                  </a:lnTo>
                  <a:lnTo>
                    <a:pt x="176" y="1572"/>
                  </a:lnTo>
                  <a:lnTo>
                    <a:pt x="188" y="1583"/>
                  </a:lnTo>
                  <a:lnTo>
                    <a:pt x="234" y="1583"/>
                  </a:lnTo>
                  <a:lnTo>
                    <a:pt x="336" y="1451"/>
                  </a:lnTo>
                  <a:lnTo>
                    <a:pt x="351" y="1462"/>
                  </a:lnTo>
                  <a:lnTo>
                    <a:pt x="360" y="1471"/>
                  </a:lnTo>
                  <a:lnTo>
                    <a:pt x="387" y="1481"/>
                  </a:lnTo>
                  <a:lnTo>
                    <a:pt x="450" y="1478"/>
                  </a:lnTo>
                  <a:lnTo>
                    <a:pt x="473" y="1481"/>
                  </a:lnTo>
                  <a:lnTo>
                    <a:pt x="489" y="1492"/>
                  </a:lnTo>
                  <a:lnTo>
                    <a:pt x="506" y="1510"/>
                  </a:lnTo>
                  <a:lnTo>
                    <a:pt x="523" y="1571"/>
                  </a:lnTo>
                  <a:lnTo>
                    <a:pt x="569" y="1471"/>
                  </a:lnTo>
                  <a:lnTo>
                    <a:pt x="658" y="1474"/>
                  </a:lnTo>
                  <a:lnTo>
                    <a:pt x="683" y="1480"/>
                  </a:lnTo>
                  <a:lnTo>
                    <a:pt x="691" y="1462"/>
                  </a:lnTo>
                  <a:lnTo>
                    <a:pt x="724" y="1337"/>
                  </a:lnTo>
                  <a:lnTo>
                    <a:pt x="724" y="1302"/>
                  </a:lnTo>
                  <a:lnTo>
                    <a:pt x="729" y="1273"/>
                  </a:lnTo>
                  <a:lnTo>
                    <a:pt x="743" y="1256"/>
                  </a:lnTo>
                  <a:lnTo>
                    <a:pt x="773" y="1196"/>
                  </a:lnTo>
                  <a:lnTo>
                    <a:pt x="786" y="1175"/>
                  </a:lnTo>
                  <a:lnTo>
                    <a:pt x="932" y="1141"/>
                  </a:lnTo>
                  <a:lnTo>
                    <a:pt x="938" y="1134"/>
                  </a:lnTo>
                  <a:lnTo>
                    <a:pt x="1017" y="1134"/>
                  </a:lnTo>
                  <a:lnTo>
                    <a:pt x="1031" y="1136"/>
                  </a:lnTo>
                  <a:lnTo>
                    <a:pt x="1117" y="1190"/>
                  </a:lnTo>
                  <a:lnTo>
                    <a:pt x="1122" y="1194"/>
                  </a:lnTo>
                  <a:lnTo>
                    <a:pt x="1141" y="1159"/>
                  </a:lnTo>
                  <a:lnTo>
                    <a:pt x="1157" y="1116"/>
                  </a:lnTo>
                  <a:lnTo>
                    <a:pt x="1168" y="1072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175" name="Freeform 12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635" y="3289"/>
              <a:ext cx="125" cy="727"/>
            </a:xfrm>
            <a:custGeom>
              <a:avLst/>
              <a:gdLst>
                <a:gd name="T0" fmla="*/ 488 w 837"/>
                <a:gd name="T1" fmla="*/ 837 h 4912"/>
                <a:gd name="T2" fmla="*/ 448 w 837"/>
                <a:gd name="T3" fmla="*/ 1246 h 4912"/>
                <a:gd name="T4" fmla="*/ 409 w 837"/>
                <a:gd name="T5" fmla="*/ 1547 h 4912"/>
                <a:gd name="T6" fmla="*/ 392 w 837"/>
                <a:gd name="T7" fmla="*/ 1908 h 4912"/>
                <a:gd name="T8" fmla="*/ 360 w 837"/>
                <a:gd name="T9" fmla="*/ 2043 h 4912"/>
                <a:gd name="T10" fmla="*/ 249 w 837"/>
                <a:gd name="T11" fmla="*/ 2394 h 4912"/>
                <a:gd name="T12" fmla="*/ 176 w 837"/>
                <a:gd name="T13" fmla="*/ 2500 h 4912"/>
                <a:gd name="T14" fmla="*/ 225 w 837"/>
                <a:gd name="T15" fmla="*/ 2780 h 4912"/>
                <a:gd name="T16" fmla="*/ 162 w 837"/>
                <a:gd name="T17" fmla="*/ 3018 h 4912"/>
                <a:gd name="T18" fmla="*/ 249 w 837"/>
                <a:gd name="T19" fmla="*/ 3076 h 4912"/>
                <a:gd name="T20" fmla="*/ 283 w 837"/>
                <a:gd name="T21" fmla="*/ 3136 h 4912"/>
                <a:gd name="T22" fmla="*/ 272 w 837"/>
                <a:gd name="T23" fmla="*/ 3249 h 4912"/>
                <a:gd name="T24" fmla="*/ 237 w 837"/>
                <a:gd name="T25" fmla="*/ 3423 h 4912"/>
                <a:gd name="T26" fmla="*/ 251 w 837"/>
                <a:gd name="T27" fmla="*/ 3555 h 4912"/>
                <a:gd name="T28" fmla="*/ 240 w 837"/>
                <a:gd name="T29" fmla="*/ 3619 h 4912"/>
                <a:gd name="T30" fmla="*/ 147 w 837"/>
                <a:gd name="T31" fmla="*/ 3779 h 4912"/>
                <a:gd name="T32" fmla="*/ 105 w 837"/>
                <a:gd name="T33" fmla="*/ 3786 h 4912"/>
                <a:gd name="T34" fmla="*/ 92 w 837"/>
                <a:gd name="T35" fmla="*/ 3689 h 4912"/>
                <a:gd name="T36" fmla="*/ 4 w 837"/>
                <a:gd name="T37" fmla="*/ 3800 h 4912"/>
                <a:gd name="T38" fmla="*/ 149 w 837"/>
                <a:gd name="T39" fmla="*/ 3860 h 4912"/>
                <a:gd name="T40" fmla="*/ 109 w 837"/>
                <a:gd name="T41" fmla="*/ 3935 h 4912"/>
                <a:gd name="T42" fmla="*/ 209 w 837"/>
                <a:gd name="T43" fmla="*/ 4000 h 4912"/>
                <a:gd name="T44" fmla="*/ 126 w 837"/>
                <a:gd name="T45" fmla="*/ 4019 h 4912"/>
                <a:gd name="T46" fmla="*/ 123 w 837"/>
                <a:gd name="T47" fmla="*/ 4249 h 4912"/>
                <a:gd name="T48" fmla="*/ 164 w 837"/>
                <a:gd name="T49" fmla="*/ 4375 h 4912"/>
                <a:gd name="T50" fmla="*/ 121 w 837"/>
                <a:gd name="T51" fmla="*/ 4458 h 4912"/>
                <a:gd name="T52" fmla="*/ 159 w 837"/>
                <a:gd name="T53" fmla="*/ 4546 h 4912"/>
                <a:gd name="T54" fmla="*/ 204 w 837"/>
                <a:gd name="T55" fmla="*/ 4616 h 4912"/>
                <a:gd name="T56" fmla="*/ 288 w 837"/>
                <a:gd name="T57" fmla="*/ 4675 h 4912"/>
                <a:gd name="T58" fmla="*/ 265 w 837"/>
                <a:gd name="T59" fmla="*/ 4754 h 4912"/>
                <a:gd name="T60" fmla="*/ 425 w 837"/>
                <a:gd name="T61" fmla="*/ 4765 h 4912"/>
                <a:gd name="T62" fmla="*/ 442 w 837"/>
                <a:gd name="T63" fmla="*/ 4901 h 4912"/>
                <a:gd name="T64" fmla="*/ 498 w 837"/>
                <a:gd name="T65" fmla="*/ 4719 h 4912"/>
                <a:gd name="T66" fmla="*/ 637 w 837"/>
                <a:gd name="T67" fmla="*/ 4680 h 4912"/>
                <a:gd name="T68" fmla="*/ 393 w 837"/>
                <a:gd name="T69" fmla="*/ 4630 h 4912"/>
                <a:gd name="T70" fmla="*/ 239 w 837"/>
                <a:gd name="T71" fmla="*/ 4440 h 4912"/>
                <a:gd name="T72" fmla="*/ 285 w 837"/>
                <a:gd name="T73" fmla="*/ 4149 h 4912"/>
                <a:gd name="T74" fmla="*/ 318 w 837"/>
                <a:gd name="T75" fmla="*/ 3926 h 4912"/>
                <a:gd name="T76" fmla="*/ 370 w 837"/>
                <a:gd name="T77" fmla="*/ 3670 h 4912"/>
                <a:gd name="T78" fmla="*/ 376 w 837"/>
                <a:gd name="T79" fmla="*/ 3539 h 4912"/>
                <a:gd name="T80" fmla="*/ 387 w 837"/>
                <a:gd name="T81" fmla="*/ 3485 h 4912"/>
                <a:gd name="T82" fmla="*/ 338 w 837"/>
                <a:gd name="T83" fmla="*/ 3284 h 4912"/>
                <a:gd name="T84" fmla="*/ 362 w 837"/>
                <a:gd name="T85" fmla="*/ 3076 h 4912"/>
                <a:gd name="T86" fmla="*/ 448 w 837"/>
                <a:gd name="T87" fmla="*/ 2693 h 4912"/>
                <a:gd name="T88" fmla="*/ 501 w 837"/>
                <a:gd name="T89" fmla="*/ 2340 h 4912"/>
                <a:gd name="T90" fmla="*/ 503 w 837"/>
                <a:gd name="T91" fmla="*/ 1788 h 4912"/>
                <a:gd name="T92" fmla="*/ 553 w 837"/>
                <a:gd name="T93" fmla="*/ 1580 h 4912"/>
                <a:gd name="T94" fmla="*/ 704 w 837"/>
                <a:gd name="T95" fmla="*/ 1181 h 4912"/>
                <a:gd name="T96" fmla="*/ 702 w 837"/>
                <a:gd name="T97" fmla="*/ 1054 h 4912"/>
                <a:gd name="T98" fmla="*/ 688 w 837"/>
                <a:gd name="T99" fmla="*/ 872 h 4912"/>
                <a:gd name="T100" fmla="*/ 829 w 837"/>
                <a:gd name="T101" fmla="*/ 666 h 4912"/>
                <a:gd name="T102" fmla="*/ 718 w 837"/>
                <a:gd name="T103" fmla="*/ 442 h 4912"/>
                <a:gd name="T104" fmla="*/ 660 w 837"/>
                <a:gd name="T105" fmla="*/ 183 h 4912"/>
                <a:gd name="T106" fmla="*/ 562 w 837"/>
                <a:gd name="T107" fmla="*/ 21 h 4912"/>
                <a:gd name="T108" fmla="*/ 528 w 837"/>
                <a:gd name="T109" fmla="*/ 502 h 4912"/>
                <a:gd name="T110" fmla="*/ 485 w 837"/>
                <a:gd name="T111" fmla="*/ 699 h 491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837"/>
                <a:gd name="T169" fmla="*/ 0 h 4912"/>
                <a:gd name="T170" fmla="*/ 837 w 837"/>
                <a:gd name="T171" fmla="*/ 4912 h 491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837" h="4912">
                  <a:moveTo>
                    <a:pt x="482" y="717"/>
                  </a:moveTo>
                  <a:lnTo>
                    <a:pt x="498" y="722"/>
                  </a:lnTo>
                  <a:lnTo>
                    <a:pt x="504" y="738"/>
                  </a:lnTo>
                  <a:lnTo>
                    <a:pt x="494" y="771"/>
                  </a:lnTo>
                  <a:lnTo>
                    <a:pt x="495" y="823"/>
                  </a:lnTo>
                  <a:lnTo>
                    <a:pt x="488" y="837"/>
                  </a:lnTo>
                  <a:lnTo>
                    <a:pt x="491" y="883"/>
                  </a:lnTo>
                  <a:lnTo>
                    <a:pt x="499" y="935"/>
                  </a:lnTo>
                  <a:lnTo>
                    <a:pt x="491" y="962"/>
                  </a:lnTo>
                  <a:lnTo>
                    <a:pt x="472" y="1001"/>
                  </a:lnTo>
                  <a:lnTo>
                    <a:pt x="474" y="1061"/>
                  </a:lnTo>
                  <a:lnTo>
                    <a:pt x="448" y="1246"/>
                  </a:lnTo>
                  <a:lnTo>
                    <a:pt x="427" y="1279"/>
                  </a:lnTo>
                  <a:lnTo>
                    <a:pt x="399" y="1420"/>
                  </a:lnTo>
                  <a:lnTo>
                    <a:pt x="404" y="1443"/>
                  </a:lnTo>
                  <a:lnTo>
                    <a:pt x="418" y="1473"/>
                  </a:lnTo>
                  <a:lnTo>
                    <a:pt x="418" y="1515"/>
                  </a:lnTo>
                  <a:lnTo>
                    <a:pt x="409" y="1547"/>
                  </a:lnTo>
                  <a:lnTo>
                    <a:pt x="374" y="1610"/>
                  </a:lnTo>
                  <a:lnTo>
                    <a:pt x="372" y="1644"/>
                  </a:lnTo>
                  <a:lnTo>
                    <a:pt x="397" y="1862"/>
                  </a:lnTo>
                  <a:lnTo>
                    <a:pt x="401" y="1875"/>
                  </a:lnTo>
                  <a:lnTo>
                    <a:pt x="400" y="1889"/>
                  </a:lnTo>
                  <a:lnTo>
                    <a:pt x="392" y="1908"/>
                  </a:lnTo>
                  <a:lnTo>
                    <a:pt x="371" y="1935"/>
                  </a:lnTo>
                  <a:lnTo>
                    <a:pt x="368" y="1945"/>
                  </a:lnTo>
                  <a:lnTo>
                    <a:pt x="381" y="1997"/>
                  </a:lnTo>
                  <a:lnTo>
                    <a:pt x="381" y="2013"/>
                  </a:lnTo>
                  <a:lnTo>
                    <a:pt x="370" y="2036"/>
                  </a:lnTo>
                  <a:lnTo>
                    <a:pt x="360" y="2043"/>
                  </a:lnTo>
                  <a:lnTo>
                    <a:pt x="347" y="2086"/>
                  </a:lnTo>
                  <a:lnTo>
                    <a:pt x="326" y="2179"/>
                  </a:lnTo>
                  <a:lnTo>
                    <a:pt x="310" y="2222"/>
                  </a:lnTo>
                  <a:lnTo>
                    <a:pt x="282" y="2269"/>
                  </a:lnTo>
                  <a:lnTo>
                    <a:pt x="260" y="2364"/>
                  </a:lnTo>
                  <a:lnTo>
                    <a:pt x="249" y="2394"/>
                  </a:lnTo>
                  <a:lnTo>
                    <a:pt x="232" y="2472"/>
                  </a:lnTo>
                  <a:lnTo>
                    <a:pt x="227" y="2481"/>
                  </a:lnTo>
                  <a:lnTo>
                    <a:pt x="219" y="2488"/>
                  </a:lnTo>
                  <a:lnTo>
                    <a:pt x="209" y="2493"/>
                  </a:lnTo>
                  <a:lnTo>
                    <a:pt x="188" y="2488"/>
                  </a:lnTo>
                  <a:lnTo>
                    <a:pt x="176" y="2500"/>
                  </a:lnTo>
                  <a:lnTo>
                    <a:pt x="179" y="2518"/>
                  </a:lnTo>
                  <a:lnTo>
                    <a:pt x="202" y="2573"/>
                  </a:lnTo>
                  <a:lnTo>
                    <a:pt x="207" y="2599"/>
                  </a:lnTo>
                  <a:lnTo>
                    <a:pt x="202" y="2633"/>
                  </a:lnTo>
                  <a:lnTo>
                    <a:pt x="202" y="2671"/>
                  </a:lnTo>
                  <a:lnTo>
                    <a:pt x="225" y="2780"/>
                  </a:lnTo>
                  <a:lnTo>
                    <a:pt x="225" y="2799"/>
                  </a:lnTo>
                  <a:lnTo>
                    <a:pt x="202" y="2847"/>
                  </a:lnTo>
                  <a:lnTo>
                    <a:pt x="171" y="2893"/>
                  </a:lnTo>
                  <a:lnTo>
                    <a:pt x="164" y="2918"/>
                  </a:lnTo>
                  <a:lnTo>
                    <a:pt x="155" y="2976"/>
                  </a:lnTo>
                  <a:lnTo>
                    <a:pt x="162" y="3018"/>
                  </a:lnTo>
                  <a:lnTo>
                    <a:pt x="179" y="3064"/>
                  </a:lnTo>
                  <a:lnTo>
                    <a:pt x="187" y="3094"/>
                  </a:lnTo>
                  <a:lnTo>
                    <a:pt x="199" y="3106"/>
                  </a:lnTo>
                  <a:lnTo>
                    <a:pt x="203" y="3106"/>
                  </a:lnTo>
                  <a:lnTo>
                    <a:pt x="227" y="3103"/>
                  </a:lnTo>
                  <a:lnTo>
                    <a:pt x="249" y="3076"/>
                  </a:lnTo>
                  <a:lnTo>
                    <a:pt x="256" y="3071"/>
                  </a:lnTo>
                  <a:lnTo>
                    <a:pt x="269" y="3071"/>
                  </a:lnTo>
                  <a:lnTo>
                    <a:pt x="285" y="3083"/>
                  </a:lnTo>
                  <a:lnTo>
                    <a:pt x="282" y="3103"/>
                  </a:lnTo>
                  <a:lnTo>
                    <a:pt x="272" y="3124"/>
                  </a:lnTo>
                  <a:lnTo>
                    <a:pt x="283" y="3136"/>
                  </a:lnTo>
                  <a:lnTo>
                    <a:pt x="297" y="3142"/>
                  </a:lnTo>
                  <a:lnTo>
                    <a:pt x="302" y="3159"/>
                  </a:lnTo>
                  <a:lnTo>
                    <a:pt x="299" y="3179"/>
                  </a:lnTo>
                  <a:lnTo>
                    <a:pt x="276" y="3189"/>
                  </a:lnTo>
                  <a:lnTo>
                    <a:pt x="270" y="3200"/>
                  </a:lnTo>
                  <a:lnTo>
                    <a:pt x="272" y="3249"/>
                  </a:lnTo>
                  <a:lnTo>
                    <a:pt x="290" y="3286"/>
                  </a:lnTo>
                  <a:lnTo>
                    <a:pt x="261" y="3304"/>
                  </a:lnTo>
                  <a:lnTo>
                    <a:pt x="245" y="3325"/>
                  </a:lnTo>
                  <a:lnTo>
                    <a:pt x="248" y="3378"/>
                  </a:lnTo>
                  <a:lnTo>
                    <a:pt x="244" y="3406"/>
                  </a:lnTo>
                  <a:lnTo>
                    <a:pt x="237" y="3423"/>
                  </a:lnTo>
                  <a:lnTo>
                    <a:pt x="239" y="3448"/>
                  </a:lnTo>
                  <a:lnTo>
                    <a:pt x="269" y="3472"/>
                  </a:lnTo>
                  <a:lnTo>
                    <a:pt x="286" y="3483"/>
                  </a:lnTo>
                  <a:lnTo>
                    <a:pt x="289" y="3499"/>
                  </a:lnTo>
                  <a:lnTo>
                    <a:pt x="276" y="3527"/>
                  </a:lnTo>
                  <a:lnTo>
                    <a:pt x="251" y="3555"/>
                  </a:lnTo>
                  <a:lnTo>
                    <a:pt x="225" y="3571"/>
                  </a:lnTo>
                  <a:lnTo>
                    <a:pt x="213" y="3576"/>
                  </a:lnTo>
                  <a:lnTo>
                    <a:pt x="209" y="3594"/>
                  </a:lnTo>
                  <a:lnTo>
                    <a:pt x="212" y="3605"/>
                  </a:lnTo>
                  <a:lnTo>
                    <a:pt x="232" y="3613"/>
                  </a:lnTo>
                  <a:lnTo>
                    <a:pt x="240" y="3619"/>
                  </a:lnTo>
                  <a:lnTo>
                    <a:pt x="212" y="3633"/>
                  </a:lnTo>
                  <a:lnTo>
                    <a:pt x="209" y="3636"/>
                  </a:lnTo>
                  <a:lnTo>
                    <a:pt x="199" y="3661"/>
                  </a:lnTo>
                  <a:lnTo>
                    <a:pt x="188" y="3748"/>
                  </a:lnTo>
                  <a:lnTo>
                    <a:pt x="150" y="3813"/>
                  </a:lnTo>
                  <a:lnTo>
                    <a:pt x="147" y="3779"/>
                  </a:lnTo>
                  <a:lnTo>
                    <a:pt x="149" y="3758"/>
                  </a:lnTo>
                  <a:lnTo>
                    <a:pt x="138" y="3753"/>
                  </a:lnTo>
                  <a:lnTo>
                    <a:pt x="130" y="3758"/>
                  </a:lnTo>
                  <a:lnTo>
                    <a:pt x="118" y="3785"/>
                  </a:lnTo>
                  <a:lnTo>
                    <a:pt x="110" y="3790"/>
                  </a:lnTo>
                  <a:lnTo>
                    <a:pt x="105" y="3786"/>
                  </a:lnTo>
                  <a:lnTo>
                    <a:pt x="100" y="3753"/>
                  </a:lnTo>
                  <a:lnTo>
                    <a:pt x="114" y="3735"/>
                  </a:lnTo>
                  <a:lnTo>
                    <a:pt x="142" y="3723"/>
                  </a:lnTo>
                  <a:lnTo>
                    <a:pt x="139" y="3700"/>
                  </a:lnTo>
                  <a:lnTo>
                    <a:pt x="127" y="3686"/>
                  </a:lnTo>
                  <a:lnTo>
                    <a:pt x="92" y="3689"/>
                  </a:lnTo>
                  <a:lnTo>
                    <a:pt x="80" y="3716"/>
                  </a:lnTo>
                  <a:lnTo>
                    <a:pt x="62" y="3742"/>
                  </a:lnTo>
                  <a:lnTo>
                    <a:pt x="51" y="3749"/>
                  </a:lnTo>
                  <a:lnTo>
                    <a:pt x="6" y="3785"/>
                  </a:lnTo>
                  <a:lnTo>
                    <a:pt x="0" y="3793"/>
                  </a:lnTo>
                  <a:lnTo>
                    <a:pt x="4" y="3800"/>
                  </a:lnTo>
                  <a:lnTo>
                    <a:pt x="46" y="3790"/>
                  </a:lnTo>
                  <a:lnTo>
                    <a:pt x="48" y="3822"/>
                  </a:lnTo>
                  <a:lnTo>
                    <a:pt x="62" y="3829"/>
                  </a:lnTo>
                  <a:lnTo>
                    <a:pt x="101" y="3825"/>
                  </a:lnTo>
                  <a:lnTo>
                    <a:pt x="117" y="3834"/>
                  </a:lnTo>
                  <a:lnTo>
                    <a:pt x="149" y="3860"/>
                  </a:lnTo>
                  <a:lnTo>
                    <a:pt x="149" y="3875"/>
                  </a:lnTo>
                  <a:lnTo>
                    <a:pt x="138" y="3899"/>
                  </a:lnTo>
                  <a:lnTo>
                    <a:pt x="114" y="3899"/>
                  </a:lnTo>
                  <a:lnTo>
                    <a:pt x="106" y="3912"/>
                  </a:lnTo>
                  <a:lnTo>
                    <a:pt x="110" y="3917"/>
                  </a:lnTo>
                  <a:lnTo>
                    <a:pt x="109" y="3935"/>
                  </a:lnTo>
                  <a:lnTo>
                    <a:pt x="93" y="3956"/>
                  </a:lnTo>
                  <a:lnTo>
                    <a:pt x="93" y="3972"/>
                  </a:lnTo>
                  <a:lnTo>
                    <a:pt x="117" y="3968"/>
                  </a:lnTo>
                  <a:lnTo>
                    <a:pt x="133" y="3979"/>
                  </a:lnTo>
                  <a:lnTo>
                    <a:pt x="171" y="3970"/>
                  </a:lnTo>
                  <a:lnTo>
                    <a:pt x="209" y="4000"/>
                  </a:lnTo>
                  <a:lnTo>
                    <a:pt x="209" y="4010"/>
                  </a:lnTo>
                  <a:lnTo>
                    <a:pt x="202" y="4026"/>
                  </a:lnTo>
                  <a:lnTo>
                    <a:pt x="171" y="4021"/>
                  </a:lnTo>
                  <a:lnTo>
                    <a:pt x="153" y="4005"/>
                  </a:lnTo>
                  <a:lnTo>
                    <a:pt x="126" y="4005"/>
                  </a:lnTo>
                  <a:lnTo>
                    <a:pt x="126" y="4019"/>
                  </a:lnTo>
                  <a:lnTo>
                    <a:pt x="134" y="4074"/>
                  </a:lnTo>
                  <a:lnTo>
                    <a:pt x="116" y="4114"/>
                  </a:lnTo>
                  <a:lnTo>
                    <a:pt x="121" y="4219"/>
                  </a:lnTo>
                  <a:lnTo>
                    <a:pt x="150" y="4190"/>
                  </a:lnTo>
                  <a:lnTo>
                    <a:pt x="158" y="4219"/>
                  </a:lnTo>
                  <a:lnTo>
                    <a:pt x="123" y="4249"/>
                  </a:lnTo>
                  <a:lnTo>
                    <a:pt x="129" y="4278"/>
                  </a:lnTo>
                  <a:lnTo>
                    <a:pt x="153" y="4304"/>
                  </a:lnTo>
                  <a:lnTo>
                    <a:pt x="127" y="4331"/>
                  </a:lnTo>
                  <a:lnTo>
                    <a:pt x="139" y="4378"/>
                  </a:lnTo>
                  <a:lnTo>
                    <a:pt x="153" y="4382"/>
                  </a:lnTo>
                  <a:lnTo>
                    <a:pt x="164" y="4375"/>
                  </a:lnTo>
                  <a:lnTo>
                    <a:pt x="192" y="4371"/>
                  </a:lnTo>
                  <a:lnTo>
                    <a:pt x="191" y="4387"/>
                  </a:lnTo>
                  <a:lnTo>
                    <a:pt x="174" y="4414"/>
                  </a:lnTo>
                  <a:lnTo>
                    <a:pt x="170" y="4433"/>
                  </a:lnTo>
                  <a:lnTo>
                    <a:pt x="158" y="4444"/>
                  </a:lnTo>
                  <a:lnTo>
                    <a:pt x="121" y="4458"/>
                  </a:lnTo>
                  <a:lnTo>
                    <a:pt x="126" y="4461"/>
                  </a:lnTo>
                  <a:lnTo>
                    <a:pt x="160" y="4491"/>
                  </a:lnTo>
                  <a:lnTo>
                    <a:pt x="176" y="4489"/>
                  </a:lnTo>
                  <a:lnTo>
                    <a:pt x="183" y="4514"/>
                  </a:lnTo>
                  <a:lnTo>
                    <a:pt x="178" y="4526"/>
                  </a:lnTo>
                  <a:lnTo>
                    <a:pt x="159" y="4546"/>
                  </a:lnTo>
                  <a:lnTo>
                    <a:pt x="170" y="4553"/>
                  </a:lnTo>
                  <a:lnTo>
                    <a:pt x="187" y="4581"/>
                  </a:lnTo>
                  <a:lnTo>
                    <a:pt x="203" y="4571"/>
                  </a:lnTo>
                  <a:lnTo>
                    <a:pt x="220" y="4567"/>
                  </a:lnTo>
                  <a:lnTo>
                    <a:pt x="219" y="4579"/>
                  </a:lnTo>
                  <a:lnTo>
                    <a:pt x="204" y="4616"/>
                  </a:lnTo>
                  <a:lnTo>
                    <a:pt x="235" y="4629"/>
                  </a:lnTo>
                  <a:lnTo>
                    <a:pt x="264" y="4602"/>
                  </a:lnTo>
                  <a:lnTo>
                    <a:pt x="278" y="4634"/>
                  </a:lnTo>
                  <a:lnTo>
                    <a:pt x="299" y="4639"/>
                  </a:lnTo>
                  <a:lnTo>
                    <a:pt x="299" y="4652"/>
                  </a:lnTo>
                  <a:lnTo>
                    <a:pt x="288" y="4675"/>
                  </a:lnTo>
                  <a:lnTo>
                    <a:pt x="288" y="4703"/>
                  </a:lnTo>
                  <a:lnTo>
                    <a:pt x="348" y="4703"/>
                  </a:lnTo>
                  <a:lnTo>
                    <a:pt x="375" y="4715"/>
                  </a:lnTo>
                  <a:lnTo>
                    <a:pt x="321" y="4738"/>
                  </a:lnTo>
                  <a:lnTo>
                    <a:pt x="309" y="4736"/>
                  </a:lnTo>
                  <a:lnTo>
                    <a:pt x="265" y="4754"/>
                  </a:lnTo>
                  <a:lnTo>
                    <a:pt x="261" y="4768"/>
                  </a:lnTo>
                  <a:lnTo>
                    <a:pt x="270" y="4793"/>
                  </a:lnTo>
                  <a:lnTo>
                    <a:pt x="294" y="4780"/>
                  </a:lnTo>
                  <a:lnTo>
                    <a:pt x="338" y="4782"/>
                  </a:lnTo>
                  <a:lnTo>
                    <a:pt x="397" y="4743"/>
                  </a:lnTo>
                  <a:lnTo>
                    <a:pt x="425" y="4765"/>
                  </a:lnTo>
                  <a:lnTo>
                    <a:pt x="425" y="4775"/>
                  </a:lnTo>
                  <a:lnTo>
                    <a:pt x="399" y="4803"/>
                  </a:lnTo>
                  <a:lnTo>
                    <a:pt x="386" y="4836"/>
                  </a:lnTo>
                  <a:lnTo>
                    <a:pt x="356" y="4882"/>
                  </a:lnTo>
                  <a:lnTo>
                    <a:pt x="397" y="4912"/>
                  </a:lnTo>
                  <a:lnTo>
                    <a:pt x="442" y="4901"/>
                  </a:lnTo>
                  <a:lnTo>
                    <a:pt x="446" y="4891"/>
                  </a:lnTo>
                  <a:lnTo>
                    <a:pt x="452" y="4847"/>
                  </a:lnTo>
                  <a:lnTo>
                    <a:pt x="450" y="4807"/>
                  </a:lnTo>
                  <a:lnTo>
                    <a:pt x="467" y="4740"/>
                  </a:lnTo>
                  <a:lnTo>
                    <a:pt x="483" y="4724"/>
                  </a:lnTo>
                  <a:lnTo>
                    <a:pt x="498" y="4719"/>
                  </a:lnTo>
                  <a:lnTo>
                    <a:pt x="548" y="4712"/>
                  </a:lnTo>
                  <a:lnTo>
                    <a:pt x="571" y="4698"/>
                  </a:lnTo>
                  <a:lnTo>
                    <a:pt x="591" y="4669"/>
                  </a:lnTo>
                  <a:lnTo>
                    <a:pt x="604" y="4659"/>
                  </a:lnTo>
                  <a:lnTo>
                    <a:pt x="614" y="4659"/>
                  </a:lnTo>
                  <a:lnTo>
                    <a:pt x="637" y="4680"/>
                  </a:lnTo>
                  <a:lnTo>
                    <a:pt x="678" y="4687"/>
                  </a:lnTo>
                  <a:lnTo>
                    <a:pt x="691" y="4680"/>
                  </a:lnTo>
                  <a:lnTo>
                    <a:pt x="678" y="4676"/>
                  </a:lnTo>
                  <a:lnTo>
                    <a:pt x="580" y="4636"/>
                  </a:lnTo>
                  <a:lnTo>
                    <a:pt x="456" y="4627"/>
                  </a:lnTo>
                  <a:lnTo>
                    <a:pt x="393" y="4630"/>
                  </a:lnTo>
                  <a:lnTo>
                    <a:pt x="363" y="4627"/>
                  </a:lnTo>
                  <a:lnTo>
                    <a:pt x="330" y="4588"/>
                  </a:lnTo>
                  <a:lnTo>
                    <a:pt x="319" y="4428"/>
                  </a:lnTo>
                  <a:lnTo>
                    <a:pt x="310" y="4412"/>
                  </a:lnTo>
                  <a:lnTo>
                    <a:pt x="282" y="4419"/>
                  </a:lnTo>
                  <a:lnTo>
                    <a:pt x="239" y="4440"/>
                  </a:lnTo>
                  <a:lnTo>
                    <a:pt x="229" y="4436"/>
                  </a:lnTo>
                  <a:lnTo>
                    <a:pt x="208" y="4359"/>
                  </a:lnTo>
                  <a:lnTo>
                    <a:pt x="195" y="4269"/>
                  </a:lnTo>
                  <a:lnTo>
                    <a:pt x="196" y="4239"/>
                  </a:lnTo>
                  <a:lnTo>
                    <a:pt x="208" y="4218"/>
                  </a:lnTo>
                  <a:lnTo>
                    <a:pt x="285" y="4149"/>
                  </a:lnTo>
                  <a:lnTo>
                    <a:pt x="298" y="4131"/>
                  </a:lnTo>
                  <a:lnTo>
                    <a:pt x="311" y="4049"/>
                  </a:lnTo>
                  <a:lnTo>
                    <a:pt x="314" y="4037"/>
                  </a:lnTo>
                  <a:lnTo>
                    <a:pt x="295" y="3993"/>
                  </a:lnTo>
                  <a:lnTo>
                    <a:pt x="306" y="3940"/>
                  </a:lnTo>
                  <a:lnTo>
                    <a:pt x="318" y="3926"/>
                  </a:lnTo>
                  <a:lnTo>
                    <a:pt x="344" y="3915"/>
                  </a:lnTo>
                  <a:lnTo>
                    <a:pt x="355" y="3897"/>
                  </a:lnTo>
                  <a:lnTo>
                    <a:pt x="363" y="3869"/>
                  </a:lnTo>
                  <a:lnTo>
                    <a:pt x="374" y="3809"/>
                  </a:lnTo>
                  <a:lnTo>
                    <a:pt x="367" y="3742"/>
                  </a:lnTo>
                  <a:lnTo>
                    <a:pt x="370" y="3670"/>
                  </a:lnTo>
                  <a:lnTo>
                    <a:pt x="401" y="3619"/>
                  </a:lnTo>
                  <a:lnTo>
                    <a:pt x="401" y="3605"/>
                  </a:lnTo>
                  <a:lnTo>
                    <a:pt x="379" y="3580"/>
                  </a:lnTo>
                  <a:lnTo>
                    <a:pt x="351" y="3561"/>
                  </a:lnTo>
                  <a:lnTo>
                    <a:pt x="344" y="3548"/>
                  </a:lnTo>
                  <a:lnTo>
                    <a:pt x="376" y="3539"/>
                  </a:lnTo>
                  <a:lnTo>
                    <a:pt x="409" y="3538"/>
                  </a:lnTo>
                  <a:lnTo>
                    <a:pt x="424" y="3529"/>
                  </a:lnTo>
                  <a:lnTo>
                    <a:pt x="434" y="3516"/>
                  </a:lnTo>
                  <a:lnTo>
                    <a:pt x="434" y="3504"/>
                  </a:lnTo>
                  <a:lnTo>
                    <a:pt x="421" y="3492"/>
                  </a:lnTo>
                  <a:lnTo>
                    <a:pt x="387" y="3485"/>
                  </a:lnTo>
                  <a:lnTo>
                    <a:pt x="375" y="3474"/>
                  </a:lnTo>
                  <a:lnTo>
                    <a:pt x="363" y="3435"/>
                  </a:lnTo>
                  <a:lnTo>
                    <a:pt x="372" y="3341"/>
                  </a:lnTo>
                  <a:lnTo>
                    <a:pt x="368" y="3300"/>
                  </a:lnTo>
                  <a:lnTo>
                    <a:pt x="344" y="3293"/>
                  </a:lnTo>
                  <a:lnTo>
                    <a:pt x="338" y="3284"/>
                  </a:lnTo>
                  <a:lnTo>
                    <a:pt x="334" y="3207"/>
                  </a:lnTo>
                  <a:lnTo>
                    <a:pt x="339" y="3189"/>
                  </a:lnTo>
                  <a:lnTo>
                    <a:pt x="347" y="3179"/>
                  </a:lnTo>
                  <a:lnTo>
                    <a:pt x="372" y="3159"/>
                  </a:lnTo>
                  <a:lnTo>
                    <a:pt x="372" y="3131"/>
                  </a:lnTo>
                  <a:lnTo>
                    <a:pt x="362" y="3076"/>
                  </a:lnTo>
                  <a:lnTo>
                    <a:pt x="358" y="2962"/>
                  </a:lnTo>
                  <a:lnTo>
                    <a:pt x="360" y="2939"/>
                  </a:lnTo>
                  <a:lnTo>
                    <a:pt x="375" y="2905"/>
                  </a:lnTo>
                  <a:lnTo>
                    <a:pt x="400" y="2736"/>
                  </a:lnTo>
                  <a:lnTo>
                    <a:pt x="405" y="2725"/>
                  </a:lnTo>
                  <a:lnTo>
                    <a:pt x="448" y="2693"/>
                  </a:lnTo>
                  <a:lnTo>
                    <a:pt x="457" y="2684"/>
                  </a:lnTo>
                  <a:lnTo>
                    <a:pt x="437" y="2627"/>
                  </a:lnTo>
                  <a:lnTo>
                    <a:pt x="425" y="2560"/>
                  </a:lnTo>
                  <a:lnTo>
                    <a:pt x="432" y="2424"/>
                  </a:lnTo>
                  <a:lnTo>
                    <a:pt x="442" y="2405"/>
                  </a:lnTo>
                  <a:lnTo>
                    <a:pt x="501" y="2340"/>
                  </a:lnTo>
                  <a:lnTo>
                    <a:pt x="504" y="2320"/>
                  </a:lnTo>
                  <a:lnTo>
                    <a:pt x="493" y="2232"/>
                  </a:lnTo>
                  <a:lnTo>
                    <a:pt x="555" y="2086"/>
                  </a:lnTo>
                  <a:lnTo>
                    <a:pt x="558" y="2063"/>
                  </a:lnTo>
                  <a:lnTo>
                    <a:pt x="555" y="2022"/>
                  </a:lnTo>
                  <a:lnTo>
                    <a:pt x="503" y="1788"/>
                  </a:lnTo>
                  <a:lnTo>
                    <a:pt x="489" y="1751"/>
                  </a:lnTo>
                  <a:lnTo>
                    <a:pt x="497" y="1695"/>
                  </a:lnTo>
                  <a:lnTo>
                    <a:pt x="513" y="1626"/>
                  </a:lnTo>
                  <a:lnTo>
                    <a:pt x="526" y="1607"/>
                  </a:lnTo>
                  <a:lnTo>
                    <a:pt x="548" y="1591"/>
                  </a:lnTo>
                  <a:lnTo>
                    <a:pt x="553" y="1580"/>
                  </a:lnTo>
                  <a:lnTo>
                    <a:pt x="544" y="1452"/>
                  </a:lnTo>
                  <a:lnTo>
                    <a:pt x="580" y="1347"/>
                  </a:lnTo>
                  <a:lnTo>
                    <a:pt x="620" y="1281"/>
                  </a:lnTo>
                  <a:lnTo>
                    <a:pt x="641" y="1234"/>
                  </a:lnTo>
                  <a:lnTo>
                    <a:pt x="654" y="1188"/>
                  </a:lnTo>
                  <a:lnTo>
                    <a:pt x="704" y="1181"/>
                  </a:lnTo>
                  <a:lnTo>
                    <a:pt x="710" y="1163"/>
                  </a:lnTo>
                  <a:lnTo>
                    <a:pt x="710" y="1151"/>
                  </a:lnTo>
                  <a:lnTo>
                    <a:pt x="686" y="1124"/>
                  </a:lnTo>
                  <a:lnTo>
                    <a:pt x="682" y="1096"/>
                  </a:lnTo>
                  <a:lnTo>
                    <a:pt x="690" y="1073"/>
                  </a:lnTo>
                  <a:lnTo>
                    <a:pt x="702" y="1054"/>
                  </a:lnTo>
                  <a:lnTo>
                    <a:pt x="699" y="1041"/>
                  </a:lnTo>
                  <a:lnTo>
                    <a:pt x="685" y="1015"/>
                  </a:lnTo>
                  <a:lnTo>
                    <a:pt x="679" y="990"/>
                  </a:lnTo>
                  <a:lnTo>
                    <a:pt x="681" y="958"/>
                  </a:lnTo>
                  <a:lnTo>
                    <a:pt x="698" y="918"/>
                  </a:lnTo>
                  <a:lnTo>
                    <a:pt x="688" y="872"/>
                  </a:lnTo>
                  <a:lnTo>
                    <a:pt x="697" y="854"/>
                  </a:lnTo>
                  <a:lnTo>
                    <a:pt x="792" y="805"/>
                  </a:lnTo>
                  <a:lnTo>
                    <a:pt x="808" y="791"/>
                  </a:lnTo>
                  <a:lnTo>
                    <a:pt x="832" y="710"/>
                  </a:lnTo>
                  <a:lnTo>
                    <a:pt x="837" y="674"/>
                  </a:lnTo>
                  <a:lnTo>
                    <a:pt x="829" y="666"/>
                  </a:lnTo>
                  <a:lnTo>
                    <a:pt x="820" y="659"/>
                  </a:lnTo>
                  <a:lnTo>
                    <a:pt x="814" y="655"/>
                  </a:lnTo>
                  <a:lnTo>
                    <a:pt x="768" y="655"/>
                  </a:lnTo>
                  <a:lnTo>
                    <a:pt x="756" y="644"/>
                  </a:lnTo>
                  <a:lnTo>
                    <a:pt x="739" y="525"/>
                  </a:lnTo>
                  <a:lnTo>
                    <a:pt x="718" y="442"/>
                  </a:lnTo>
                  <a:lnTo>
                    <a:pt x="683" y="381"/>
                  </a:lnTo>
                  <a:lnTo>
                    <a:pt x="673" y="344"/>
                  </a:lnTo>
                  <a:lnTo>
                    <a:pt x="674" y="324"/>
                  </a:lnTo>
                  <a:lnTo>
                    <a:pt x="694" y="239"/>
                  </a:lnTo>
                  <a:lnTo>
                    <a:pt x="693" y="224"/>
                  </a:lnTo>
                  <a:lnTo>
                    <a:pt x="660" y="183"/>
                  </a:lnTo>
                  <a:lnTo>
                    <a:pt x="648" y="155"/>
                  </a:lnTo>
                  <a:lnTo>
                    <a:pt x="639" y="90"/>
                  </a:lnTo>
                  <a:lnTo>
                    <a:pt x="625" y="54"/>
                  </a:lnTo>
                  <a:lnTo>
                    <a:pt x="595" y="0"/>
                  </a:lnTo>
                  <a:lnTo>
                    <a:pt x="569" y="10"/>
                  </a:lnTo>
                  <a:lnTo>
                    <a:pt x="562" y="21"/>
                  </a:lnTo>
                  <a:lnTo>
                    <a:pt x="553" y="72"/>
                  </a:lnTo>
                  <a:lnTo>
                    <a:pt x="542" y="88"/>
                  </a:lnTo>
                  <a:lnTo>
                    <a:pt x="504" y="102"/>
                  </a:lnTo>
                  <a:lnTo>
                    <a:pt x="510" y="123"/>
                  </a:lnTo>
                  <a:lnTo>
                    <a:pt x="519" y="176"/>
                  </a:lnTo>
                  <a:lnTo>
                    <a:pt x="528" y="502"/>
                  </a:lnTo>
                  <a:lnTo>
                    <a:pt x="516" y="585"/>
                  </a:lnTo>
                  <a:lnTo>
                    <a:pt x="516" y="632"/>
                  </a:lnTo>
                  <a:lnTo>
                    <a:pt x="510" y="655"/>
                  </a:lnTo>
                  <a:lnTo>
                    <a:pt x="493" y="666"/>
                  </a:lnTo>
                  <a:lnTo>
                    <a:pt x="483" y="678"/>
                  </a:lnTo>
                  <a:lnTo>
                    <a:pt x="485" y="699"/>
                  </a:lnTo>
                  <a:lnTo>
                    <a:pt x="482" y="717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176" name="Freeform 13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653" y="3752"/>
              <a:ext cx="12" cy="32"/>
            </a:xfrm>
            <a:custGeom>
              <a:avLst/>
              <a:gdLst>
                <a:gd name="T0" fmla="*/ 82 w 83"/>
                <a:gd name="T1" fmla="*/ 19 h 217"/>
                <a:gd name="T2" fmla="*/ 66 w 83"/>
                <a:gd name="T3" fmla="*/ 0 h 217"/>
                <a:gd name="T4" fmla="*/ 30 w 83"/>
                <a:gd name="T5" fmla="*/ 7 h 217"/>
                <a:gd name="T6" fmla="*/ 13 w 83"/>
                <a:gd name="T7" fmla="*/ 53 h 217"/>
                <a:gd name="T8" fmla="*/ 17 w 83"/>
                <a:gd name="T9" fmla="*/ 111 h 217"/>
                <a:gd name="T10" fmla="*/ 10 w 83"/>
                <a:gd name="T11" fmla="*/ 153 h 217"/>
                <a:gd name="T12" fmla="*/ 0 w 83"/>
                <a:gd name="T13" fmla="*/ 181 h 217"/>
                <a:gd name="T14" fmla="*/ 6 w 83"/>
                <a:gd name="T15" fmla="*/ 197 h 217"/>
                <a:gd name="T16" fmla="*/ 17 w 83"/>
                <a:gd name="T17" fmla="*/ 208 h 217"/>
                <a:gd name="T18" fmla="*/ 34 w 83"/>
                <a:gd name="T19" fmla="*/ 210 h 217"/>
                <a:gd name="T20" fmla="*/ 53 w 83"/>
                <a:gd name="T21" fmla="*/ 217 h 217"/>
                <a:gd name="T22" fmla="*/ 59 w 83"/>
                <a:gd name="T23" fmla="*/ 199 h 217"/>
                <a:gd name="T24" fmla="*/ 69 w 83"/>
                <a:gd name="T25" fmla="*/ 132 h 217"/>
                <a:gd name="T26" fmla="*/ 46 w 83"/>
                <a:gd name="T27" fmla="*/ 83 h 217"/>
                <a:gd name="T28" fmla="*/ 54 w 83"/>
                <a:gd name="T29" fmla="*/ 69 h 217"/>
                <a:gd name="T30" fmla="*/ 83 w 83"/>
                <a:gd name="T31" fmla="*/ 40 h 217"/>
                <a:gd name="T32" fmla="*/ 82 w 83"/>
                <a:gd name="T33" fmla="*/ 19 h 21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83"/>
                <a:gd name="T52" fmla="*/ 0 h 217"/>
                <a:gd name="T53" fmla="*/ 83 w 83"/>
                <a:gd name="T54" fmla="*/ 217 h 217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83" h="217">
                  <a:moveTo>
                    <a:pt x="82" y="19"/>
                  </a:moveTo>
                  <a:lnTo>
                    <a:pt x="66" y="0"/>
                  </a:lnTo>
                  <a:lnTo>
                    <a:pt x="30" y="7"/>
                  </a:lnTo>
                  <a:lnTo>
                    <a:pt x="13" y="53"/>
                  </a:lnTo>
                  <a:lnTo>
                    <a:pt x="17" y="111"/>
                  </a:lnTo>
                  <a:lnTo>
                    <a:pt x="10" y="153"/>
                  </a:lnTo>
                  <a:lnTo>
                    <a:pt x="0" y="181"/>
                  </a:lnTo>
                  <a:lnTo>
                    <a:pt x="6" y="197"/>
                  </a:lnTo>
                  <a:lnTo>
                    <a:pt x="17" y="208"/>
                  </a:lnTo>
                  <a:lnTo>
                    <a:pt x="34" y="210"/>
                  </a:lnTo>
                  <a:lnTo>
                    <a:pt x="53" y="217"/>
                  </a:lnTo>
                  <a:lnTo>
                    <a:pt x="59" y="199"/>
                  </a:lnTo>
                  <a:lnTo>
                    <a:pt x="69" y="132"/>
                  </a:lnTo>
                  <a:lnTo>
                    <a:pt x="46" y="83"/>
                  </a:lnTo>
                  <a:lnTo>
                    <a:pt x="54" y="69"/>
                  </a:lnTo>
                  <a:lnTo>
                    <a:pt x="83" y="40"/>
                  </a:lnTo>
                  <a:lnTo>
                    <a:pt x="82" y="19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177" name="Freeform 14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705" y="3985"/>
              <a:ext cx="30" cy="55"/>
            </a:xfrm>
            <a:custGeom>
              <a:avLst/>
              <a:gdLst>
                <a:gd name="T0" fmla="*/ 118 w 197"/>
                <a:gd name="T1" fmla="*/ 122 h 378"/>
                <a:gd name="T2" fmla="*/ 126 w 197"/>
                <a:gd name="T3" fmla="*/ 133 h 378"/>
                <a:gd name="T4" fmla="*/ 127 w 197"/>
                <a:gd name="T5" fmla="*/ 154 h 378"/>
                <a:gd name="T6" fmla="*/ 56 w 197"/>
                <a:gd name="T7" fmla="*/ 197 h 378"/>
                <a:gd name="T8" fmla="*/ 66 w 197"/>
                <a:gd name="T9" fmla="*/ 225 h 378"/>
                <a:gd name="T10" fmla="*/ 81 w 197"/>
                <a:gd name="T11" fmla="*/ 249 h 378"/>
                <a:gd name="T12" fmla="*/ 89 w 197"/>
                <a:gd name="T13" fmla="*/ 248 h 378"/>
                <a:gd name="T14" fmla="*/ 98 w 197"/>
                <a:gd name="T15" fmla="*/ 255 h 378"/>
                <a:gd name="T16" fmla="*/ 122 w 197"/>
                <a:gd name="T17" fmla="*/ 262 h 378"/>
                <a:gd name="T18" fmla="*/ 136 w 197"/>
                <a:gd name="T19" fmla="*/ 274 h 378"/>
                <a:gd name="T20" fmla="*/ 163 w 197"/>
                <a:gd name="T21" fmla="*/ 324 h 378"/>
                <a:gd name="T22" fmla="*/ 131 w 197"/>
                <a:gd name="T23" fmla="*/ 325 h 378"/>
                <a:gd name="T24" fmla="*/ 112 w 197"/>
                <a:gd name="T25" fmla="*/ 301 h 378"/>
                <a:gd name="T26" fmla="*/ 49 w 197"/>
                <a:gd name="T27" fmla="*/ 297 h 378"/>
                <a:gd name="T28" fmla="*/ 10 w 197"/>
                <a:gd name="T29" fmla="*/ 308 h 378"/>
                <a:gd name="T30" fmla="*/ 14 w 197"/>
                <a:gd name="T31" fmla="*/ 331 h 378"/>
                <a:gd name="T32" fmla="*/ 5 w 197"/>
                <a:gd name="T33" fmla="*/ 354 h 378"/>
                <a:gd name="T34" fmla="*/ 0 w 197"/>
                <a:gd name="T35" fmla="*/ 378 h 378"/>
                <a:gd name="T36" fmla="*/ 22 w 197"/>
                <a:gd name="T37" fmla="*/ 376 h 378"/>
                <a:gd name="T38" fmla="*/ 84 w 197"/>
                <a:gd name="T39" fmla="*/ 352 h 378"/>
                <a:gd name="T40" fmla="*/ 102 w 197"/>
                <a:gd name="T41" fmla="*/ 352 h 378"/>
                <a:gd name="T42" fmla="*/ 127 w 197"/>
                <a:gd name="T43" fmla="*/ 369 h 378"/>
                <a:gd name="T44" fmla="*/ 148 w 197"/>
                <a:gd name="T45" fmla="*/ 378 h 378"/>
                <a:gd name="T46" fmla="*/ 192 w 197"/>
                <a:gd name="T47" fmla="*/ 371 h 378"/>
                <a:gd name="T48" fmla="*/ 197 w 197"/>
                <a:gd name="T49" fmla="*/ 23 h 378"/>
                <a:gd name="T50" fmla="*/ 147 w 197"/>
                <a:gd name="T51" fmla="*/ 19 h 378"/>
                <a:gd name="T52" fmla="*/ 128 w 197"/>
                <a:gd name="T53" fmla="*/ 0 h 378"/>
                <a:gd name="T54" fmla="*/ 90 w 197"/>
                <a:gd name="T55" fmla="*/ 44 h 378"/>
                <a:gd name="T56" fmla="*/ 42 w 197"/>
                <a:gd name="T57" fmla="*/ 81 h 378"/>
                <a:gd name="T58" fmla="*/ 37 w 197"/>
                <a:gd name="T59" fmla="*/ 93 h 378"/>
                <a:gd name="T60" fmla="*/ 25 w 197"/>
                <a:gd name="T61" fmla="*/ 128 h 378"/>
                <a:gd name="T62" fmla="*/ 38 w 197"/>
                <a:gd name="T63" fmla="*/ 144 h 378"/>
                <a:gd name="T64" fmla="*/ 118 w 197"/>
                <a:gd name="T65" fmla="*/ 122 h 37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97"/>
                <a:gd name="T100" fmla="*/ 0 h 378"/>
                <a:gd name="T101" fmla="*/ 197 w 197"/>
                <a:gd name="T102" fmla="*/ 378 h 37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97" h="378">
                  <a:moveTo>
                    <a:pt x="118" y="122"/>
                  </a:moveTo>
                  <a:lnTo>
                    <a:pt x="126" y="133"/>
                  </a:lnTo>
                  <a:lnTo>
                    <a:pt x="127" y="154"/>
                  </a:lnTo>
                  <a:lnTo>
                    <a:pt x="56" y="197"/>
                  </a:lnTo>
                  <a:lnTo>
                    <a:pt x="66" y="225"/>
                  </a:lnTo>
                  <a:lnTo>
                    <a:pt x="81" y="249"/>
                  </a:lnTo>
                  <a:lnTo>
                    <a:pt x="89" y="248"/>
                  </a:lnTo>
                  <a:lnTo>
                    <a:pt x="98" y="255"/>
                  </a:lnTo>
                  <a:lnTo>
                    <a:pt x="122" y="262"/>
                  </a:lnTo>
                  <a:lnTo>
                    <a:pt x="136" y="274"/>
                  </a:lnTo>
                  <a:lnTo>
                    <a:pt x="163" y="324"/>
                  </a:lnTo>
                  <a:lnTo>
                    <a:pt x="131" y="325"/>
                  </a:lnTo>
                  <a:lnTo>
                    <a:pt x="112" y="301"/>
                  </a:lnTo>
                  <a:lnTo>
                    <a:pt x="49" y="297"/>
                  </a:lnTo>
                  <a:lnTo>
                    <a:pt x="10" y="308"/>
                  </a:lnTo>
                  <a:lnTo>
                    <a:pt x="14" y="331"/>
                  </a:lnTo>
                  <a:lnTo>
                    <a:pt x="5" y="354"/>
                  </a:lnTo>
                  <a:lnTo>
                    <a:pt x="0" y="378"/>
                  </a:lnTo>
                  <a:lnTo>
                    <a:pt x="22" y="376"/>
                  </a:lnTo>
                  <a:lnTo>
                    <a:pt x="84" y="352"/>
                  </a:lnTo>
                  <a:lnTo>
                    <a:pt x="102" y="352"/>
                  </a:lnTo>
                  <a:lnTo>
                    <a:pt x="127" y="369"/>
                  </a:lnTo>
                  <a:lnTo>
                    <a:pt x="148" y="378"/>
                  </a:lnTo>
                  <a:lnTo>
                    <a:pt x="192" y="371"/>
                  </a:lnTo>
                  <a:lnTo>
                    <a:pt x="197" y="23"/>
                  </a:lnTo>
                  <a:lnTo>
                    <a:pt x="147" y="19"/>
                  </a:lnTo>
                  <a:lnTo>
                    <a:pt x="128" y="0"/>
                  </a:lnTo>
                  <a:lnTo>
                    <a:pt x="90" y="44"/>
                  </a:lnTo>
                  <a:lnTo>
                    <a:pt x="42" y="81"/>
                  </a:lnTo>
                  <a:lnTo>
                    <a:pt x="37" y="93"/>
                  </a:lnTo>
                  <a:lnTo>
                    <a:pt x="25" y="128"/>
                  </a:lnTo>
                  <a:lnTo>
                    <a:pt x="38" y="144"/>
                  </a:lnTo>
                  <a:lnTo>
                    <a:pt x="118" y="122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178" name="Freeform 15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1663" y="3977"/>
              <a:ext cx="11" cy="20"/>
            </a:xfrm>
            <a:custGeom>
              <a:avLst/>
              <a:gdLst>
                <a:gd name="T0" fmla="*/ 78 w 80"/>
                <a:gd name="T1" fmla="*/ 7 h 125"/>
                <a:gd name="T2" fmla="*/ 69 w 80"/>
                <a:gd name="T3" fmla="*/ 0 h 125"/>
                <a:gd name="T4" fmla="*/ 47 w 80"/>
                <a:gd name="T5" fmla="*/ 14 h 125"/>
                <a:gd name="T6" fmla="*/ 10 w 80"/>
                <a:gd name="T7" fmla="*/ 7 h 125"/>
                <a:gd name="T8" fmla="*/ 0 w 80"/>
                <a:gd name="T9" fmla="*/ 33 h 125"/>
                <a:gd name="T10" fmla="*/ 4 w 80"/>
                <a:gd name="T11" fmla="*/ 58 h 125"/>
                <a:gd name="T12" fmla="*/ 41 w 80"/>
                <a:gd name="T13" fmla="*/ 53 h 125"/>
                <a:gd name="T14" fmla="*/ 39 w 80"/>
                <a:gd name="T15" fmla="*/ 113 h 125"/>
                <a:gd name="T16" fmla="*/ 57 w 80"/>
                <a:gd name="T17" fmla="*/ 125 h 125"/>
                <a:gd name="T18" fmla="*/ 68 w 80"/>
                <a:gd name="T19" fmla="*/ 88 h 125"/>
                <a:gd name="T20" fmla="*/ 80 w 80"/>
                <a:gd name="T21" fmla="*/ 65 h 125"/>
                <a:gd name="T22" fmla="*/ 78 w 80"/>
                <a:gd name="T23" fmla="*/ 7 h 12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0"/>
                <a:gd name="T37" fmla="*/ 0 h 125"/>
                <a:gd name="T38" fmla="*/ 80 w 80"/>
                <a:gd name="T39" fmla="*/ 125 h 12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0" h="125">
                  <a:moveTo>
                    <a:pt x="78" y="7"/>
                  </a:moveTo>
                  <a:lnTo>
                    <a:pt x="69" y="0"/>
                  </a:lnTo>
                  <a:lnTo>
                    <a:pt x="47" y="14"/>
                  </a:lnTo>
                  <a:lnTo>
                    <a:pt x="10" y="7"/>
                  </a:lnTo>
                  <a:lnTo>
                    <a:pt x="0" y="33"/>
                  </a:lnTo>
                  <a:lnTo>
                    <a:pt x="4" y="58"/>
                  </a:lnTo>
                  <a:lnTo>
                    <a:pt x="41" y="53"/>
                  </a:lnTo>
                  <a:lnTo>
                    <a:pt x="39" y="113"/>
                  </a:lnTo>
                  <a:lnTo>
                    <a:pt x="57" y="125"/>
                  </a:lnTo>
                  <a:lnTo>
                    <a:pt x="68" y="88"/>
                  </a:lnTo>
                  <a:lnTo>
                    <a:pt x="80" y="65"/>
                  </a:lnTo>
                  <a:lnTo>
                    <a:pt x="78" y="7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179" name="Freeform 16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653" y="3752"/>
              <a:ext cx="12" cy="32"/>
            </a:xfrm>
            <a:custGeom>
              <a:avLst/>
              <a:gdLst>
                <a:gd name="T0" fmla="*/ 66 w 83"/>
                <a:gd name="T1" fmla="*/ 0 h 217"/>
                <a:gd name="T2" fmla="*/ 30 w 83"/>
                <a:gd name="T3" fmla="*/ 7 h 217"/>
                <a:gd name="T4" fmla="*/ 13 w 83"/>
                <a:gd name="T5" fmla="*/ 53 h 217"/>
                <a:gd name="T6" fmla="*/ 17 w 83"/>
                <a:gd name="T7" fmla="*/ 111 h 217"/>
                <a:gd name="T8" fmla="*/ 10 w 83"/>
                <a:gd name="T9" fmla="*/ 153 h 217"/>
                <a:gd name="T10" fmla="*/ 0 w 83"/>
                <a:gd name="T11" fmla="*/ 181 h 217"/>
                <a:gd name="T12" fmla="*/ 6 w 83"/>
                <a:gd name="T13" fmla="*/ 197 h 217"/>
                <a:gd name="T14" fmla="*/ 17 w 83"/>
                <a:gd name="T15" fmla="*/ 208 h 217"/>
                <a:gd name="T16" fmla="*/ 34 w 83"/>
                <a:gd name="T17" fmla="*/ 210 h 217"/>
                <a:gd name="T18" fmla="*/ 53 w 83"/>
                <a:gd name="T19" fmla="*/ 217 h 217"/>
                <a:gd name="T20" fmla="*/ 59 w 83"/>
                <a:gd name="T21" fmla="*/ 199 h 217"/>
                <a:gd name="T22" fmla="*/ 69 w 83"/>
                <a:gd name="T23" fmla="*/ 132 h 217"/>
                <a:gd name="T24" fmla="*/ 46 w 83"/>
                <a:gd name="T25" fmla="*/ 83 h 217"/>
                <a:gd name="T26" fmla="*/ 54 w 83"/>
                <a:gd name="T27" fmla="*/ 69 h 217"/>
                <a:gd name="T28" fmla="*/ 83 w 83"/>
                <a:gd name="T29" fmla="*/ 40 h 217"/>
                <a:gd name="T30" fmla="*/ 82 w 83"/>
                <a:gd name="T31" fmla="*/ 19 h 217"/>
                <a:gd name="T32" fmla="*/ 66 w 83"/>
                <a:gd name="T33" fmla="*/ 0 h 21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83"/>
                <a:gd name="T52" fmla="*/ 0 h 217"/>
                <a:gd name="T53" fmla="*/ 83 w 83"/>
                <a:gd name="T54" fmla="*/ 217 h 217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83" h="217">
                  <a:moveTo>
                    <a:pt x="66" y="0"/>
                  </a:moveTo>
                  <a:lnTo>
                    <a:pt x="30" y="7"/>
                  </a:lnTo>
                  <a:lnTo>
                    <a:pt x="13" y="53"/>
                  </a:lnTo>
                  <a:lnTo>
                    <a:pt x="17" y="111"/>
                  </a:lnTo>
                  <a:lnTo>
                    <a:pt x="10" y="153"/>
                  </a:lnTo>
                  <a:lnTo>
                    <a:pt x="0" y="181"/>
                  </a:lnTo>
                  <a:lnTo>
                    <a:pt x="6" y="197"/>
                  </a:lnTo>
                  <a:lnTo>
                    <a:pt x="17" y="208"/>
                  </a:lnTo>
                  <a:lnTo>
                    <a:pt x="34" y="210"/>
                  </a:lnTo>
                  <a:lnTo>
                    <a:pt x="53" y="217"/>
                  </a:lnTo>
                  <a:lnTo>
                    <a:pt x="59" y="199"/>
                  </a:lnTo>
                  <a:lnTo>
                    <a:pt x="69" y="132"/>
                  </a:lnTo>
                  <a:lnTo>
                    <a:pt x="46" y="83"/>
                  </a:lnTo>
                  <a:lnTo>
                    <a:pt x="54" y="69"/>
                  </a:lnTo>
                  <a:lnTo>
                    <a:pt x="83" y="40"/>
                  </a:lnTo>
                  <a:lnTo>
                    <a:pt x="82" y="19"/>
                  </a:lnTo>
                  <a:lnTo>
                    <a:pt x="66" y="0"/>
                  </a:lnTo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180" name="Freeform 17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663" y="3977"/>
              <a:ext cx="11" cy="20"/>
            </a:xfrm>
            <a:custGeom>
              <a:avLst/>
              <a:gdLst>
                <a:gd name="T0" fmla="*/ 69 w 80"/>
                <a:gd name="T1" fmla="*/ 0 h 125"/>
                <a:gd name="T2" fmla="*/ 47 w 80"/>
                <a:gd name="T3" fmla="*/ 14 h 125"/>
                <a:gd name="T4" fmla="*/ 10 w 80"/>
                <a:gd name="T5" fmla="*/ 7 h 125"/>
                <a:gd name="T6" fmla="*/ 0 w 80"/>
                <a:gd name="T7" fmla="*/ 33 h 125"/>
                <a:gd name="T8" fmla="*/ 4 w 80"/>
                <a:gd name="T9" fmla="*/ 58 h 125"/>
                <a:gd name="T10" fmla="*/ 41 w 80"/>
                <a:gd name="T11" fmla="*/ 53 h 125"/>
                <a:gd name="T12" fmla="*/ 39 w 80"/>
                <a:gd name="T13" fmla="*/ 113 h 125"/>
                <a:gd name="T14" fmla="*/ 57 w 80"/>
                <a:gd name="T15" fmla="*/ 125 h 125"/>
                <a:gd name="T16" fmla="*/ 68 w 80"/>
                <a:gd name="T17" fmla="*/ 88 h 125"/>
                <a:gd name="T18" fmla="*/ 80 w 80"/>
                <a:gd name="T19" fmla="*/ 65 h 125"/>
                <a:gd name="T20" fmla="*/ 78 w 80"/>
                <a:gd name="T21" fmla="*/ 7 h 125"/>
                <a:gd name="T22" fmla="*/ 69 w 80"/>
                <a:gd name="T23" fmla="*/ 0 h 12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0"/>
                <a:gd name="T37" fmla="*/ 0 h 125"/>
                <a:gd name="T38" fmla="*/ 80 w 80"/>
                <a:gd name="T39" fmla="*/ 125 h 12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0" h="125">
                  <a:moveTo>
                    <a:pt x="69" y="0"/>
                  </a:moveTo>
                  <a:lnTo>
                    <a:pt x="47" y="14"/>
                  </a:lnTo>
                  <a:lnTo>
                    <a:pt x="10" y="7"/>
                  </a:lnTo>
                  <a:lnTo>
                    <a:pt x="0" y="33"/>
                  </a:lnTo>
                  <a:lnTo>
                    <a:pt x="4" y="58"/>
                  </a:lnTo>
                  <a:lnTo>
                    <a:pt x="41" y="53"/>
                  </a:lnTo>
                  <a:lnTo>
                    <a:pt x="39" y="113"/>
                  </a:lnTo>
                  <a:lnTo>
                    <a:pt x="57" y="125"/>
                  </a:lnTo>
                  <a:lnTo>
                    <a:pt x="68" y="88"/>
                  </a:lnTo>
                  <a:lnTo>
                    <a:pt x="80" y="65"/>
                  </a:lnTo>
                  <a:lnTo>
                    <a:pt x="78" y="7"/>
                  </a:lnTo>
                  <a:lnTo>
                    <a:pt x="69" y="0"/>
                  </a:lnTo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181" name="Freeform 18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1825" y="3319"/>
              <a:ext cx="123" cy="150"/>
            </a:xfrm>
            <a:custGeom>
              <a:avLst/>
              <a:gdLst>
                <a:gd name="T0" fmla="*/ 451 w 823"/>
                <a:gd name="T1" fmla="*/ 83 h 1005"/>
                <a:gd name="T2" fmla="*/ 434 w 823"/>
                <a:gd name="T3" fmla="*/ 56 h 1005"/>
                <a:gd name="T4" fmla="*/ 334 w 823"/>
                <a:gd name="T5" fmla="*/ 0 h 1005"/>
                <a:gd name="T6" fmla="*/ 249 w 823"/>
                <a:gd name="T7" fmla="*/ 7 h 1005"/>
                <a:gd name="T8" fmla="*/ 90 w 823"/>
                <a:gd name="T9" fmla="*/ 62 h 1005"/>
                <a:gd name="T10" fmla="*/ 46 w 823"/>
                <a:gd name="T11" fmla="*/ 139 h 1005"/>
                <a:gd name="T12" fmla="*/ 41 w 823"/>
                <a:gd name="T13" fmla="*/ 203 h 1005"/>
                <a:gd name="T14" fmla="*/ 0 w 823"/>
                <a:gd name="T15" fmla="*/ 346 h 1005"/>
                <a:gd name="T16" fmla="*/ 20 w 823"/>
                <a:gd name="T17" fmla="*/ 369 h 1005"/>
                <a:gd name="T18" fmla="*/ 172 w 823"/>
                <a:gd name="T19" fmla="*/ 560 h 1005"/>
                <a:gd name="T20" fmla="*/ 246 w 823"/>
                <a:gd name="T21" fmla="*/ 585 h 1005"/>
                <a:gd name="T22" fmla="*/ 347 w 823"/>
                <a:gd name="T23" fmla="*/ 662 h 1005"/>
                <a:gd name="T24" fmla="*/ 441 w 823"/>
                <a:gd name="T25" fmla="*/ 712 h 1005"/>
                <a:gd name="T26" fmla="*/ 481 w 823"/>
                <a:gd name="T27" fmla="*/ 754 h 1005"/>
                <a:gd name="T28" fmla="*/ 426 w 823"/>
                <a:gd name="T29" fmla="*/ 871 h 1005"/>
                <a:gd name="T30" fmla="*/ 433 w 823"/>
                <a:gd name="T31" fmla="*/ 918 h 1005"/>
                <a:gd name="T32" fmla="*/ 387 w 823"/>
                <a:gd name="T33" fmla="*/ 975 h 1005"/>
                <a:gd name="T34" fmla="*/ 393 w 823"/>
                <a:gd name="T35" fmla="*/ 991 h 1005"/>
                <a:gd name="T36" fmla="*/ 473 w 823"/>
                <a:gd name="T37" fmla="*/ 973 h 1005"/>
                <a:gd name="T38" fmla="*/ 541 w 823"/>
                <a:gd name="T39" fmla="*/ 998 h 1005"/>
                <a:gd name="T40" fmla="*/ 605 w 823"/>
                <a:gd name="T41" fmla="*/ 991 h 1005"/>
                <a:gd name="T42" fmla="*/ 633 w 823"/>
                <a:gd name="T43" fmla="*/ 978 h 1005"/>
                <a:gd name="T44" fmla="*/ 675 w 823"/>
                <a:gd name="T45" fmla="*/ 1005 h 1005"/>
                <a:gd name="T46" fmla="*/ 704 w 823"/>
                <a:gd name="T47" fmla="*/ 961 h 1005"/>
                <a:gd name="T48" fmla="*/ 765 w 823"/>
                <a:gd name="T49" fmla="*/ 892 h 1005"/>
                <a:gd name="T50" fmla="*/ 786 w 823"/>
                <a:gd name="T51" fmla="*/ 724 h 1005"/>
                <a:gd name="T52" fmla="*/ 823 w 823"/>
                <a:gd name="T53" fmla="*/ 581 h 1005"/>
                <a:gd name="T54" fmla="*/ 790 w 823"/>
                <a:gd name="T55" fmla="*/ 557 h 1005"/>
                <a:gd name="T56" fmla="*/ 724 w 823"/>
                <a:gd name="T57" fmla="*/ 578 h 1005"/>
                <a:gd name="T58" fmla="*/ 691 w 823"/>
                <a:gd name="T59" fmla="*/ 407 h 1005"/>
                <a:gd name="T60" fmla="*/ 617 w 823"/>
                <a:gd name="T61" fmla="*/ 344 h 1005"/>
                <a:gd name="T62" fmla="*/ 580 w 823"/>
                <a:gd name="T63" fmla="*/ 367 h 1005"/>
                <a:gd name="T64" fmla="*/ 471 w 823"/>
                <a:gd name="T65" fmla="*/ 346 h 1005"/>
                <a:gd name="T66" fmla="*/ 482 w 823"/>
                <a:gd name="T67" fmla="*/ 219 h 1005"/>
                <a:gd name="T68" fmla="*/ 454 w 823"/>
                <a:gd name="T69" fmla="*/ 120 h 100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823"/>
                <a:gd name="T106" fmla="*/ 0 h 1005"/>
                <a:gd name="T107" fmla="*/ 823 w 823"/>
                <a:gd name="T108" fmla="*/ 1005 h 1005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823" h="1005">
                  <a:moveTo>
                    <a:pt x="454" y="120"/>
                  </a:moveTo>
                  <a:lnTo>
                    <a:pt x="451" y="83"/>
                  </a:lnTo>
                  <a:lnTo>
                    <a:pt x="439" y="60"/>
                  </a:lnTo>
                  <a:lnTo>
                    <a:pt x="434" y="56"/>
                  </a:lnTo>
                  <a:lnTo>
                    <a:pt x="348" y="2"/>
                  </a:lnTo>
                  <a:lnTo>
                    <a:pt x="334" y="0"/>
                  </a:lnTo>
                  <a:lnTo>
                    <a:pt x="255" y="0"/>
                  </a:lnTo>
                  <a:lnTo>
                    <a:pt x="249" y="7"/>
                  </a:lnTo>
                  <a:lnTo>
                    <a:pt x="103" y="41"/>
                  </a:lnTo>
                  <a:lnTo>
                    <a:pt x="90" y="62"/>
                  </a:lnTo>
                  <a:lnTo>
                    <a:pt x="60" y="122"/>
                  </a:lnTo>
                  <a:lnTo>
                    <a:pt x="46" y="139"/>
                  </a:lnTo>
                  <a:lnTo>
                    <a:pt x="41" y="168"/>
                  </a:lnTo>
                  <a:lnTo>
                    <a:pt x="41" y="203"/>
                  </a:lnTo>
                  <a:lnTo>
                    <a:pt x="8" y="328"/>
                  </a:lnTo>
                  <a:lnTo>
                    <a:pt x="0" y="346"/>
                  </a:lnTo>
                  <a:lnTo>
                    <a:pt x="9" y="349"/>
                  </a:lnTo>
                  <a:lnTo>
                    <a:pt x="20" y="369"/>
                  </a:lnTo>
                  <a:lnTo>
                    <a:pt x="135" y="527"/>
                  </a:lnTo>
                  <a:lnTo>
                    <a:pt x="172" y="560"/>
                  </a:lnTo>
                  <a:lnTo>
                    <a:pt x="195" y="572"/>
                  </a:lnTo>
                  <a:lnTo>
                    <a:pt x="246" y="585"/>
                  </a:lnTo>
                  <a:lnTo>
                    <a:pt x="274" y="601"/>
                  </a:lnTo>
                  <a:lnTo>
                    <a:pt x="347" y="662"/>
                  </a:lnTo>
                  <a:lnTo>
                    <a:pt x="410" y="701"/>
                  </a:lnTo>
                  <a:lnTo>
                    <a:pt x="441" y="712"/>
                  </a:lnTo>
                  <a:lnTo>
                    <a:pt x="481" y="740"/>
                  </a:lnTo>
                  <a:lnTo>
                    <a:pt x="481" y="754"/>
                  </a:lnTo>
                  <a:lnTo>
                    <a:pt x="454" y="823"/>
                  </a:lnTo>
                  <a:lnTo>
                    <a:pt x="426" y="871"/>
                  </a:lnTo>
                  <a:lnTo>
                    <a:pt x="424" y="883"/>
                  </a:lnTo>
                  <a:lnTo>
                    <a:pt x="433" y="918"/>
                  </a:lnTo>
                  <a:lnTo>
                    <a:pt x="429" y="929"/>
                  </a:lnTo>
                  <a:lnTo>
                    <a:pt x="387" y="975"/>
                  </a:lnTo>
                  <a:lnTo>
                    <a:pt x="385" y="987"/>
                  </a:lnTo>
                  <a:lnTo>
                    <a:pt x="393" y="991"/>
                  </a:lnTo>
                  <a:lnTo>
                    <a:pt x="445" y="971"/>
                  </a:lnTo>
                  <a:lnTo>
                    <a:pt x="473" y="973"/>
                  </a:lnTo>
                  <a:lnTo>
                    <a:pt x="516" y="992"/>
                  </a:lnTo>
                  <a:lnTo>
                    <a:pt x="541" y="998"/>
                  </a:lnTo>
                  <a:lnTo>
                    <a:pt x="572" y="998"/>
                  </a:lnTo>
                  <a:lnTo>
                    <a:pt x="605" y="991"/>
                  </a:lnTo>
                  <a:lnTo>
                    <a:pt x="622" y="980"/>
                  </a:lnTo>
                  <a:lnTo>
                    <a:pt x="633" y="978"/>
                  </a:lnTo>
                  <a:lnTo>
                    <a:pt x="647" y="983"/>
                  </a:lnTo>
                  <a:lnTo>
                    <a:pt x="675" y="1005"/>
                  </a:lnTo>
                  <a:lnTo>
                    <a:pt x="691" y="976"/>
                  </a:lnTo>
                  <a:lnTo>
                    <a:pt x="704" y="961"/>
                  </a:lnTo>
                  <a:lnTo>
                    <a:pt x="749" y="918"/>
                  </a:lnTo>
                  <a:lnTo>
                    <a:pt x="765" y="892"/>
                  </a:lnTo>
                  <a:lnTo>
                    <a:pt x="789" y="804"/>
                  </a:lnTo>
                  <a:lnTo>
                    <a:pt x="786" y="724"/>
                  </a:lnTo>
                  <a:lnTo>
                    <a:pt x="823" y="588"/>
                  </a:lnTo>
                  <a:lnTo>
                    <a:pt x="823" y="581"/>
                  </a:lnTo>
                  <a:lnTo>
                    <a:pt x="801" y="562"/>
                  </a:lnTo>
                  <a:lnTo>
                    <a:pt x="790" y="557"/>
                  </a:lnTo>
                  <a:lnTo>
                    <a:pt x="733" y="581"/>
                  </a:lnTo>
                  <a:lnTo>
                    <a:pt x="724" y="578"/>
                  </a:lnTo>
                  <a:lnTo>
                    <a:pt x="713" y="546"/>
                  </a:lnTo>
                  <a:lnTo>
                    <a:pt x="691" y="407"/>
                  </a:lnTo>
                  <a:lnTo>
                    <a:pt x="686" y="383"/>
                  </a:lnTo>
                  <a:lnTo>
                    <a:pt x="617" y="344"/>
                  </a:lnTo>
                  <a:lnTo>
                    <a:pt x="611" y="344"/>
                  </a:lnTo>
                  <a:lnTo>
                    <a:pt x="580" y="367"/>
                  </a:lnTo>
                  <a:lnTo>
                    <a:pt x="565" y="369"/>
                  </a:lnTo>
                  <a:lnTo>
                    <a:pt x="471" y="346"/>
                  </a:lnTo>
                  <a:lnTo>
                    <a:pt x="471" y="307"/>
                  </a:lnTo>
                  <a:lnTo>
                    <a:pt x="482" y="219"/>
                  </a:lnTo>
                  <a:lnTo>
                    <a:pt x="478" y="168"/>
                  </a:lnTo>
                  <a:lnTo>
                    <a:pt x="454" y="120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182" name="Freeform 19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1663" y="3365"/>
              <a:ext cx="294" cy="617"/>
            </a:xfrm>
            <a:custGeom>
              <a:avLst/>
              <a:gdLst>
                <a:gd name="T0" fmla="*/ 736 w 1951"/>
                <a:gd name="T1" fmla="*/ 11 h 4157"/>
                <a:gd name="T2" fmla="*/ 642 w 1951"/>
                <a:gd name="T3" fmla="*/ 151 h 4157"/>
                <a:gd name="T4" fmla="*/ 493 w 1951"/>
                <a:gd name="T5" fmla="*/ 349 h 4157"/>
                <a:gd name="T6" fmla="*/ 504 w 1951"/>
                <a:gd name="T7" fmla="*/ 518 h 4157"/>
                <a:gd name="T8" fmla="*/ 515 w 1951"/>
                <a:gd name="T9" fmla="*/ 628 h 4157"/>
                <a:gd name="T10" fmla="*/ 425 w 1951"/>
                <a:gd name="T11" fmla="*/ 758 h 4157"/>
                <a:gd name="T12" fmla="*/ 331 w 1951"/>
                <a:gd name="T13" fmla="*/ 1084 h 4157"/>
                <a:gd name="T14" fmla="*/ 360 w 1951"/>
                <a:gd name="T15" fmla="*/ 1499 h 4157"/>
                <a:gd name="T16" fmla="*/ 306 w 1951"/>
                <a:gd name="T17" fmla="*/ 1817 h 4157"/>
                <a:gd name="T18" fmla="*/ 262 w 1951"/>
                <a:gd name="T19" fmla="*/ 2161 h 4157"/>
                <a:gd name="T20" fmla="*/ 165 w 1951"/>
                <a:gd name="T21" fmla="*/ 2416 h 4157"/>
                <a:gd name="T22" fmla="*/ 152 w 1951"/>
                <a:gd name="T23" fmla="*/ 2656 h 4157"/>
                <a:gd name="T24" fmla="*/ 173 w 1951"/>
                <a:gd name="T25" fmla="*/ 2777 h 4157"/>
                <a:gd name="T26" fmla="*/ 226 w 1951"/>
                <a:gd name="T27" fmla="*/ 2969 h 4157"/>
                <a:gd name="T28" fmla="*/ 181 w 1951"/>
                <a:gd name="T29" fmla="*/ 3016 h 4157"/>
                <a:gd name="T30" fmla="*/ 206 w 1951"/>
                <a:gd name="T31" fmla="*/ 3096 h 4157"/>
                <a:gd name="T32" fmla="*/ 160 w 1951"/>
                <a:gd name="T33" fmla="*/ 3374 h 4157"/>
                <a:gd name="T34" fmla="*/ 119 w 1951"/>
                <a:gd name="T35" fmla="*/ 3514 h 4157"/>
                <a:gd name="T36" fmla="*/ 1 w 1951"/>
                <a:gd name="T37" fmla="*/ 3716 h 4157"/>
                <a:gd name="T38" fmla="*/ 87 w 1951"/>
                <a:gd name="T39" fmla="*/ 3896 h 4157"/>
                <a:gd name="T40" fmla="*/ 198 w 1951"/>
                <a:gd name="T41" fmla="*/ 4107 h 4157"/>
                <a:gd name="T42" fmla="*/ 500 w 1951"/>
                <a:gd name="T43" fmla="*/ 4153 h 4157"/>
                <a:gd name="T44" fmla="*/ 427 w 1951"/>
                <a:gd name="T45" fmla="*/ 3922 h 4157"/>
                <a:gd name="T46" fmla="*/ 557 w 1951"/>
                <a:gd name="T47" fmla="*/ 3778 h 4157"/>
                <a:gd name="T48" fmla="*/ 582 w 1951"/>
                <a:gd name="T49" fmla="*/ 3640 h 4157"/>
                <a:gd name="T50" fmla="*/ 758 w 1951"/>
                <a:gd name="T51" fmla="*/ 3438 h 4157"/>
                <a:gd name="T52" fmla="*/ 671 w 1951"/>
                <a:gd name="T53" fmla="*/ 3336 h 4157"/>
                <a:gd name="T54" fmla="*/ 593 w 1951"/>
                <a:gd name="T55" fmla="*/ 3175 h 4157"/>
                <a:gd name="T56" fmla="*/ 717 w 1951"/>
                <a:gd name="T57" fmla="*/ 3038 h 4157"/>
                <a:gd name="T58" fmla="*/ 807 w 1951"/>
                <a:gd name="T59" fmla="*/ 2933 h 4157"/>
                <a:gd name="T60" fmla="*/ 902 w 1951"/>
                <a:gd name="T61" fmla="*/ 2758 h 4157"/>
                <a:gd name="T62" fmla="*/ 835 w 1951"/>
                <a:gd name="T63" fmla="*/ 2717 h 4157"/>
                <a:gd name="T64" fmla="*/ 932 w 1951"/>
                <a:gd name="T65" fmla="*/ 2733 h 4157"/>
                <a:gd name="T66" fmla="*/ 904 w 1951"/>
                <a:gd name="T67" fmla="*/ 2643 h 4157"/>
                <a:gd name="T68" fmla="*/ 831 w 1951"/>
                <a:gd name="T69" fmla="*/ 2617 h 4157"/>
                <a:gd name="T70" fmla="*/ 830 w 1951"/>
                <a:gd name="T71" fmla="*/ 2454 h 4157"/>
                <a:gd name="T72" fmla="*/ 1089 w 1951"/>
                <a:gd name="T73" fmla="*/ 2463 h 4157"/>
                <a:gd name="T74" fmla="*/ 1086 w 1951"/>
                <a:gd name="T75" fmla="*/ 2363 h 4157"/>
                <a:gd name="T76" fmla="*/ 1092 w 1951"/>
                <a:gd name="T77" fmla="*/ 2195 h 4157"/>
                <a:gd name="T78" fmla="*/ 1457 w 1951"/>
                <a:gd name="T79" fmla="*/ 2157 h 4157"/>
                <a:gd name="T80" fmla="*/ 1648 w 1951"/>
                <a:gd name="T81" fmla="*/ 1921 h 4157"/>
                <a:gd name="T82" fmla="*/ 1583 w 1951"/>
                <a:gd name="T83" fmla="*/ 1813 h 4157"/>
                <a:gd name="T84" fmla="*/ 1584 w 1951"/>
                <a:gd name="T85" fmla="*/ 1700 h 4157"/>
                <a:gd name="T86" fmla="*/ 1480 w 1951"/>
                <a:gd name="T87" fmla="*/ 1575 h 4157"/>
                <a:gd name="T88" fmla="*/ 1492 w 1951"/>
                <a:gd name="T89" fmla="*/ 1444 h 4157"/>
                <a:gd name="T90" fmla="*/ 1542 w 1951"/>
                <a:gd name="T91" fmla="*/ 1093 h 4157"/>
                <a:gd name="T92" fmla="*/ 1940 w 1951"/>
                <a:gd name="T93" fmla="*/ 658 h 4157"/>
                <a:gd name="T94" fmla="*/ 1898 w 1951"/>
                <a:gd name="T95" fmla="*/ 464 h 4157"/>
                <a:gd name="T96" fmla="*/ 1772 w 1951"/>
                <a:gd name="T97" fmla="*/ 644 h 4157"/>
                <a:gd name="T98" fmla="*/ 1690 w 1951"/>
                <a:gd name="T99" fmla="*/ 663 h 4157"/>
                <a:gd name="T100" fmla="*/ 1541 w 1951"/>
                <a:gd name="T101" fmla="*/ 656 h 4157"/>
                <a:gd name="T102" fmla="*/ 1497 w 1951"/>
                <a:gd name="T103" fmla="*/ 612 h 4157"/>
                <a:gd name="T104" fmla="*/ 1549 w 1951"/>
                <a:gd name="T105" fmla="*/ 437 h 4157"/>
                <a:gd name="T106" fmla="*/ 1342 w 1951"/>
                <a:gd name="T107" fmla="*/ 284 h 4157"/>
                <a:gd name="T108" fmla="*/ 1088 w 1951"/>
                <a:gd name="T109" fmla="*/ 52 h 4157"/>
                <a:gd name="T110" fmla="*/ 908 w 1951"/>
                <a:gd name="T111" fmla="*/ 120 h 4157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951"/>
                <a:gd name="T169" fmla="*/ 0 h 4157"/>
                <a:gd name="T170" fmla="*/ 1951 w 1951"/>
                <a:gd name="T171" fmla="*/ 4157 h 4157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951" h="4157">
                  <a:moveTo>
                    <a:pt x="858" y="30"/>
                  </a:moveTo>
                  <a:lnTo>
                    <a:pt x="835" y="27"/>
                  </a:lnTo>
                  <a:lnTo>
                    <a:pt x="772" y="30"/>
                  </a:lnTo>
                  <a:lnTo>
                    <a:pt x="745" y="20"/>
                  </a:lnTo>
                  <a:lnTo>
                    <a:pt x="736" y="11"/>
                  </a:lnTo>
                  <a:lnTo>
                    <a:pt x="721" y="0"/>
                  </a:lnTo>
                  <a:lnTo>
                    <a:pt x="619" y="132"/>
                  </a:lnTo>
                  <a:lnTo>
                    <a:pt x="625" y="136"/>
                  </a:lnTo>
                  <a:lnTo>
                    <a:pt x="634" y="143"/>
                  </a:lnTo>
                  <a:lnTo>
                    <a:pt x="642" y="151"/>
                  </a:lnTo>
                  <a:lnTo>
                    <a:pt x="637" y="187"/>
                  </a:lnTo>
                  <a:lnTo>
                    <a:pt x="613" y="268"/>
                  </a:lnTo>
                  <a:lnTo>
                    <a:pt x="597" y="282"/>
                  </a:lnTo>
                  <a:lnTo>
                    <a:pt x="502" y="331"/>
                  </a:lnTo>
                  <a:lnTo>
                    <a:pt x="493" y="349"/>
                  </a:lnTo>
                  <a:lnTo>
                    <a:pt x="503" y="395"/>
                  </a:lnTo>
                  <a:lnTo>
                    <a:pt x="486" y="435"/>
                  </a:lnTo>
                  <a:lnTo>
                    <a:pt x="484" y="467"/>
                  </a:lnTo>
                  <a:lnTo>
                    <a:pt x="490" y="492"/>
                  </a:lnTo>
                  <a:lnTo>
                    <a:pt x="504" y="518"/>
                  </a:lnTo>
                  <a:lnTo>
                    <a:pt x="507" y="531"/>
                  </a:lnTo>
                  <a:lnTo>
                    <a:pt x="495" y="550"/>
                  </a:lnTo>
                  <a:lnTo>
                    <a:pt x="487" y="573"/>
                  </a:lnTo>
                  <a:lnTo>
                    <a:pt x="491" y="601"/>
                  </a:lnTo>
                  <a:lnTo>
                    <a:pt x="515" y="628"/>
                  </a:lnTo>
                  <a:lnTo>
                    <a:pt x="515" y="640"/>
                  </a:lnTo>
                  <a:lnTo>
                    <a:pt x="509" y="658"/>
                  </a:lnTo>
                  <a:lnTo>
                    <a:pt x="459" y="665"/>
                  </a:lnTo>
                  <a:lnTo>
                    <a:pt x="446" y="711"/>
                  </a:lnTo>
                  <a:lnTo>
                    <a:pt x="425" y="758"/>
                  </a:lnTo>
                  <a:lnTo>
                    <a:pt x="385" y="824"/>
                  </a:lnTo>
                  <a:lnTo>
                    <a:pt x="349" y="929"/>
                  </a:lnTo>
                  <a:lnTo>
                    <a:pt x="358" y="1057"/>
                  </a:lnTo>
                  <a:lnTo>
                    <a:pt x="353" y="1068"/>
                  </a:lnTo>
                  <a:lnTo>
                    <a:pt x="331" y="1084"/>
                  </a:lnTo>
                  <a:lnTo>
                    <a:pt x="318" y="1103"/>
                  </a:lnTo>
                  <a:lnTo>
                    <a:pt x="302" y="1172"/>
                  </a:lnTo>
                  <a:lnTo>
                    <a:pt x="294" y="1228"/>
                  </a:lnTo>
                  <a:lnTo>
                    <a:pt x="308" y="1265"/>
                  </a:lnTo>
                  <a:lnTo>
                    <a:pt x="360" y="1499"/>
                  </a:lnTo>
                  <a:lnTo>
                    <a:pt x="363" y="1540"/>
                  </a:lnTo>
                  <a:lnTo>
                    <a:pt x="360" y="1563"/>
                  </a:lnTo>
                  <a:lnTo>
                    <a:pt x="298" y="1709"/>
                  </a:lnTo>
                  <a:lnTo>
                    <a:pt x="309" y="1797"/>
                  </a:lnTo>
                  <a:lnTo>
                    <a:pt x="306" y="1817"/>
                  </a:lnTo>
                  <a:lnTo>
                    <a:pt x="247" y="1882"/>
                  </a:lnTo>
                  <a:lnTo>
                    <a:pt x="237" y="1901"/>
                  </a:lnTo>
                  <a:lnTo>
                    <a:pt x="230" y="2037"/>
                  </a:lnTo>
                  <a:lnTo>
                    <a:pt x="242" y="2104"/>
                  </a:lnTo>
                  <a:lnTo>
                    <a:pt x="262" y="2161"/>
                  </a:lnTo>
                  <a:lnTo>
                    <a:pt x="253" y="2170"/>
                  </a:lnTo>
                  <a:lnTo>
                    <a:pt x="210" y="2202"/>
                  </a:lnTo>
                  <a:lnTo>
                    <a:pt x="205" y="2213"/>
                  </a:lnTo>
                  <a:lnTo>
                    <a:pt x="180" y="2382"/>
                  </a:lnTo>
                  <a:lnTo>
                    <a:pt x="165" y="2416"/>
                  </a:lnTo>
                  <a:lnTo>
                    <a:pt x="163" y="2439"/>
                  </a:lnTo>
                  <a:lnTo>
                    <a:pt x="167" y="2553"/>
                  </a:lnTo>
                  <a:lnTo>
                    <a:pt x="177" y="2608"/>
                  </a:lnTo>
                  <a:lnTo>
                    <a:pt x="177" y="2636"/>
                  </a:lnTo>
                  <a:lnTo>
                    <a:pt x="152" y="2656"/>
                  </a:lnTo>
                  <a:lnTo>
                    <a:pt x="144" y="2666"/>
                  </a:lnTo>
                  <a:lnTo>
                    <a:pt x="139" y="2684"/>
                  </a:lnTo>
                  <a:lnTo>
                    <a:pt x="143" y="2761"/>
                  </a:lnTo>
                  <a:lnTo>
                    <a:pt x="149" y="2770"/>
                  </a:lnTo>
                  <a:lnTo>
                    <a:pt x="173" y="2777"/>
                  </a:lnTo>
                  <a:lnTo>
                    <a:pt x="177" y="2818"/>
                  </a:lnTo>
                  <a:lnTo>
                    <a:pt x="168" y="2912"/>
                  </a:lnTo>
                  <a:lnTo>
                    <a:pt x="180" y="2951"/>
                  </a:lnTo>
                  <a:lnTo>
                    <a:pt x="192" y="2962"/>
                  </a:lnTo>
                  <a:lnTo>
                    <a:pt x="226" y="2969"/>
                  </a:lnTo>
                  <a:lnTo>
                    <a:pt x="239" y="2981"/>
                  </a:lnTo>
                  <a:lnTo>
                    <a:pt x="239" y="2993"/>
                  </a:lnTo>
                  <a:lnTo>
                    <a:pt x="229" y="3006"/>
                  </a:lnTo>
                  <a:lnTo>
                    <a:pt x="214" y="3015"/>
                  </a:lnTo>
                  <a:lnTo>
                    <a:pt x="181" y="3016"/>
                  </a:lnTo>
                  <a:lnTo>
                    <a:pt x="149" y="3025"/>
                  </a:lnTo>
                  <a:lnTo>
                    <a:pt x="156" y="3038"/>
                  </a:lnTo>
                  <a:lnTo>
                    <a:pt x="184" y="3057"/>
                  </a:lnTo>
                  <a:lnTo>
                    <a:pt x="206" y="3082"/>
                  </a:lnTo>
                  <a:lnTo>
                    <a:pt x="206" y="3096"/>
                  </a:lnTo>
                  <a:lnTo>
                    <a:pt x="175" y="3147"/>
                  </a:lnTo>
                  <a:lnTo>
                    <a:pt x="172" y="3219"/>
                  </a:lnTo>
                  <a:lnTo>
                    <a:pt x="179" y="3286"/>
                  </a:lnTo>
                  <a:lnTo>
                    <a:pt x="168" y="3346"/>
                  </a:lnTo>
                  <a:lnTo>
                    <a:pt x="160" y="3374"/>
                  </a:lnTo>
                  <a:lnTo>
                    <a:pt x="149" y="3392"/>
                  </a:lnTo>
                  <a:lnTo>
                    <a:pt x="123" y="3403"/>
                  </a:lnTo>
                  <a:lnTo>
                    <a:pt x="111" y="3417"/>
                  </a:lnTo>
                  <a:lnTo>
                    <a:pt x="100" y="3470"/>
                  </a:lnTo>
                  <a:lnTo>
                    <a:pt x="119" y="3514"/>
                  </a:lnTo>
                  <a:lnTo>
                    <a:pt x="116" y="3526"/>
                  </a:lnTo>
                  <a:lnTo>
                    <a:pt x="103" y="3608"/>
                  </a:lnTo>
                  <a:lnTo>
                    <a:pt x="90" y="3626"/>
                  </a:lnTo>
                  <a:lnTo>
                    <a:pt x="13" y="3695"/>
                  </a:lnTo>
                  <a:lnTo>
                    <a:pt x="1" y="3716"/>
                  </a:lnTo>
                  <a:lnTo>
                    <a:pt x="0" y="3746"/>
                  </a:lnTo>
                  <a:lnTo>
                    <a:pt x="13" y="3836"/>
                  </a:lnTo>
                  <a:lnTo>
                    <a:pt x="34" y="3913"/>
                  </a:lnTo>
                  <a:lnTo>
                    <a:pt x="44" y="3917"/>
                  </a:lnTo>
                  <a:lnTo>
                    <a:pt x="87" y="3896"/>
                  </a:lnTo>
                  <a:lnTo>
                    <a:pt x="115" y="3889"/>
                  </a:lnTo>
                  <a:lnTo>
                    <a:pt x="124" y="3905"/>
                  </a:lnTo>
                  <a:lnTo>
                    <a:pt x="135" y="4065"/>
                  </a:lnTo>
                  <a:lnTo>
                    <a:pt x="168" y="4104"/>
                  </a:lnTo>
                  <a:lnTo>
                    <a:pt x="198" y="4107"/>
                  </a:lnTo>
                  <a:lnTo>
                    <a:pt x="261" y="4104"/>
                  </a:lnTo>
                  <a:lnTo>
                    <a:pt x="385" y="4113"/>
                  </a:lnTo>
                  <a:lnTo>
                    <a:pt x="483" y="4153"/>
                  </a:lnTo>
                  <a:lnTo>
                    <a:pt x="496" y="4157"/>
                  </a:lnTo>
                  <a:lnTo>
                    <a:pt x="500" y="4153"/>
                  </a:lnTo>
                  <a:lnTo>
                    <a:pt x="490" y="4130"/>
                  </a:lnTo>
                  <a:lnTo>
                    <a:pt x="459" y="4076"/>
                  </a:lnTo>
                  <a:lnTo>
                    <a:pt x="435" y="4012"/>
                  </a:lnTo>
                  <a:lnTo>
                    <a:pt x="426" y="3959"/>
                  </a:lnTo>
                  <a:lnTo>
                    <a:pt x="427" y="3922"/>
                  </a:lnTo>
                  <a:lnTo>
                    <a:pt x="438" y="3868"/>
                  </a:lnTo>
                  <a:lnTo>
                    <a:pt x="453" y="3841"/>
                  </a:lnTo>
                  <a:lnTo>
                    <a:pt x="471" y="3825"/>
                  </a:lnTo>
                  <a:lnTo>
                    <a:pt x="514" y="3809"/>
                  </a:lnTo>
                  <a:lnTo>
                    <a:pt x="557" y="3778"/>
                  </a:lnTo>
                  <a:lnTo>
                    <a:pt x="568" y="3755"/>
                  </a:lnTo>
                  <a:lnTo>
                    <a:pt x="574" y="3725"/>
                  </a:lnTo>
                  <a:lnTo>
                    <a:pt x="570" y="3689"/>
                  </a:lnTo>
                  <a:lnTo>
                    <a:pt x="573" y="3658"/>
                  </a:lnTo>
                  <a:lnTo>
                    <a:pt x="582" y="3640"/>
                  </a:lnTo>
                  <a:lnTo>
                    <a:pt x="613" y="3591"/>
                  </a:lnTo>
                  <a:lnTo>
                    <a:pt x="729" y="3501"/>
                  </a:lnTo>
                  <a:lnTo>
                    <a:pt x="737" y="3491"/>
                  </a:lnTo>
                  <a:lnTo>
                    <a:pt x="753" y="3461"/>
                  </a:lnTo>
                  <a:lnTo>
                    <a:pt x="758" y="3438"/>
                  </a:lnTo>
                  <a:lnTo>
                    <a:pt x="765" y="3385"/>
                  </a:lnTo>
                  <a:lnTo>
                    <a:pt x="758" y="3366"/>
                  </a:lnTo>
                  <a:lnTo>
                    <a:pt x="742" y="3360"/>
                  </a:lnTo>
                  <a:lnTo>
                    <a:pt x="699" y="3352"/>
                  </a:lnTo>
                  <a:lnTo>
                    <a:pt x="671" y="3336"/>
                  </a:lnTo>
                  <a:lnTo>
                    <a:pt x="627" y="3293"/>
                  </a:lnTo>
                  <a:lnTo>
                    <a:pt x="606" y="3263"/>
                  </a:lnTo>
                  <a:lnTo>
                    <a:pt x="593" y="3225"/>
                  </a:lnTo>
                  <a:lnTo>
                    <a:pt x="589" y="3200"/>
                  </a:lnTo>
                  <a:lnTo>
                    <a:pt x="593" y="3175"/>
                  </a:lnTo>
                  <a:lnTo>
                    <a:pt x="617" y="3120"/>
                  </a:lnTo>
                  <a:lnTo>
                    <a:pt x="642" y="3085"/>
                  </a:lnTo>
                  <a:lnTo>
                    <a:pt x="668" y="3060"/>
                  </a:lnTo>
                  <a:lnTo>
                    <a:pt x="696" y="3045"/>
                  </a:lnTo>
                  <a:lnTo>
                    <a:pt x="717" y="3038"/>
                  </a:lnTo>
                  <a:lnTo>
                    <a:pt x="770" y="3032"/>
                  </a:lnTo>
                  <a:lnTo>
                    <a:pt x="791" y="3025"/>
                  </a:lnTo>
                  <a:lnTo>
                    <a:pt x="773" y="3001"/>
                  </a:lnTo>
                  <a:lnTo>
                    <a:pt x="772" y="2986"/>
                  </a:lnTo>
                  <a:lnTo>
                    <a:pt x="807" y="2933"/>
                  </a:lnTo>
                  <a:lnTo>
                    <a:pt x="811" y="2918"/>
                  </a:lnTo>
                  <a:lnTo>
                    <a:pt x="805" y="2865"/>
                  </a:lnTo>
                  <a:lnTo>
                    <a:pt x="805" y="2839"/>
                  </a:lnTo>
                  <a:lnTo>
                    <a:pt x="830" y="2802"/>
                  </a:lnTo>
                  <a:lnTo>
                    <a:pt x="902" y="2758"/>
                  </a:lnTo>
                  <a:lnTo>
                    <a:pt x="899" y="2756"/>
                  </a:lnTo>
                  <a:lnTo>
                    <a:pt x="859" y="2742"/>
                  </a:lnTo>
                  <a:lnTo>
                    <a:pt x="832" y="2737"/>
                  </a:lnTo>
                  <a:lnTo>
                    <a:pt x="827" y="2724"/>
                  </a:lnTo>
                  <a:lnTo>
                    <a:pt x="835" y="2717"/>
                  </a:lnTo>
                  <a:lnTo>
                    <a:pt x="865" y="2705"/>
                  </a:lnTo>
                  <a:lnTo>
                    <a:pt x="911" y="2700"/>
                  </a:lnTo>
                  <a:lnTo>
                    <a:pt x="916" y="2705"/>
                  </a:lnTo>
                  <a:lnTo>
                    <a:pt x="921" y="2724"/>
                  </a:lnTo>
                  <a:lnTo>
                    <a:pt x="932" y="2733"/>
                  </a:lnTo>
                  <a:lnTo>
                    <a:pt x="953" y="2730"/>
                  </a:lnTo>
                  <a:lnTo>
                    <a:pt x="966" y="2723"/>
                  </a:lnTo>
                  <a:lnTo>
                    <a:pt x="972" y="2712"/>
                  </a:lnTo>
                  <a:lnTo>
                    <a:pt x="958" y="2627"/>
                  </a:lnTo>
                  <a:lnTo>
                    <a:pt x="904" y="2643"/>
                  </a:lnTo>
                  <a:lnTo>
                    <a:pt x="920" y="2668"/>
                  </a:lnTo>
                  <a:lnTo>
                    <a:pt x="905" y="2680"/>
                  </a:lnTo>
                  <a:lnTo>
                    <a:pt x="870" y="2675"/>
                  </a:lnTo>
                  <a:lnTo>
                    <a:pt x="835" y="2641"/>
                  </a:lnTo>
                  <a:lnTo>
                    <a:pt x="831" y="2617"/>
                  </a:lnTo>
                  <a:lnTo>
                    <a:pt x="842" y="2576"/>
                  </a:lnTo>
                  <a:lnTo>
                    <a:pt x="840" y="2552"/>
                  </a:lnTo>
                  <a:lnTo>
                    <a:pt x="821" y="2507"/>
                  </a:lnTo>
                  <a:lnTo>
                    <a:pt x="819" y="2470"/>
                  </a:lnTo>
                  <a:lnTo>
                    <a:pt x="830" y="2454"/>
                  </a:lnTo>
                  <a:lnTo>
                    <a:pt x="840" y="2451"/>
                  </a:lnTo>
                  <a:lnTo>
                    <a:pt x="948" y="2497"/>
                  </a:lnTo>
                  <a:lnTo>
                    <a:pt x="983" y="2500"/>
                  </a:lnTo>
                  <a:lnTo>
                    <a:pt x="1034" y="2493"/>
                  </a:lnTo>
                  <a:lnTo>
                    <a:pt x="1089" y="2463"/>
                  </a:lnTo>
                  <a:lnTo>
                    <a:pt x="1093" y="2460"/>
                  </a:lnTo>
                  <a:lnTo>
                    <a:pt x="1104" y="2447"/>
                  </a:lnTo>
                  <a:lnTo>
                    <a:pt x="1101" y="2430"/>
                  </a:lnTo>
                  <a:lnTo>
                    <a:pt x="1083" y="2387"/>
                  </a:lnTo>
                  <a:lnTo>
                    <a:pt x="1086" y="2363"/>
                  </a:lnTo>
                  <a:lnTo>
                    <a:pt x="1118" y="2294"/>
                  </a:lnTo>
                  <a:lnTo>
                    <a:pt x="1121" y="2275"/>
                  </a:lnTo>
                  <a:lnTo>
                    <a:pt x="1108" y="2264"/>
                  </a:lnTo>
                  <a:lnTo>
                    <a:pt x="1093" y="2245"/>
                  </a:lnTo>
                  <a:lnTo>
                    <a:pt x="1092" y="2195"/>
                  </a:lnTo>
                  <a:lnTo>
                    <a:pt x="1097" y="2182"/>
                  </a:lnTo>
                  <a:lnTo>
                    <a:pt x="1139" y="2197"/>
                  </a:lnTo>
                  <a:lnTo>
                    <a:pt x="1191" y="2204"/>
                  </a:lnTo>
                  <a:lnTo>
                    <a:pt x="1372" y="2182"/>
                  </a:lnTo>
                  <a:lnTo>
                    <a:pt x="1457" y="2157"/>
                  </a:lnTo>
                  <a:lnTo>
                    <a:pt x="1539" y="2115"/>
                  </a:lnTo>
                  <a:lnTo>
                    <a:pt x="1556" y="2097"/>
                  </a:lnTo>
                  <a:lnTo>
                    <a:pt x="1570" y="2053"/>
                  </a:lnTo>
                  <a:lnTo>
                    <a:pt x="1635" y="1949"/>
                  </a:lnTo>
                  <a:lnTo>
                    <a:pt x="1648" y="1921"/>
                  </a:lnTo>
                  <a:lnTo>
                    <a:pt x="1639" y="1866"/>
                  </a:lnTo>
                  <a:lnTo>
                    <a:pt x="1633" y="1859"/>
                  </a:lnTo>
                  <a:lnTo>
                    <a:pt x="1611" y="1850"/>
                  </a:lnTo>
                  <a:lnTo>
                    <a:pt x="1590" y="1831"/>
                  </a:lnTo>
                  <a:lnTo>
                    <a:pt x="1583" y="1813"/>
                  </a:lnTo>
                  <a:lnTo>
                    <a:pt x="1578" y="1794"/>
                  </a:lnTo>
                  <a:lnTo>
                    <a:pt x="1579" y="1769"/>
                  </a:lnTo>
                  <a:lnTo>
                    <a:pt x="1596" y="1739"/>
                  </a:lnTo>
                  <a:lnTo>
                    <a:pt x="1596" y="1720"/>
                  </a:lnTo>
                  <a:lnTo>
                    <a:pt x="1584" y="1700"/>
                  </a:lnTo>
                  <a:lnTo>
                    <a:pt x="1572" y="1690"/>
                  </a:lnTo>
                  <a:lnTo>
                    <a:pt x="1510" y="1656"/>
                  </a:lnTo>
                  <a:lnTo>
                    <a:pt x="1470" y="1607"/>
                  </a:lnTo>
                  <a:lnTo>
                    <a:pt x="1469" y="1593"/>
                  </a:lnTo>
                  <a:lnTo>
                    <a:pt x="1480" y="1575"/>
                  </a:lnTo>
                  <a:lnTo>
                    <a:pt x="1488" y="1557"/>
                  </a:lnTo>
                  <a:lnTo>
                    <a:pt x="1489" y="1538"/>
                  </a:lnTo>
                  <a:lnTo>
                    <a:pt x="1482" y="1505"/>
                  </a:lnTo>
                  <a:lnTo>
                    <a:pt x="1482" y="1472"/>
                  </a:lnTo>
                  <a:lnTo>
                    <a:pt x="1492" y="1444"/>
                  </a:lnTo>
                  <a:lnTo>
                    <a:pt x="1513" y="1412"/>
                  </a:lnTo>
                  <a:lnTo>
                    <a:pt x="1519" y="1394"/>
                  </a:lnTo>
                  <a:lnTo>
                    <a:pt x="1509" y="1287"/>
                  </a:lnTo>
                  <a:lnTo>
                    <a:pt x="1539" y="1119"/>
                  </a:lnTo>
                  <a:lnTo>
                    <a:pt x="1542" y="1093"/>
                  </a:lnTo>
                  <a:lnTo>
                    <a:pt x="1572" y="1047"/>
                  </a:lnTo>
                  <a:lnTo>
                    <a:pt x="1824" y="732"/>
                  </a:lnTo>
                  <a:lnTo>
                    <a:pt x="1840" y="718"/>
                  </a:lnTo>
                  <a:lnTo>
                    <a:pt x="1916" y="675"/>
                  </a:lnTo>
                  <a:lnTo>
                    <a:pt x="1940" y="658"/>
                  </a:lnTo>
                  <a:lnTo>
                    <a:pt x="1946" y="631"/>
                  </a:lnTo>
                  <a:lnTo>
                    <a:pt x="1951" y="539"/>
                  </a:lnTo>
                  <a:lnTo>
                    <a:pt x="1928" y="474"/>
                  </a:lnTo>
                  <a:lnTo>
                    <a:pt x="1919" y="464"/>
                  </a:lnTo>
                  <a:lnTo>
                    <a:pt x="1898" y="464"/>
                  </a:lnTo>
                  <a:lnTo>
                    <a:pt x="1856" y="474"/>
                  </a:lnTo>
                  <a:lnTo>
                    <a:pt x="1857" y="487"/>
                  </a:lnTo>
                  <a:lnTo>
                    <a:pt x="1833" y="575"/>
                  </a:lnTo>
                  <a:lnTo>
                    <a:pt x="1817" y="601"/>
                  </a:lnTo>
                  <a:lnTo>
                    <a:pt x="1772" y="644"/>
                  </a:lnTo>
                  <a:lnTo>
                    <a:pt x="1759" y="659"/>
                  </a:lnTo>
                  <a:lnTo>
                    <a:pt x="1743" y="688"/>
                  </a:lnTo>
                  <a:lnTo>
                    <a:pt x="1715" y="666"/>
                  </a:lnTo>
                  <a:lnTo>
                    <a:pt x="1701" y="661"/>
                  </a:lnTo>
                  <a:lnTo>
                    <a:pt x="1690" y="663"/>
                  </a:lnTo>
                  <a:lnTo>
                    <a:pt x="1673" y="674"/>
                  </a:lnTo>
                  <a:lnTo>
                    <a:pt x="1640" y="681"/>
                  </a:lnTo>
                  <a:lnTo>
                    <a:pt x="1609" y="681"/>
                  </a:lnTo>
                  <a:lnTo>
                    <a:pt x="1584" y="675"/>
                  </a:lnTo>
                  <a:lnTo>
                    <a:pt x="1541" y="656"/>
                  </a:lnTo>
                  <a:lnTo>
                    <a:pt x="1513" y="654"/>
                  </a:lnTo>
                  <a:lnTo>
                    <a:pt x="1461" y="674"/>
                  </a:lnTo>
                  <a:lnTo>
                    <a:pt x="1453" y="670"/>
                  </a:lnTo>
                  <a:lnTo>
                    <a:pt x="1455" y="658"/>
                  </a:lnTo>
                  <a:lnTo>
                    <a:pt x="1497" y="612"/>
                  </a:lnTo>
                  <a:lnTo>
                    <a:pt x="1501" y="601"/>
                  </a:lnTo>
                  <a:lnTo>
                    <a:pt x="1492" y="566"/>
                  </a:lnTo>
                  <a:lnTo>
                    <a:pt x="1494" y="554"/>
                  </a:lnTo>
                  <a:lnTo>
                    <a:pt x="1522" y="506"/>
                  </a:lnTo>
                  <a:lnTo>
                    <a:pt x="1549" y="437"/>
                  </a:lnTo>
                  <a:lnTo>
                    <a:pt x="1549" y="423"/>
                  </a:lnTo>
                  <a:lnTo>
                    <a:pt x="1509" y="395"/>
                  </a:lnTo>
                  <a:lnTo>
                    <a:pt x="1478" y="384"/>
                  </a:lnTo>
                  <a:lnTo>
                    <a:pt x="1415" y="345"/>
                  </a:lnTo>
                  <a:lnTo>
                    <a:pt x="1342" y="284"/>
                  </a:lnTo>
                  <a:lnTo>
                    <a:pt x="1314" y="268"/>
                  </a:lnTo>
                  <a:lnTo>
                    <a:pt x="1263" y="255"/>
                  </a:lnTo>
                  <a:lnTo>
                    <a:pt x="1240" y="243"/>
                  </a:lnTo>
                  <a:lnTo>
                    <a:pt x="1203" y="210"/>
                  </a:lnTo>
                  <a:lnTo>
                    <a:pt x="1088" y="52"/>
                  </a:lnTo>
                  <a:lnTo>
                    <a:pt x="1077" y="32"/>
                  </a:lnTo>
                  <a:lnTo>
                    <a:pt x="1068" y="29"/>
                  </a:lnTo>
                  <a:lnTo>
                    <a:pt x="1043" y="23"/>
                  </a:lnTo>
                  <a:lnTo>
                    <a:pt x="954" y="20"/>
                  </a:lnTo>
                  <a:lnTo>
                    <a:pt x="908" y="120"/>
                  </a:lnTo>
                  <a:lnTo>
                    <a:pt x="891" y="59"/>
                  </a:lnTo>
                  <a:lnTo>
                    <a:pt x="874" y="41"/>
                  </a:lnTo>
                  <a:lnTo>
                    <a:pt x="858" y="30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183" name="Freeform 20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1735" y="4001"/>
              <a:ext cx="51" cy="43"/>
            </a:xfrm>
            <a:custGeom>
              <a:avLst/>
              <a:gdLst>
                <a:gd name="T0" fmla="*/ 13 w 343"/>
                <a:gd name="T1" fmla="*/ 14 h 295"/>
                <a:gd name="T2" fmla="*/ 5 w 343"/>
                <a:gd name="T3" fmla="*/ 0 h 295"/>
                <a:gd name="T4" fmla="*/ 0 w 343"/>
                <a:gd name="T5" fmla="*/ 267 h 295"/>
                <a:gd name="T6" fmla="*/ 37 w 343"/>
                <a:gd name="T7" fmla="*/ 260 h 295"/>
                <a:gd name="T8" fmla="*/ 123 w 343"/>
                <a:gd name="T9" fmla="*/ 264 h 295"/>
                <a:gd name="T10" fmla="*/ 157 w 343"/>
                <a:gd name="T11" fmla="*/ 271 h 295"/>
                <a:gd name="T12" fmla="*/ 209 w 343"/>
                <a:gd name="T13" fmla="*/ 295 h 295"/>
                <a:gd name="T14" fmla="*/ 226 w 343"/>
                <a:gd name="T15" fmla="*/ 295 h 295"/>
                <a:gd name="T16" fmla="*/ 259 w 343"/>
                <a:gd name="T17" fmla="*/ 281 h 295"/>
                <a:gd name="T18" fmla="*/ 333 w 343"/>
                <a:gd name="T19" fmla="*/ 271 h 295"/>
                <a:gd name="T20" fmla="*/ 343 w 343"/>
                <a:gd name="T21" fmla="*/ 255 h 295"/>
                <a:gd name="T22" fmla="*/ 343 w 343"/>
                <a:gd name="T23" fmla="*/ 239 h 295"/>
                <a:gd name="T24" fmla="*/ 337 w 343"/>
                <a:gd name="T25" fmla="*/ 241 h 295"/>
                <a:gd name="T26" fmla="*/ 280 w 343"/>
                <a:gd name="T27" fmla="*/ 239 h 295"/>
                <a:gd name="T28" fmla="*/ 258 w 343"/>
                <a:gd name="T29" fmla="*/ 227 h 295"/>
                <a:gd name="T30" fmla="*/ 241 w 343"/>
                <a:gd name="T31" fmla="*/ 227 h 295"/>
                <a:gd name="T32" fmla="*/ 230 w 343"/>
                <a:gd name="T33" fmla="*/ 221 h 295"/>
                <a:gd name="T34" fmla="*/ 173 w 343"/>
                <a:gd name="T35" fmla="*/ 177 h 295"/>
                <a:gd name="T36" fmla="*/ 91 w 343"/>
                <a:gd name="T37" fmla="*/ 75 h 295"/>
                <a:gd name="T38" fmla="*/ 61 w 343"/>
                <a:gd name="T39" fmla="*/ 24 h 295"/>
                <a:gd name="T40" fmla="*/ 46 w 343"/>
                <a:gd name="T41" fmla="*/ 14 h 295"/>
                <a:gd name="T42" fmla="*/ 20 w 343"/>
                <a:gd name="T43" fmla="*/ 20 h 295"/>
                <a:gd name="T44" fmla="*/ 13 w 343"/>
                <a:gd name="T45" fmla="*/ 14 h 29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343"/>
                <a:gd name="T70" fmla="*/ 0 h 295"/>
                <a:gd name="T71" fmla="*/ 343 w 343"/>
                <a:gd name="T72" fmla="*/ 295 h 295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343" h="295">
                  <a:moveTo>
                    <a:pt x="13" y="14"/>
                  </a:moveTo>
                  <a:lnTo>
                    <a:pt x="5" y="0"/>
                  </a:lnTo>
                  <a:lnTo>
                    <a:pt x="0" y="267"/>
                  </a:lnTo>
                  <a:lnTo>
                    <a:pt x="37" y="260"/>
                  </a:lnTo>
                  <a:lnTo>
                    <a:pt x="123" y="264"/>
                  </a:lnTo>
                  <a:lnTo>
                    <a:pt x="157" y="271"/>
                  </a:lnTo>
                  <a:lnTo>
                    <a:pt x="209" y="295"/>
                  </a:lnTo>
                  <a:lnTo>
                    <a:pt x="226" y="295"/>
                  </a:lnTo>
                  <a:lnTo>
                    <a:pt x="259" y="281"/>
                  </a:lnTo>
                  <a:lnTo>
                    <a:pt x="333" y="271"/>
                  </a:lnTo>
                  <a:lnTo>
                    <a:pt x="343" y="255"/>
                  </a:lnTo>
                  <a:lnTo>
                    <a:pt x="343" y="239"/>
                  </a:lnTo>
                  <a:lnTo>
                    <a:pt x="337" y="241"/>
                  </a:lnTo>
                  <a:lnTo>
                    <a:pt x="280" y="239"/>
                  </a:lnTo>
                  <a:lnTo>
                    <a:pt x="258" y="227"/>
                  </a:lnTo>
                  <a:lnTo>
                    <a:pt x="241" y="227"/>
                  </a:lnTo>
                  <a:lnTo>
                    <a:pt x="230" y="221"/>
                  </a:lnTo>
                  <a:lnTo>
                    <a:pt x="173" y="177"/>
                  </a:lnTo>
                  <a:lnTo>
                    <a:pt x="91" y="75"/>
                  </a:lnTo>
                  <a:lnTo>
                    <a:pt x="61" y="24"/>
                  </a:lnTo>
                  <a:lnTo>
                    <a:pt x="46" y="14"/>
                  </a:lnTo>
                  <a:lnTo>
                    <a:pt x="20" y="20"/>
                  </a:lnTo>
                  <a:lnTo>
                    <a:pt x="13" y="14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184" name="Freeform 21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1735" y="3990"/>
              <a:ext cx="6" cy="11"/>
            </a:xfrm>
            <a:custGeom>
              <a:avLst/>
              <a:gdLst>
                <a:gd name="T0" fmla="*/ 37 w 40"/>
                <a:gd name="T1" fmla="*/ 21 h 81"/>
                <a:gd name="T2" fmla="*/ 0 w 40"/>
                <a:gd name="T3" fmla="*/ 0 h 81"/>
                <a:gd name="T4" fmla="*/ 0 w 40"/>
                <a:gd name="T5" fmla="*/ 81 h 81"/>
                <a:gd name="T6" fmla="*/ 24 w 40"/>
                <a:gd name="T7" fmla="*/ 58 h 81"/>
                <a:gd name="T8" fmla="*/ 40 w 40"/>
                <a:gd name="T9" fmla="*/ 35 h 81"/>
                <a:gd name="T10" fmla="*/ 37 w 40"/>
                <a:gd name="T11" fmla="*/ 21 h 8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0"/>
                <a:gd name="T19" fmla="*/ 0 h 81"/>
                <a:gd name="T20" fmla="*/ 40 w 40"/>
                <a:gd name="T21" fmla="*/ 81 h 8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0" h="81">
                  <a:moveTo>
                    <a:pt x="37" y="21"/>
                  </a:moveTo>
                  <a:lnTo>
                    <a:pt x="0" y="0"/>
                  </a:lnTo>
                  <a:lnTo>
                    <a:pt x="0" y="81"/>
                  </a:lnTo>
                  <a:lnTo>
                    <a:pt x="24" y="58"/>
                  </a:lnTo>
                  <a:lnTo>
                    <a:pt x="40" y="35"/>
                  </a:lnTo>
                  <a:lnTo>
                    <a:pt x="37" y="21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185" name="Freeform 22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1735" y="3990"/>
              <a:ext cx="6" cy="11"/>
            </a:xfrm>
            <a:custGeom>
              <a:avLst/>
              <a:gdLst>
                <a:gd name="T0" fmla="*/ 0 w 40"/>
                <a:gd name="T1" fmla="*/ 81 h 81"/>
                <a:gd name="T2" fmla="*/ 24 w 40"/>
                <a:gd name="T3" fmla="*/ 58 h 81"/>
                <a:gd name="T4" fmla="*/ 40 w 40"/>
                <a:gd name="T5" fmla="*/ 35 h 81"/>
                <a:gd name="T6" fmla="*/ 37 w 40"/>
                <a:gd name="T7" fmla="*/ 21 h 81"/>
                <a:gd name="T8" fmla="*/ 0 w 40"/>
                <a:gd name="T9" fmla="*/ 0 h 81"/>
                <a:gd name="T10" fmla="*/ 0 w 40"/>
                <a:gd name="T11" fmla="*/ 81 h 8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0"/>
                <a:gd name="T19" fmla="*/ 0 h 81"/>
                <a:gd name="T20" fmla="*/ 40 w 40"/>
                <a:gd name="T21" fmla="*/ 81 h 8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0" h="81">
                  <a:moveTo>
                    <a:pt x="0" y="81"/>
                  </a:moveTo>
                  <a:lnTo>
                    <a:pt x="24" y="58"/>
                  </a:lnTo>
                  <a:lnTo>
                    <a:pt x="40" y="35"/>
                  </a:lnTo>
                  <a:lnTo>
                    <a:pt x="37" y="21"/>
                  </a:lnTo>
                  <a:lnTo>
                    <a:pt x="0" y="0"/>
                  </a:lnTo>
                  <a:lnTo>
                    <a:pt x="0" y="81"/>
                  </a:lnTo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186" name="Freeform 23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1582" y="2764"/>
              <a:ext cx="176" cy="290"/>
            </a:xfrm>
            <a:custGeom>
              <a:avLst/>
              <a:gdLst>
                <a:gd name="T0" fmla="*/ 230 w 1165"/>
                <a:gd name="T1" fmla="*/ 508 h 1948"/>
                <a:gd name="T2" fmla="*/ 195 w 1165"/>
                <a:gd name="T3" fmla="*/ 492 h 1948"/>
                <a:gd name="T4" fmla="*/ 156 w 1165"/>
                <a:gd name="T5" fmla="*/ 462 h 1948"/>
                <a:gd name="T6" fmla="*/ 172 w 1165"/>
                <a:gd name="T7" fmla="*/ 551 h 1948"/>
                <a:gd name="T8" fmla="*/ 136 w 1165"/>
                <a:gd name="T9" fmla="*/ 575 h 1948"/>
                <a:gd name="T10" fmla="*/ 169 w 1165"/>
                <a:gd name="T11" fmla="*/ 695 h 1948"/>
                <a:gd name="T12" fmla="*/ 155 w 1165"/>
                <a:gd name="T13" fmla="*/ 747 h 1948"/>
                <a:gd name="T14" fmla="*/ 156 w 1165"/>
                <a:gd name="T15" fmla="*/ 800 h 1948"/>
                <a:gd name="T16" fmla="*/ 172 w 1165"/>
                <a:gd name="T17" fmla="*/ 933 h 1948"/>
                <a:gd name="T18" fmla="*/ 192 w 1165"/>
                <a:gd name="T19" fmla="*/ 1016 h 1948"/>
                <a:gd name="T20" fmla="*/ 104 w 1165"/>
                <a:gd name="T21" fmla="*/ 1169 h 1948"/>
                <a:gd name="T22" fmla="*/ 41 w 1165"/>
                <a:gd name="T23" fmla="*/ 1204 h 1948"/>
                <a:gd name="T24" fmla="*/ 4 w 1165"/>
                <a:gd name="T25" fmla="*/ 1252 h 1948"/>
                <a:gd name="T26" fmla="*/ 12 w 1165"/>
                <a:gd name="T27" fmla="*/ 1298 h 1948"/>
                <a:gd name="T28" fmla="*/ 173 w 1165"/>
                <a:gd name="T29" fmla="*/ 1429 h 1948"/>
                <a:gd name="T30" fmla="*/ 291 w 1165"/>
                <a:gd name="T31" fmla="*/ 1422 h 1948"/>
                <a:gd name="T32" fmla="*/ 388 w 1165"/>
                <a:gd name="T33" fmla="*/ 1482 h 1948"/>
                <a:gd name="T34" fmla="*/ 467 w 1165"/>
                <a:gd name="T35" fmla="*/ 1576 h 1948"/>
                <a:gd name="T36" fmla="*/ 565 w 1165"/>
                <a:gd name="T37" fmla="*/ 1692 h 1948"/>
                <a:gd name="T38" fmla="*/ 598 w 1165"/>
                <a:gd name="T39" fmla="*/ 1745 h 1948"/>
                <a:gd name="T40" fmla="*/ 725 w 1165"/>
                <a:gd name="T41" fmla="*/ 1722 h 1948"/>
                <a:gd name="T42" fmla="*/ 821 w 1165"/>
                <a:gd name="T43" fmla="*/ 1742 h 1948"/>
                <a:gd name="T44" fmla="*/ 831 w 1165"/>
                <a:gd name="T45" fmla="*/ 1902 h 1948"/>
                <a:gd name="T46" fmla="*/ 893 w 1165"/>
                <a:gd name="T47" fmla="*/ 1941 h 1948"/>
                <a:gd name="T48" fmla="*/ 954 w 1165"/>
                <a:gd name="T49" fmla="*/ 1600 h 1948"/>
                <a:gd name="T50" fmla="*/ 897 w 1165"/>
                <a:gd name="T51" fmla="*/ 1502 h 1948"/>
                <a:gd name="T52" fmla="*/ 917 w 1165"/>
                <a:gd name="T53" fmla="*/ 1391 h 1948"/>
                <a:gd name="T54" fmla="*/ 979 w 1165"/>
                <a:gd name="T55" fmla="*/ 1378 h 1948"/>
                <a:gd name="T56" fmla="*/ 911 w 1165"/>
                <a:gd name="T57" fmla="*/ 1338 h 1948"/>
                <a:gd name="T58" fmla="*/ 1105 w 1165"/>
                <a:gd name="T59" fmla="*/ 1263 h 1948"/>
                <a:gd name="T60" fmla="*/ 1128 w 1165"/>
                <a:gd name="T61" fmla="*/ 1102 h 1948"/>
                <a:gd name="T62" fmla="*/ 1102 w 1165"/>
                <a:gd name="T63" fmla="*/ 956 h 1948"/>
                <a:gd name="T64" fmla="*/ 1117 w 1165"/>
                <a:gd name="T65" fmla="*/ 762 h 1948"/>
                <a:gd name="T66" fmla="*/ 963 w 1165"/>
                <a:gd name="T67" fmla="*/ 756 h 1948"/>
                <a:gd name="T68" fmla="*/ 835 w 1165"/>
                <a:gd name="T69" fmla="*/ 635 h 1948"/>
                <a:gd name="T70" fmla="*/ 656 w 1165"/>
                <a:gd name="T71" fmla="*/ 584 h 1948"/>
                <a:gd name="T72" fmla="*/ 606 w 1165"/>
                <a:gd name="T73" fmla="*/ 376 h 1948"/>
                <a:gd name="T74" fmla="*/ 593 w 1165"/>
                <a:gd name="T75" fmla="*/ 318 h 1948"/>
                <a:gd name="T76" fmla="*/ 681 w 1165"/>
                <a:gd name="T77" fmla="*/ 147 h 1948"/>
                <a:gd name="T78" fmla="*/ 705 w 1165"/>
                <a:gd name="T79" fmla="*/ 73 h 1948"/>
                <a:gd name="T80" fmla="*/ 778 w 1165"/>
                <a:gd name="T81" fmla="*/ 25 h 1948"/>
                <a:gd name="T82" fmla="*/ 700 w 1165"/>
                <a:gd name="T83" fmla="*/ 9 h 1948"/>
                <a:gd name="T84" fmla="*/ 618 w 1165"/>
                <a:gd name="T85" fmla="*/ 87 h 1948"/>
                <a:gd name="T86" fmla="*/ 496 w 1165"/>
                <a:gd name="T87" fmla="*/ 129 h 1948"/>
                <a:gd name="T88" fmla="*/ 465 w 1165"/>
                <a:gd name="T89" fmla="*/ 178 h 1948"/>
                <a:gd name="T90" fmla="*/ 421 w 1165"/>
                <a:gd name="T91" fmla="*/ 163 h 1948"/>
                <a:gd name="T92" fmla="*/ 345 w 1165"/>
                <a:gd name="T93" fmla="*/ 238 h 1948"/>
                <a:gd name="T94" fmla="*/ 299 w 1165"/>
                <a:gd name="T95" fmla="*/ 360 h 194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165"/>
                <a:gd name="T145" fmla="*/ 0 h 1948"/>
                <a:gd name="T146" fmla="*/ 1165 w 1165"/>
                <a:gd name="T147" fmla="*/ 1948 h 194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165" h="1948">
                  <a:moveTo>
                    <a:pt x="225" y="441"/>
                  </a:moveTo>
                  <a:lnTo>
                    <a:pt x="217" y="457"/>
                  </a:lnTo>
                  <a:lnTo>
                    <a:pt x="216" y="468"/>
                  </a:lnTo>
                  <a:lnTo>
                    <a:pt x="230" y="508"/>
                  </a:lnTo>
                  <a:lnTo>
                    <a:pt x="225" y="521"/>
                  </a:lnTo>
                  <a:lnTo>
                    <a:pt x="216" y="529"/>
                  </a:lnTo>
                  <a:lnTo>
                    <a:pt x="205" y="521"/>
                  </a:lnTo>
                  <a:lnTo>
                    <a:pt x="195" y="492"/>
                  </a:lnTo>
                  <a:lnTo>
                    <a:pt x="179" y="466"/>
                  </a:lnTo>
                  <a:lnTo>
                    <a:pt x="160" y="448"/>
                  </a:lnTo>
                  <a:lnTo>
                    <a:pt x="153" y="445"/>
                  </a:lnTo>
                  <a:lnTo>
                    <a:pt x="156" y="462"/>
                  </a:lnTo>
                  <a:lnTo>
                    <a:pt x="167" y="470"/>
                  </a:lnTo>
                  <a:lnTo>
                    <a:pt x="189" y="524"/>
                  </a:lnTo>
                  <a:lnTo>
                    <a:pt x="176" y="528"/>
                  </a:lnTo>
                  <a:lnTo>
                    <a:pt x="172" y="551"/>
                  </a:lnTo>
                  <a:lnTo>
                    <a:pt x="146" y="572"/>
                  </a:lnTo>
                  <a:lnTo>
                    <a:pt x="142" y="556"/>
                  </a:lnTo>
                  <a:lnTo>
                    <a:pt x="132" y="551"/>
                  </a:lnTo>
                  <a:lnTo>
                    <a:pt x="136" y="575"/>
                  </a:lnTo>
                  <a:lnTo>
                    <a:pt x="126" y="579"/>
                  </a:lnTo>
                  <a:lnTo>
                    <a:pt x="114" y="620"/>
                  </a:lnTo>
                  <a:lnTo>
                    <a:pt x="163" y="679"/>
                  </a:lnTo>
                  <a:lnTo>
                    <a:pt x="169" y="695"/>
                  </a:lnTo>
                  <a:lnTo>
                    <a:pt x="168" y="707"/>
                  </a:lnTo>
                  <a:lnTo>
                    <a:pt x="158" y="725"/>
                  </a:lnTo>
                  <a:lnTo>
                    <a:pt x="153" y="735"/>
                  </a:lnTo>
                  <a:lnTo>
                    <a:pt x="155" y="747"/>
                  </a:lnTo>
                  <a:lnTo>
                    <a:pt x="180" y="772"/>
                  </a:lnTo>
                  <a:lnTo>
                    <a:pt x="185" y="783"/>
                  </a:lnTo>
                  <a:lnTo>
                    <a:pt x="179" y="793"/>
                  </a:lnTo>
                  <a:lnTo>
                    <a:pt x="156" y="800"/>
                  </a:lnTo>
                  <a:lnTo>
                    <a:pt x="152" y="814"/>
                  </a:lnTo>
                  <a:lnTo>
                    <a:pt x="169" y="860"/>
                  </a:lnTo>
                  <a:lnTo>
                    <a:pt x="176" y="904"/>
                  </a:lnTo>
                  <a:lnTo>
                    <a:pt x="172" y="933"/>
                  </a:lnTo>
                  <a:lnTo>
                    <a:pt x="158" y="970"/>
                  </a:lnTo>
                  <a:lnTo>
                    <a:pt x="161" y="980"/>
                  </a:lnTo>
                  <a:lnTo>
                    <a:pt x="186" y="1001"/>
                  </a:lnTo>
                  <a:lnTo>
                    <a:pt x="192" y="1016"/>
                  </a:lnTo>
                  <a:lnTo>
                    <a:pt x="163" y="1072"/>
                  </a:lnTo>
                  <a:lnTo>
                    <a:pt x="143" y="1121"/>
                  </a:lnTo>
                  <a:lnTo>
                    <a:pt x="124" y="1158"/>
                  </a:lnTo>
                  <a:lnTo>
                    <a:pt x="104" y="1169"/>
                  </a:lnTo>
                  <a:lnTo>
                    <a:pt x="98" y="1167"/>
                  </a:lnTo>
                  <a:lnTo>
                    <a:pt x="57" y="1171"/>
                  </a:lnTo>
                  <a:lnTo>
                    <a:pt x="44" y="1183"/>
                  </a:lnTo>
                  <a:lnTo>
                    <a:pt x="41" y="1204"/>
                  </a:lnTo>
                  <a:lnTo>
                    <a:pt x="55" y="1234"/>
                  </a:lnTo>
                  <a:lnTo>
                    <a:pt x="46" y="1252"/>
                  </a:lnTo>
                  <a:lnTo>
                    <a:pt x="28" y="1245"/>
                  </a:lnTo>
                  <a:lnTo>
                    <a:pt x="4" y="1252"/>
                  </a:lnTo>
                  <a:lnTo>
                    <a:pt x="0" y="1263"/>
                  </a:lnTo>
                  <a:lnTo>
                    <a:pt x="8" y="1277"/>
                  </a:lnTo>
                  <a:lnTo>
                    <a:pt x="13" y="1294"/>
                  </a:lnTo>
                  <a:lnTo>
                    <a:pt x="12" y="1298"/>
                  </a:lnTo>
                  <a:lnTo>
                    <a:pt x="140" y="1375"/>
                  </a:lnTo>
                  <a:lnTo>
                    <a:pt x="151" y="1387"/>
                  </a:lnTo>
                  <a:lnTo>
                    <a:pt x="158" y="1413"/>
                  </a:lnTo>
                  <a:lnTo>
                    <a:pt x="173" y="1429"/>
                  </a:lnTo>
                  <a:lnTo>
                    <a:pt x="216" y="1443"/>
                  </a:lnTo>
                  <a:lnTo>
                    <a:pt x="245" y="1440"/>
                  </a:lnTo>
                  <a:lnTo>
                    <a:pt x="286" y="1419"/>
                  </a:lnTo>
                  <a:lnTo>
                    <a:pt x="291" y="1422"/>
                  </a:lnTo>
                  <a:lnTo>
                    <a:pt x="323" y="1456"/>
                  </a:lnTo>
                  <a:lnTo>
                    <a:pt x="343" y="1470"/>
                  </a:lnTo>
                  <a:lnTo>
                    <a:pt x="347" y="1475"/>
                  </a:lnTo>
                  <a:lnTo>
                    <a:pt x="388" y="1482"/>
                  </a:lnTo>
                  <a:lnTo>
                    <a:pt x="426" y="1503"/>
                  </a:lnTo>
                  <a:lnTo>
                    <a:pt x="450" y="1526"/>
                  </a:lnTo>
                  <a:lnTo>
                    <a:pt x="459" y="1544"/>
                  </a:lnTo>
                  <a:lnTo>
                    <a:pt x="467" y="1576"/>
                  </a:lnTo>
                  <a:lnTo>
                    <a:pt x="535" y="1630"/>
                  </a:lnTo>
                  <a:lnTo>
                    <a:pt x="546" y="1671"/>
                  </a:lnTo>
                  <a:lnTo>
                    <a:pt x="549" y="1685"/>
                  </a:lnTo>
                  <a:lnTo>
                    <a:pt x="565" y="1692"/>
                  </a:lnTo>
                  <a:lnTo>
                    <a:pt x="586" y="1694"/>
                  </a:lnTo>
                  <a:lnTo>
                    <a:pt x="594" y="1710"/>
                  </a:lnTo>
                  <a:lnTo>
                    <a:pt x="594" y="1731"/>
                  </a:lnTo>
                  <a:lnTo>
                    <a:pt x="598" y="1745"/>
                  </a:lnTo>
                  <a:lnTo>
                    <a:pt x="623" y="1754"/>
                  </a:lnTo>
                  <a:lnTo>
                    <a:pt x="692" y="1752"/>
                  </a:lnTo>
                  <a:lnTo>
                    <a:pt x="707" y="1743"/>
                  </a:lnTo>
                  <a:lnTo>
                    <a:pt x="725" y="1722"/>
                  </a:lnTo>
                  <a:lnTo>
                    <a:pt x="749" y="1743"/>
                  </a:lnTo>
                  <a:lnTo>
                    <a:pt x="766" y="1754"/>
                  </a:lnTo>
                  <a:lnTo>
                    <a:pt x="798" y="1729"/>
                  </a:lnTo>
                  <a:lnTo>
                    <a:pt x="821" y="1742"/>
                  </a:lnTo>
                  <a:lnTo>
                    <a:pt x="877" y="1786"/>
                  </a:lnTo>
                  <a:lnTo>
                    <a:pt x="883" y="1789"/>
                  </a:lnTo>
                  <a:lnTo>
                    <a:pt x="881" y="1800"/>
                  </a:lnTo>
                  <a:lnTo>
                    <a:pt x="831" y="1902"/>
                  </a:lnTo>
                  <a:lnTo>
                    <a:pt x="850" y="1900"/>
                  </a:lnTo>
                  <a:lnTo>
                    <a:pt x="858" y="1897"/>
                  </a:lnTo>
                  <a:lnTo>
                    <a:pt x="868" y="1904"/>
                  </a:lnTo>
                  <a:lnTo>
                    <a:pt x="893" y="1941"/>
                  </a:lnTo>
                  <a:lnTo>
                    <a:pt x="901" y="1948"/>
                  </a:lnTo>
                  <a:lnTo>
                    <a:pt x="907" y="1937"/>
                  </a:lnTo>
                  <a:lnTo>
                    <a:pt x="954" y="1611"/>
                  </a:lnTo>
                  <a:lnTo>
                    <a:pt x="954" y="1600"/>
                  </a:lnTo>
                  <a:lnTo>
                    <a:pt x="936" y="1570"/>
                  </a:lnTo>
                  <a:lnTo>
                    <a:pt x="938" y="1530"/>
                  </a:lnTo>
                  <a:lnTo>
                    <a:pt x="929" y="1519"/>
                  </a:lnTo>
                  <a:lnTo>
                    <a:pt x="897" y="1502"/>
                  </a:lnTo>
                  <a:lnTo>
                    <a:pt x="891" y="1491"/>
                  </a:lnTo>
                  <a:lnTo>
                    <a:pt x="891" y="1405"/>
                  </a:lnTo>
                  <a:lnTo>
                    <a:pt x="895" y="1401"/>
                  </a:lnTo>
                  <a:lnTo>
                    <a:pt x="917" y="1391"/>
                  </a:lnTo>
                  <a:lnTo>
                    <a:pt x="946" y="1389"/>
                  </a:lnTo>
                  <a:lnTo>
                    <a:pt x="965" y="1396"/>
                  </a:lnTo>
                  <a:lnTo>
                    <a:pt x="982" y="1398"/>
                  </a:lnTo>
                  <a:lnTo>
                    <a:pt x="979" y="1378"/>
                  </a:lnTo>
                  <a:lnTo>
                    <a:pt x="967" y="1357"/>
                  </a:lnTo>
                  <a:lnTo>
                    <a:pt x="958" y="1352"/>
                  </a:lnTo>
                  <a:lnTo>
                    <a:pt x="920" y="1346"/>
                  </a:lnTo>
                  <a:lnTo>
                    <a:pt x="911" y="1338"/>
                  </a:lnTo>
                  <a:lnTo>
                    <a:pt x="914" y="1266"/>
                  </a:lnTo>
                  <a:lnTo>
                    <a:pt x="1067" y="1271"/>
                  </a:lnTo>
                  <a:lnTo>
                    <a:pt x="1088" y="1270"/>
                  </a:lnTo>
                  <a:lnTo>
                    <a:pt x="1105" y="1263"/>
                  </a:lnTo>
                  <a:lnTo>
                    <a:pt x="1165" y="1217"/>
                  </a:lnTo>
                  <a:lnTo>
                    <a:pt x="1129" y="1155"/>
                  </a:lnTo>
                  <a:lnTo>
                    <a:pt x="1106" y="1128"/>
                  </a:lnTo>
                  <a:lnTo>
                    <a:pt x="1128" y="1102"/>
                  </a:lnTo>
                  <a:lnTo>
                    <a:pt x="1161" y="1068"/>
                  </a:lnTo>
                  <a:lnTo>
                    <a:pt x="1155" y="1054"/>
                  </a:lnTo>
                  <a:lnTo>
                    <a:pt x="1133" y="1021"/>
                  </a:lnTo>
                  <a:lnTo>
                    <a:pt x="1102" y="956"/>
                  </a:lnTo>
                  <a:lnTo>
                    <a:pt x="1090" y="859"/>
                  </a:lnTo>
                  <a:lnTo>
                    <a:pt x="1097" y="841"/>
                  </a:lnTo>
                  <a:lnTo>
                    <a:pt x="1114" y="814"/>
                  </a:lnTo>
                  <a:lnTo>
                    <a:pt x="1117" y="762"/>
                  </a:lnTo>
                  <a:lnTo>
                    <a:pt x="1137" y="733"/>
                  </a:lnTo>
                  <a:lnTo>
                    <a:pt x="1106" y="730"/>
                  </a:lnTo>
                  <a:lnTo>
                    <a:pt x="1019" y="740"/>
                  </a:lnTo>
                  <a:lnTo>
                    <a:pt x="963" y="756"/>
                  </a:lnTo>
                  <a:lnTo>
                    <a:pt x="957" y="756"/>
                  </a:lnTo>
                  <a:lnTo>
                    <a:pt x="885" y="661"/>
                  </a:lnTo>
                  <a:lnTo>
                    <a:pt x="858" y="643"/>
                  </a:lnTo>
                  <a:lnTo>
                    <a:pt x="835" y="635"/>
                  </a:lnTo>
                  <a:lnTo>
                    <a:pt x="711" y="643"/>
                  </a:lnTo>
                  <a:lnTo>
                    <a:pt x="693" y="631"/>
                  </a:lnTo>
                  <a:lnTo>
                    <a:pt x="674" y="600"/>
                  </a:lnTo>
                  <a:lnTo>
                    <a:pt x="656" y="584"/>
                  </a:lnTo>
                  <a:lnTo>
                    <a:pt x="651" y="567"/>
                  </a:lnTo>
                  <a:lnTo>
                    <a:pt x="662" y="507"/>
                  </a:lnTo>
                  <a:lnTo>
                    <a:pt x="658" y="485"/>
                  </a:lnTo>
                  <a:lnTo>
                    <a:pt x="606" y="376"/>
                  </a:lnTo>
                  <a:lnTo>
                    <a:pt x="589" y="378"/>
                  </a:lnTo>
                  <a:lnTo>
                    <a:pt x="578" y="383"/>
                  </a:lnTo>
                  <a:lnTo>
                    <a:pt x="561" y="381"/>
                  </a:lnTo>
                  <a:lnTo>
                    <a:pt x="593" y="318"/>
                  </a:lnTo>
                  <a:lnTo>
                    <a:pt x="610" y="242"/>
                  </a:lnTo>
                  <a:lnTo>
                    <a:pt x="655" y="149"/>
                  </a:lnTo>
                  <a:lnTo>
                    <a:pt x="671" y="145"/>
                  </a:lnTo>
                  <a:lnTo>
                    <a:pt x="681" y="147"/>
                  </a:lnTo>
                  <a:lnTo>
                    <a:pt x="687" y="126"/>
                  </a:lnTo>
                  <a:lnTo>
                    <a:pt x="684" y="99"/>
                  </a:lnTo>
                  <a:lnTo>
                    <a:pt x="687" y="83"/>
                  </a:lnTo>
                  <a:lnTo>
                    <a:pt x="705" y="73"/>
                  </a:lnTo>
                  <a:lnTo>
                    <a:pt x="766" y="55"/>
                  </a:lnTo>
                  <a:lnTo>
                    <a:pt x="772" y="62"/>
                  </a:lnTo>
                  <a:lnTo>
                    <a:pt x="783" y="44"/>
                  </a:lnTo>
                  <a:lnTo>
                    <a:pt x="778" y="25"/>
                  </a:lnTo>
                  <a:lnTo>
                    <a:pt x="770" y="18"/>
                  </a:lnTo>
                  <a:lnTo>
                    <a:pt x="748" y="0"/>
                  </a:lnTo>
                  <a:lnTo>
                    <a:pt x="721" y="0"/>
                  </a:lnTo>
                  <a:lnTo>
                    <a:pt x="700" y="9"/>
                  </a:lnTo>
                  <a:lnTo>
                    <a:pt x="686" y="23"/>
                  </a:lnTo>
                  <a:lnTo>
                    <a:pt x="674" y="51"/>
                  </a:lnTo>
                  <a:lnTo>
                    <a:pt x="655" y="73"/>
                  </a:lnTo>
                  <a:lnTo>
                    <a:pt x="618" y="87"/>
                  </a:lnTo>
                  <a:lnTo>
                    <a:pt x="597" y="103"/>
                  </a:lnTo>
                  <a:lnTo>
                    <a:pt x="586" y="117"/>
                  </a:lnTo>
                  <a:lnTo>
                    <a:pt x="558" y="131"/>
                  </a:lnTo>
                  <a:lnTo>
                    <a:pt x="496" y="129"/>
                  </a:lnTo>
                  <a:lnTo>
                    <a:pt x="484" y="122"/>
                  </a:lnTo>
                  <a:lnTo>
                    <a:pt x="475" y="126"/>
                  </a:lnTo>
                  <a:lnTo>
                    <a:pt x="466" y="156"/>
                  </a:lnTo>
                  <a:lnTo>
                    <a:pt x="465" y="178"/>
                  </a:lnTo>
                  <a:lnTo>
                    <a:pt x="451" y="196"/>
                  </a:lnTo>
                  <a:lnTo>
                    <a:pt x="442" y="173"/>
                  </a:lnTo>
                  <a:lnTo>
                    <a:pt x="426" y="161"/>
                  </a:lnTo>
                  <a:lnTo>
                    <a:pt x="421" y="163"/>
                  </a:lnTo>
                  <a:lnTo>
                    <a:pt x="395" y="175"/>
                  </a:lnTo>
                  <a:lnTo>
                    <a:pt x="376" y="189"/>
                  </a:lnTo>
                  <a:lnTo>
                    <a:pt x="353" y="214"/>
                  </a:lnTo>
                  <a:lnTo>
                    <a:pt x="345" y="238"/>
                  </a:lnTo>
                  <a:lnTo>
                    <a:pt x="335" y="314"/>
                  </a:lnTo>
                  <a:lnTo>
                    <a:pt x="339" y="334"/>
                  </a:lnTo>
                  <a:lnTo>
                    <a:pt x="328" y="355"/>
                  </a:lnTo>
                  <a:lnTo>
                    <a:pt x="299" y="360"/>
                  </a:lnTo>
                  <a:lnTo>
                    <a:pt x="284" y="367"/>
                  </a:lnTo>
                  <a:lnTo>
                    <a:pt x="262" y="408"/>
                  </a:lnTo>
                  <a:lnTo>
                    <a:pt x="225" y="441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187" name="Freeform 24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1892" y="2877"/>
              <a:ext cx="62" cy="75"/>
            </a:xfrm>
            <a:custGeom>
              <a:avLst/>
              <a:gdLst>
                <a:gd name="T0" fmla="*/ 90 w 408"/>
                <a:gd name="T1" fmla="*/ 37 h 499"/>
                <a:gd name="T2" fmla="*/ 83 w 408"/>
                <a:gd name="T3" fmla="*/ 62 h 499"/>
                <a:gd name="T4" fmla="*/ 80 w 408"/>
                <a:gd name="T5" fmla="*/ 108 h 499"/>
                <a:gd name="T6" fmla="*/ 73 w 408"/>
                <a:gd name="T7" fmla="*/ 122 h 499"/>
                <a:gd name="T8" fmla="*/ 22 w 408"/>
                <a:gd name="T9" fmla="*/ 127 h 499"/>
                <a:gd name="T10" fmla="*/ 15 w 408"/>
                <a:gd name="T11" fmla="*/ 136 h 499"/>
                <a:gd name="T12" fmla="*/ 17 w 408"/>
                <a:gd name="T13" fmla="*/ 176 h 499"/>
                <a:gd name="T14" fmla="*/ 13 w 408"/>
                <a:gd name="T15" fmla="*/ 201 h 499"/>
                <a:gd name="T16" fmla="*/ 0 w 408"/>
                <a:gd name="T17" fmla="*/ 238 h 499"/>
                <a:gd name="T18" fmla="*/ 48 w 408"/>
                <a:gd name="T19" fmla="*/ 318 h 499"/>
                <a:gd name="T20" fmla="*/ 73 w 408"/>
                <a:gd name="T21" fmla="*/ 321 h 499"/>
                <a:gd name="T22" fmla="*/ 81 w 408"/>
                <a:gd name="T23" fmla="*/ 335 h 499"/>
                <a:gd name="T24" fmla="*/ 91 w 408"/>
                <a:gd name="T25" fmla="*/ 379 h 499"/>
                <a:gd name="T26" fmla="*/ 127 w 408"/>
                <a:gd name="T27" fmla="*/ 469 h 499"/>
                <a:gd name="T28" fmla="*/ 126 w 408"/>
                <a:gd name="T29" fmla="*/ 480 h 499"/>
                <a:gd name="T30" fmla="*/ 143 w 408"/>
                <a:gd name="T31" fmla="*/ 482 h 499"/>
                <a:gd name="T32" fmla="*/ 191 w 408"/>
                <a:gd name="T33" fmla="*/ 496 h 499"/>
                <a:gd name="T34" fmla="*/ 215 w 408"/>
                <a:gd name="T35" fmla="*/ 499 h 499"/>
                <a:gd name="T36" fmla="*/ 188 w 408"/>
                <a:gd name="T37" fmla="*/ 446 h 499"/>
                <a:gd name="T38" fmla="*/ 197 w 408"/>
                <a:gd name="T39" fmla="*/ 429 h 499"/>
                <a:gd name="T40" fmla="*/ 204 w 408"/>
                <a:gd name="T41" fmla="*/ 420 h 499"/>
                <a:gd name="T42" fmla="*/ 252 w 408"/>
                <a:gd name="T43" fmla="*/ 434 h 499"/>
                <a:gd name="T44" fmla="*/ 269 w 408"/>
                <a:gd name="T45" fmla="*/ 430 h 499"/>
                <a:gd name="T46" fmla="*/ 291 w 408"/>
                <a:gd name="T47" fmla="*/ 411 h 499"/>
                <a:gd name="T48" fmla="*/ 307 w 408"/>
                <a:gd name="T49" fmla="*/ 411 h 499"/>
                <a:gd name="T50" fmla="*/ 352 w 408"/>
                <a:gd name="T51" fmla="*/ 436 h 499"/>
                <a:gd name="T52" fmla="*/ 375 w 408"/>
                <a:gd name="T53" fmla="*/ 386 h 499"/>
                <a:gd name="T54" fmla="*/ 393 w 408"/>
                <a:gd name="T55" fmla="*/ 309 h 499"/>
                <a:gd name="T56" fmla="*/ 392 w 408"/>
                <a:gd name="T57" fmla="*/ 286 h 499"/>
                <a:gd name="T58" fmla="*/ 369 w 408"/>
                <a:gd name="T59" fmla="*/ 242 h 499"/>
                <a:gd name="T60" fmla="*/ 356 w 408"/>
                <a:gd name="T61" fmla="*/ 153 h 499"/>
                <a:gd name="T62" fmla="*/ 361 w 408"/>
                <a:gd name="T63" fmla="*/ 122 h 499"/>
                <a:gd name="T64" fmla="*/ 377 w 408"/>
                <a:gd name="T65" fmla="*/ 83 h 499"/>
                <a:gd name="T66" fmla="*/ 408 w 408"/>
                <a:gd name="T67" fmla="*/ 35 h 499"/>
                <a:gd name="T68" fmla="*/ 335 w 408"/>
                <a:gd name="T69" fmla="*/ 4 h 499"/>
                <a:gd name="T70" fmla="*/ 303 w 408"/>
                <a:gd name="T71" fmla="*/ 0 h 499"/>
                <a:gd name="T72" fmla="*/ 228 w 408"/>
                <a:gd name="T73" fmla="*/ 2 h 499"/>
                <a:gd name="T74" fmla="*/ 213 w 408"/>
                <a:gd name="T75" fmla="*/ 0 h 499"/>
                <a:gd name="T76" fmla="*/ 208 w 408"/>
                <a:gd name="T77" fmla="*/ 4 h 499"/>
                <a:gd name="T78" fmla="*/ 203 w 408"/>
                <a:gd name="T79" fmla="*/ 26 h 499"/>
                <a:gd name="T80" fmla="*/ 184 w 408"/>
                <a:gd name="T81" fmla="*/ 23 h 499"/>
                <a:gd name="T82" fmla="*/ 122 w 408"/>
                <a:gd name="T83" fmla="*/ 0 h 499"/>
                <a:gd name="T84" fmla="*/ 105 w 408"/>
                <a:gd name="T85" fmla="*/ 2 h 499"/>
                <a:gd name="T86" fmla="*/ 90 w 408"/>
                <a:gd name="T87" fmla="*/ 19 h 499"/>
                <a:gd name="T88" fmla="*/ 90 w 408"/>
                <a:gd name="T89" fmla="*/ 37 h 49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08"/>
                <a:gd name="T136" fmla="*/ 0 h 499"/>
                <a:gd name="T137" fmla="*/ 408 w 408"/>
                <a:gd name="T138" fmla="*/ 499 h 499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08" h="499">
                  <a:moveTo>
                    <a:pt x="90" y="37"/>
                  </a:moveTo>
                  <a:lnTo>
                    <a:pt x="83" y="62"/>
                  </a:lnTo>
                  <a:lnTo>
                    <a:pt x="80" y="108"/>
                  </a:lnTo>
                  <a:lnTo>
                    <a:pt x="73" y="122"/>
                  </a:lnTo>
                  <a:lnTo>
                    <a:pt x="22" y="127"/>
                  </a:lnTo>
                  <a:lnTo>
                    <a:pt x="15" y="136"/>
                  </a:lnTo>
                  <a:lnTo>
                    <a:pt x="17" y="176"/>
                  </a:lnTo>
                  <a:lnTo>
                    <a:pt x="13" y="201"/>
                  </a:lnTo>
                  <a:lnTo>
                    <a:pt x="0" y="238"/>
                  </a:lnTo>
                  <a:lnTo>
                    <a:pt x="48" y="318"/>
                  </a:lnTo>
                  <a:lnTo>
                    <a:pt x="73" y="321"/>
                  </a:lnTo>
                  <a:lnTo>
                    <a:pt x="81" y="335"/>
                  </a:lnTo>
                  <a:lnTo>
                    <a:pt x="91" y="379"/>
                  </a:lnTo>
                  <a:lnTo>
                    <a:pt x="127" y="469"/>
                  </a:lnTo>
                  <a:lnTo>
                    <a:pt x="126" y="480"/>
                  </a:lnTo>
                  <a:lnTo>
                    <a:pt x="143" y="482"/>
                  </a:lnTo>
                  <a:lnTo>
                    <a:pt x="191" y="496"/>
                  </a:lnTo>
                  <a:lnTo>
                    <a:pt x="215" y="499"/>
                  </a:lnTo>
                  <a:lnTo>
                    <a:pt x="188" y="446"/>
                  </a:lnTo>
                  <a:lnTo>
                    <a:pt x="197" y="429"/>
                  </a:lnTo>
                  <a:lnTo>
                    <a:pt x="204" y="420"/>
                  </a:lnTo>
                  <a:lnTo>
                    <a:pt x="252" y="434"/>
                  </a:lnTo>
                  <a:lnTo>
                    <a:pt x="269" y="430"/>
                  </a:lnTo>
                  <a:lnTo>
                    <a:pt x="291" y="411"/>
                  </a:lnTo>
                  <a:lnTo>
                    <a:pt x="307" y="411"/>
                  </a:lnTo>
                  <a:lnTo>
                    <a:pt x="352" y="436"/>
                  </a:lnTo>
                  <a:lnTo>
                    <a:pt x="375" y="386"/>
                  </a:lnTo>
                  <a:lnTo>
                    <a:pt x="393" y="309"/>
                  </a:lnTo>
                  <a:lnTo>
                    <a:pt x="392" y="286"/>
                  </a:lnTo>
                  <a:lnTo>
                    <a:pt x="369" y="242"/>
                  </a:lnTo>
                  <a:lnTo>
                    <a:pt x="356" y="153"/>
                  </a:lnTo>
                  <a:lnTo>
                    <a:pt x="361" y="122"/>
                  </a:lnTo>
                  <a:lnTo>
                    <a:pt x="377" y="83"/>
                  </a:lnTo>
                  <a:lnTo>
                    <a:pt x="408" y="35"/>
                  </a:lnTo>
                  <a:lnTo>
                    <a:pt x="335" y="4"/>
                  </a:lnTo>
                  <a:lnTo>
                    <a:pt x="303" y="0"/>
                  </a:lnTo>
                  <a:lnTo>
                    <a:pt x="228" y="2"/>
                  </a:lnTo>
                  <a:lnTo>
                    <a:pt x="213" y="0"/>
                  </a:lnTo>
                  <a:lnTo>
                    <a:pt x="208" y="4"/>
                  </a:lnTo>
                  <a:lnTo>
                    <a:pt x="203" y="26"/>
                  </a:lnTo>
                  <a:lnTo>
                    <a:pt x="184" y="23"/>
                  </a:lnTo>
                  <a:lnTo>
                    <a:pt x="122" y="0"/>
                  </a:lnTo>
                  <a:lnTo>
                    <a:pt x="105" y="2"/>
                  </a:lnTo>
                  <a:lnTo>
                    <a:pt x="90" y="19"/>
                  </a:lnTo>
                  <a:lnTo>
                    <a:pt x="90" y="37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188" name="Freeform 25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1947" y="2883"/>
              <a:ext cx="40" cy="64"/>
            </a:xfrm>
            <a:custGeom>
              <a:avLst/>
              <a:gdLst>
                <a:gd name="T0" fmla="*/ 65 w 272"/>
                <a:gd name="T1" fmla="*/ 6 h 432"/>
                <a:gd name="T2" fmla="*/ 56 w 272"/>
                <a:gd name="T3" fmla="*/ 0 h 432"/>
                <a:gd name="T4" fmla="*/ 25 w 272"/>
                <a:gd name="T5" fmla="*/ 48 h 432"/>
                <a:gd name="T6" fmla="*/ 9 w 272"/>
                <a:gd name="T7" fmla="*/ 87 h 432"/>
                <a:gd name="T8" fmla="*/ 4 w 272"/>
                <a:gd name="T9" fmla="*/ 118 h 432"/>
                <a:gd name="T10" fmla="*/ 17 w 272"/>
                <a:gd name="T11" fmla="*/ 207 h 432"/>
                <a:gd name="T12" fmla="*/ 40 w 272"/>
                <a:gd name="T13" fmla="*/ 251 h 432"/>
                <a:gd name="T14" fmla="*/ 41 w 272"/>
                <a:gd name="T15" fmla="*/ 274 h 432"/>
                <a:gd name="T16" fmla="*/ 23 w 272"/>
                <a:gd name="T17" fmla="*/ 351 h 432"/>
                <a:gd name="T18" fmla="*/ 0 w 272"/>
                <a:gd name="T19" fmla="*/ 401 h 432"/>
                <a:gd name="T20" fmla="*/ 29 w 272"/>
                <a:gd name="T21" fmla="*/ 429 h 432"/>
                <a:gd name="T22" fmla="*/ 40 w 272"/>
                <a:gd name="T23" fmla="*/ 432 h 432"/>
                <a:gd name="T24" fmla="*/ 78 w 272"/>
                <a:gd name="T25" fmla="*/ 399 h 432"/>
                <a:gd name="T26" fmla="*/ 127 w 272"/>
                <a:gd name="T27" fmla="*/ 420 h 432"/>
                <a:gd name="T28" fmla="*/ 152 w 272"/>
                <a:gd name="T29" fmla="*/ 422 h 432"/>
                <a:gd name="T30" fmla="*/ 165 w 272"/>
                <a:gd name="T31" fmla="*/ 410 h 432"/>
                <a:gd name="T32" fmla="*/ 186 w 272"/>
                <a:gd name="T33" fmla="*/ 374 h 432"/>
                <a:gd name="T34" fmla="*/ 205 w 272"/>
                <a:gd name="T35" fmla="*/ 321 h 432"/>
                <a:gd name="T36" fmla="*/ 272 w 272"/>
                <a:gd name="T37" fmla="*/ 196 h 432"/>
                <a:gd name="T38" fmla="*/ 272 w 272"/>
                <a:gd name="T39" fmla="*/ 173 h 432"/>
                <a:gd name="T40" fmla="*/ 263 w 272"/>
                <a:gd name="T41" fmla="*/ 171 h 432"/>
                <a:gd name="T42" fmla="*/ 250 w 272"/>
                <a:gd name="T43" fmla="*/ 147 h 432"/>
                <a:gd name="T44" fmla="*/ 170 w 272"/>
                <a:gd name="T45" fmla="*/ 60 h 432"/>
                <a:gd name="T46" fmla="*/ 134 w 272"/>
                <a:gd name="T47" fmla="*/ 32 h 432"/>
                <a:gd name="T48" fmla="*/ 65 w 272"/>
                <a:gd name="T49" fmla="*/ 6 h 4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72"/>
                <a:gd name="T76" fmla="*/ 0 h 432"/>
                <a:gd name="T77" fmla="*/ 272 w 272"/>
                <a:gd name="T78" fmla="*/ 432 h 4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72" h="432">
                  <a:moveTo>
                    <a:pt x="65" y="6"/>
                  </a:moveTo>
                  <a:lnTo>
                    <a:pt x="56" y="0"/>
                  </a:lnTo>
                  <a:lnTo>
                    <a:pt x="25" y="48"/>
                  </a:lnTo>
                  <a:lnTo>
                    <a:pt x="9" y="87"/>
                  </a:lnTo>
                  <a:lnTo>
                    <a:pt x="4" y="118"/>
                  </a:lnTo>
                  <a:lnTo>
                    <a:pt x="17" y="207"/>
                  </a:lnTo>
                  <a:lnTo>
                    <a:pt x="40" y="251"/>
                  </a:lnTo>
                  <a:lnTo>
                    <a:pt x="41" y="274"/>
                  </a:lnTo>
                  <a:lnTo>
                    <a:pt x="23" y="351"/>
                  </a:lnTo>
                  <a:lnTo>
                    <a:pt x="0" y="401"/>
                  </a:lnTo>
                  <a:lnTo>
                    <a:pt x="29" y="429"/>
                  </a:lnTo>
                  <a:lnTo>
                    <a:pt x="40" y="432"/>
                  </a:lnTo>
                  <a:lnTo>
                    <a:pt x="78" y="399"/>
                  </a:lnTo>
                  <a:lnTo>
                    <a:pt x="127" y="420"/>
                  </a:lnTo>
                  <a:lnTo>
                    <a:pt x="152" y="422"/>
                  </a:lnTo>
                  <a:lnTo>
                    <a:pt x="165" y="410"/>
                  </a:lnTo>
                  <a:lnTo>
                    <a:pt x="186" y="374"/>
                  </a:lnTo>
                  <a:lnTo>
                    <a:pt x="205" y="321"/>
                  </a:lnTo>
                  <a:lnTo>
                    <a:pt x="272" y="196"/>
                  </a:lnTo>
                  <a:lnTo>
                    <a:pt x="272" y="173"/>
                  </a:lnTo>
                  <a:lnTo>
                    <a:pt x="263" y="171"/>
                  </a:lnTo>
                  <a:lnTo>
                    <a:pt x="250" y="147"/>
                  </a:lnTo>
                  <a:lnTo>
                    <a:pt x="170" y="60"/>
                  </a:lnTo>
                  <a:lnTo>
                    <a:pt x="134" y="32"/>
                  </a:lnTo>
                  <a:lnTo>
                    <a:pt x="65" y="6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189" name="Freeform 26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1555" y="2957"/>
              <a:ext cx="84" cy="111"/>
            </a:xfrm>
            <a:custGeom>
              <a:avLst/>
              <a:gdLst>
                <a:gd name="T0" fmla="*/ 531 w 565"/>
                <a:gd name="T1" fmla="*/ 172 h 751"/>
                <a:gd name="T2" fmla="*/ 479 w 565"/>
                <a:gd name="T3" fmla="*/ 124 h 751"/>
                <a:gd name="T4" fmla="*/ 433 w 565"/>
                <a:gd name="T5" fmla="*/ 142 h 751"/>
                <a:gd name="T6" fmla="*/ 361 w 565"/>
                <a:gd name="T7" fmla="*/ 131 h 751"/>
                <a:gd name="T8" fmla="*/ 339 w 565"/>
                <a:gd name="T9" fmla="*/ 89 h 751"/>
                <a:gd name="T10" fmla="*/ 200 w 565"/>
                <a:gd name="T11" fmla="*/ 0 h 751"/>
                <a:gd name="T12" fmla="*/ 173 w 565"/>
                <a:gd name="T13" fmla="*/ 31 h 751"/>
                <a:gd name="T14" fmla="*/ 118 w 565"/>
                <a:gd name="T15" fmla="*/ 61 h 751"/>
                <a:gd name="T16" fmla="*/ 82 w 565"/>
                <a:gd name="T17" fmla="*/ 78 h 751"/>
                <a:gd name="T18" fmla="*/ 91 w 565"/>
                <a:gd name="T19" fmla="*/ 112 h 751"/>
                <a:gd name="T20" fmla="*/ 55 w 565"/>
                <a:gd name="T21" fmla="*/ 188 h 751"/>
                <a:gd name="T22" fmla="*/ 48 w 565"/>
                <a:gd name="T23" fmla="*/ 218 h 751"/>
                <a:gd name="T24" fmla="*/ 30 w 565"/>
                <a:gd name="T25" fmla="*/ 262 h 751"/>
                <a:gd name="T26" fmla="*/ 0 w 565"/>
                <a:gd name="T27" fmla="*/ 281 h 751"/>
                <a:gd name="T28" fmla="*/ 21 w 565"/>
                <a:gd name="T29" fmla="*/ 331 h 751"/>
                <a:gd name="T30" fmla="*/ 16 w 565"/>
                <a:gd name="T31" fmla="*/ 378 h 751"/>
                <a:gd name="T32" fmla="*/ 18 w 565"/>
                <a:gd name="T33" fmla="*/ 421 h 751"/>
                <a:gd name="T34" fmla="*/ 20 w 565"/>
                <a:gd name="T35" fmla="*/ 458 h 751"/>
                <a:gd name="T36" fmla="*/ 61 w 565"/>
                <a:gd name="T37" fmla="*/ 481 h 751"/>
                <a:gd name="T38" fmla="*/ 115 w 565"/>
                <a:gd name="T39" fmla="*/ 415 h 751"/>
                <a:gd name="T40" fmla="*/ 120 w 565"/>
                <a:gd name="T41" fmla="*/ 473 h 751"/>
                <a:gd name="T42" fmla="*/ 93 w 565"/>
                <a:gd name="T43" fmla="*/ 544 h 751"/>
                <a:gd name="T44" fmla="*/ 73 w 565"/>
                <a:gd name="T45" fmla="*/ 567 h 751"/>
                <a:gd name="T46" fmla="*/ 61 w 565"/>
                <a:gd name="T47" fmla="*/ 641 h 751"/>
                <a:gd name="T48" fmla="*/ 70 w 565"/>
                <a:gd name="T49" fmla="*/ 676 h 751"/>
                <a:gd name="T50" fmla="*/ 127 w 565"/>
                <a:gd name="T51" fmla="*/ 682 h 751"/>
                <a:gd name="T52" fmla="*/ 148 w 565"/>
                <a:gd name="T53" fmla="*/ 720 h 751"/>
                <a:gd name="T54" fmla="*/ 183 w 565"/>
                <a:gd name="T55" fmla="*/ 751 h 751"/>
                <a:gd name="T56" fmla="*/ 205 w 565"/>
                <a:gd name="T57" fmla="*/ 730 h 751"/>
                <a:gd name="T58" fmla="*/ 262 w 565"/>
                <a:gd name="T59" fmla="*/ 571 h 751"/>
                <a:gd name="T60" fmla="*/ 324 w 565"/>
                <a:gd name="T61" fmla="*/ 511 h 751"/>
                <a:gd name="T62" fmla="*/ 423 w 565"/>
                <a:gd name="T63" fmla="*/ 472 h 751"/>
                <a:gd name="T64" fmla="*/ 499 w 565"/>
                <a:gd name="T65" fmla="*/ 394 h 751"/>
                <a:gd name="T66" fmla="*/ 546 w 565"/>
                <a:gd name="T67" fmla="*/ 292 h 751"/>
                <a:gd name="T68" fmla="*/ 565 w 565"/>
                <a:gd name="T69" fmla="*/ 258 h 75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565"/>
                <a:gd name="T106" fmla="*/ 0 h 751"/>
                <a:gd name="T107" fmla="*/ 565 w 565"/>
                <a:gd name="T108" fmla="*/ 751 h 751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565" h="751">
                  <a:moveTo>
                    <a:pt x="535" y="177"/>
                  </a:moveTo>
                  <a:lnTo>
                    <a:pt x="531" y="172"/>
                  </a:lnTo>
                  <a:lnTo>
                    <a:pt x="511" y="158"/>
                  </a:lnTo>
                  <a:lnTo>
                    <a:pt x="479" y="124"/>
                  </a:lnTo>
                  <a:lnTo>
                    <a:pt x="474" y="121"/>
                  </a:lnTo>
                  <a:lnTo>
                    <a:pt x="433" y="142"/>
                  </a:lnTo>
                  <a:lnTo>
                    <a:pt x="404" y="145"/>
                  </a:lnTo>
                  <a:lnTo>
                    <a:pt x="361" y="131"/>
                  </a:lnTo>
                  <a:lnTo>
                    <a:pt x="346" y="115"/>
                  </a:lnTo>
                  <a:lnTo>
                    <a:pt x="339" y="89"/>
                  </a:lnTo>
                  <a:lnTo>
                    <a:pt x="328" y="77"/>
                  </a:lnTo>
                  <a:lnTo>
                    <a:pt x="200" y="0"/>
                  </a:lnTo>
                  <a:lnTo>
                    <a:pt x="195" y="9"/>
                  </a:lnTo>
                  <a:lnTo>
                    <a:pt x="173" y="31"/>
                  </a:lnTo>
                  <a:lnTo>
                    <a:pt x="156" y="43"/>
                  </a:lnTo>
                  <a:lnTo>
                    <a:pt x="118" y="61"/>
                  </a:lnTo>
                  <a:lnTo>
                    <a:pt x="86" y="66"/>
                  </a:lnTo>
                  <a:lnTo>
                    <a:pt x="82" y="78"/>
                  </a:lnTo>
                  <a:lnTo>
                    <a:pt x="86" y="87"/>
                  </a:lnTo>
                  <a:lnTo>
                    <a:pt x="91" y="112"/>
                  </a:lnTo>
                  <a:lnTo>
                    <a:pt x="85" y="156"/>
                  </a:lnTo>
                  <a:lnTo>
                    <a:pt x="55" y="188"/>
                  </a:lnTo>
                  <a:lnTo>
                    <a:pt x="48" y="205"/>
                  </a:lnTo>
                  <a:lnTo>
                    <a:pt x="48" y="218"/>
                  </a:lnTo>
                  <a:lnTo>
                    <a:pt x="62" y="239"/>
                  </a:lnTo>
                  <a:lnTo>
                    <a:pt x="30" y="262"/>
                  </a:lnTo>
                  <a:lnTo>
                    <a:pt x="9" y="272"/>
                  </a:lnTo>
                  <a:lnTo>
                    <a:pt x="0" y="281"/>
                  </a:lnTo>
                  <a:lnTo>
                    <a:pt x="17" y="317"/>
                  </a:lnTo>
                  <a:lnTo>
                    <a:pt x="21" y="331"/>
                  </a:lnTo>
                  <a:lnTo>
                    <a:pt x="16" y="355"/>
                  </a:lnTo>
                  <a:lnTo>
                    <a:pt x="16" y="378"/>
                  </a:lnTo>
                  <a:lnTo>
                    <a:pt x="22" y="408"/>
                  </a:lnTo>
                  <a:lnTo>
                    <a:pt x="18" y="421"/>
                  </a:lnTo>
                  <a:lnTo>
                    <a:pt x="2" y="436"/>
                  </a:lnTo>
                  <a:lnTo>
                    <a:pt x="20" y="458"/>
                  </a:lnTo>
                  <a:lnTo>
                    <a:pt x="46" y="475"/>
                  </a:lnTo>
                  <a:lnTo>
                    <a:pt x="61" y="481"/>
                  </a:lnTo>
                  <a:lnTo>
                    <a:pt x="93" y="447"/>
                  </a:lnTo>
                  <a:lnTo>
                    <a:pt x="115" y="415"/>
                  </a:lnTo>
                  <a:lnTo>
                    <a:pt x="111" y="435"/>
                  </a:lnTo>
                  <a:lnTo>
                    <a:pt x="120" y="473"/>
                  </a:lnTo>
                  <a:lnTo>
                    <a:pt x="119" y="488"/>
                  </a:lnTo>
                  <a:lnTo>
                    <a:pt x="93" y="544"/>
                  </a:lnTo>
                  <a:lnTo>
                    <a:pt x="82" y="560"/>
                  </a:lnTo>
                  <a:lnTo>
                    <a:pt x="73" y="567"/>
                  </a:lnTo>
                  <a:lnTo>
                    <a:pt x="71" y="622"/>
                  </a:lnTo>
                  <a:lnTo>
                    <a:pt x="61" y="641"/>
                  </a:lnTo>
                  <a:lnTo>
                    <a:pt x="66" y="666"/>
                  </a:lnTo>
                  <a:lnTo>
                    <a:pt x="70" y="676"/>
                  </a:lnTo>
                  <a:lnTo>
                    <a:pt x="90" y="682"/>
                  </a:lnTo>
                  <a:lnTo>
                    <a:pt x="127" y="682"/>
                  </a:lnTo>
                  <a:lnTo>
                    <a:pt x="140" y="696"/>
                  </a:lnTo>
                  <a:lnTo>
                    <a:pt x="148" y="720"/>
                  </a:lnTo>
                  <a:lnTo>
                    <a:pt x="165" y="748"/>
                  </a:lnTo>
                  <a:lnTo>
                    <a:pt x="183" y="751"/>
                  </a:lnTo>
                  <a:lnTo>
                    <a:pt x="193" y="748"/>
                  </a:lnTo>
                  <a:lnTo>
                    <a:pt x="205" y="730"/>
                  </a:lnTo>
                  <a:lnTo>
                    <a:pt x="250" y="599"/>
                  </a:lnTo>
                  <a:lnTo>
                    <a:pt x="262" y="571"/>
                  </a:lnTo>
                  <a:lnTo>
                    <a:pt x="288" y="537"/>
                  </a:lnTo>
                  <a:lnTo>
                    <a:pt x="324" y="511"/>
                  </a:lnTo>
                  <a:lnTo>
                    <a:pt x="408" y="475"/>
                  </a:lnTo>
                  <a:lnTo>
                    <a:pt x="423" y="472"/>
                  </a:lnTo>
                  <a:lnTo>
                    <a:pt x="467" y="431"/>
                  </a:lnTo>
                  <a:lnTo>
                    <a:pt x="499" y="394"/>
                  </a:lnTo>
                  <a:lnTo>
                    <a:pt x="523" y="354"/>
                  </a:lnTo>
                  <a:lnTo>
                    <a:pt x="546" y="292"/>
                  </a:lnTo>
                  <a:lnTo>
                    <a:pt x="562" y="272"/>
                  </a:lnTo>
                  <a:lnTo>
                    <a:pt x="565" y="258"/>
                  </a:lnTo>
                  <a:lnTo>
                    <a:pt x="535" y="177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190" name="Freeform 27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1548" y="2983"/>
              <a:ext cx="188" cy="320"/>
            </a:xfrm>
            <a:custGeom>
              <a:avLst/>
              <a:gdLst>
                <a:gd name="T0" fmla="*/ 1133 w 1254"/>
                <a:gd name="T1" fmla="*/ 473 h 2164"/>
                <a:gd name="T2" fmla="*/ 1090 w 1254"/>
                <a:gd name="T3" fmla="*/ 422 h 2164"/>
                <a:gd name="T4" fmla="*/ 1113 w 1254"/>
                <a:gd name="T5" fmla="*/ 325 h 2164"/>
                <a:gd name="T6" fmla="*/ 1053 w 1254"/>
                <a:gd name="T7" fmla="*/ 267 h 2164"/>
                <a:gd name="T8" fmla="*/ 981 w 1254"/>
                <a:gd name="T9" fmla="*/ 268 h 2164"/>
                <a:gd name="T10" fmla="*/ 924 w 1254"/>
                <a:gd name="T11" fmla="*/ 277 h 2164"/>
                <a:gd name="T12" fmla="*/ 826 w 1254"/>
                <a:gd name="T13" fmla="*/ 256 h 2164"/>
                <a:gd name="T14" fmla="*/ 797 w 1254"/>
                <a:gd name="T15" fmla="*/ 217 h 2164"/>
                <a:gd name="T16" fmla="*/ 767 w 1254"/>
                <a:gd name="T17" fmla="*/ 155 h 2164"/>
                <a:gd name="T18" fmla="*/ 682 w 1254"/>
                <a:gd name="T19" fmla="*/ 51 h 2164"/>
                <a:gd name="T20" fmla="*/ 579 w 1254"/>
                <a:gd name="T21" fmla="*/ 0 h 2164"/>
                <a:gd name="T22" fmla="*/ 590 w 1254"/>
                <a:gd name="T23" fmla="*/ 115 h 2164"/>
                <a:gd name="T24" fmla="*/ 511 w 1254"/>
                <a:gd name="T25" fmla="*/ 254 h 2164"/>
                <a:gd name="T26" fmla="*/ 368 w 1254"/>
                <a:gd name="T27" fmla="*/ 334 h 2164"/>
                <a:gd name="T28" fmla="*/ 294 w 1254"/>
                <a:gd name="T29" fmla="*/ 422 h 2164"/>
                <a:gd name="T30" fmla="*/ 227 w 1254"/>
                <a:gd name="T31" fmla="*/ 574 h 2164"/>
                <a:gd name="T32" fmla="*/ 184 w 1254"/>
                <a:gd name="T33" fmla="*/ 519 h 2164"/>
                <a:gd name="T34" fmla="*/ 114 w 1254"/>
                <a:gd name="T35" fmla="*/ 499 h 2164"/>
                <a:gd name="T36" fmla="*/ 115 w 1254"/>
                <a:gd name="T37" fmla="*/ 445 h 2164"/>
                <a:gd name="T38" fmla="*/ 83 w 1254"/>
                <a:gd name="T39" fmla="*/ 411 h 2164"/>
                <a:gd name="T40" fmla="*/ 2 w 1254"/>
                <a:gd name="T41" fmla="*/ 517 h 2164"/>
                <a:gd name="T42" fmla="*/ 28 w 1254"/>
                <a:gd name="T43" fmla="*/ 592 h 2164"/>
                <a:gd name="T44" fmla="*/ 52 w 1254"/>
                <a:gd name="T45" fmla="*/ 675 h 2164"/>
                <a:gd name="T46" fmla="*/ 12 w 1254"/>
                <a:gd name="T47" fmla="*/ 691 h 2164"/>
                <a:gd name="T48" fmla="*/ 113 w 1254"/>
                <a:gd name="T49" fmla="*/ 753 h 2164"/>
                <a:gd name="T50" fmla="*/ 172 w 1254"/>
                <a:gd name="T51" fmla="*/ 844 h 2164"/>
                <a:gd name="T52" fmla="*/ 367 w 1254"/>
                <a:gd name="T53" fmla="*/ 1256 h 2164"/>
                <a:gd name="T54" fmla="*/ 388 w 1254"/>
                <a:gd name="T55" fmla="*/ 1322 h 2164"/>
                <a:gd name="T56" fmla="*/ 497 w 1254"/>
                <a:gd name="T57" fmla="*/ 1538 h 2164"/>
                <a:gd name="T58" fmla="*/ 526 w 1254"/>
                <a:gd name="T59" fmla="*/ 1680 h 2164"/>
                <a:gd name="T60" fmla="*/ 723 w 1254"/>
                <a:gd name="T61" fmla="*/ 1874 h 2164"/>
                <a:gd name="T62" fmla="*/ 986 w 1254"/>
                <a:gd name="T63" fmla="*/ 2074 h 2164"/>
                <a:gd name="T64" fmla="*/ 1076 w 1254"/>
                <a:gd name="T65" fmla="*/ 2137 h 2164"/>
                <a:gd name="T66" fmla="*/ 1134 w 1254"/>
                <a:gd name="T67" fmla="*/ 2134 h 2164"/>
                <a:gd name="T68" fmla="*/ 1176 w 1254"/>
                <a:gd name="T69" fmla="*/ 2062 h 2164"/>
                <a:gd name="T70" fmla="*/ 1166 w 1254"/>
                <a:gd name="T71" fmla="*/ 2012 h 2164"/>
                <a:gd name="T72" fmla="*/ 1217 w 1254"/>
                <a:gd name="T73" fmla="*/ 1942 h 2164"/>
                <a:gd name="T74" fmla="*/ 1189 w 1254"/>
                <a:gd name="T75" fmla="*/ 1826 h 2164"/>
                <a:gd name="T76" fmla="*/ 1195 w 1254"/>
                <a:gd name="T77" fmla="*/ 1718 h 2164"/>
                <a:gd name="T78" fmla="*/ 1225 w 1254"/>
                <a:gd name="T79" fmla="*/ 1602 h 2164"/>
                <a:gd name="T80" fmla="*/ 1235 w 1254"/>
                <a:gd name="T81" fmla="*/ 1501 h 2164"/>
                <a:gd name="T82" fmla="*/ 1161 w 1254"/>
                <a:gd name="T83" fmla="*/ 1263 h 2164"/>
                <a:gd name="T84" fmla="*/ 1091 w 1254"/>
                <a:gd name="T85" fmla="*/ 1283 h 2164"/>
                <a:gd name="T86" fmla="*/ 1060 w 1254"/>
                <a:gd name="T87" fmla="*/ 1241 h 2164"/>
                <a:gd name="T88" fmla="*/ 990 w 1254"/>
                <a:gd name="T89" fmla="*/ 1158 h 2164"/>
                <a:gd name="T90" fmla="*/ 894 w 1254"/>
                <a:gd name="T91" fmla="*/ 1104 h 2164"/>
                <a:gd name="T92" fmla="*/ 834 w 1254"/>
                <a:gd name="T93" fmla="*/ 1044 h 2164"/>
                <a:gd name="T94" fmla="*/ 739 w 1254"/>
                <a:gd name="T95" fmla="*/ 841 h 2164"/>
                <a:gd name="T96" fmla="*/ 792 w 1254"/>
                <a:gd name="T97" fmla="*/ 774 h 2164"/>
                <a:gd name="T98" fmla="*/ 806 w 1254"/>
                <a:gd name="T99" fmla="*/ 696 h 2164"/>
                <a:gd name="T100" fmla="*/ 849 w 1254"/>
                <a:gd name="T101" fmla="*/ 587 h 2164"/>
                <a:gd name="T102" fmla="*/ 980 w 1254"/>
                <a:gd name="T103" fmla="*/ 512 h 2164"/>
                <a:gd name="T104" fmla="*/ 1053 w 1254"/>
                <a:gd name="T105" fmla="*/ 487 h 21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254"/>
                <a:gd name="T160" fmla="*/ 0 h 2164"/>
                <a:gd name="T161" fmla="*/ 1254 w 1254"/>
                <a:gd name="T162" fmla="*/ 2164 h 21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254" h="2164">
                  <a:moveTo>
                    <a:pt x="1124" y="499"/>
                  </a:moveTo>
                  <a:lnTo>
                    <a:pt x="1139" y="491"/>
                  </a:lnTo>
                  <a:lnTo>
                    <a:pt x="1133" y="473"/>
                  </a:lnTo>
                  <a:lnTo>
                    <a:pt x="1125" y="466"/>
                  </a:lnTo>
                  <a:lnTo>
                    <a:pt x="1100" y="429"/>
                  </a:lnTo>
                  <a:lnTo>
                    <a:pt x="1090" y="422"/>
                  </a:lnTo>
                  <a:lnTo>
                    <a:pt x="1082" y="425"/>
                  </a:lnTo>
                  <a:lnTo>
                    <a:pt x="1063" y="427"/>
                  </a:lnTo>
                  <a:lnTo>
                    <a:pt x="1113" y="325"/>
                  </a:lnTo>
                  <a:lnTo>
                    <a:pt x="1115" y="314"/>
                  </a:lnTo>
                  <a:lnTo>
                    <a:pt x="1109" y="311"/>
                  </a:lnTo>
                  <a:lnTo>
                    <a:pt x="1053" y="267"/>
                  </a:lnTo>
                  <a:lnTo>
                    <a:pt x="1030" y="254"/>
                  </a:lnTo>
                  <a:lnTo>
                    <a:pt x="998" y="279"/>
                  </a:lnTo>
                  <a:lnTo>
                    <a:pt x="981" y="268"/>
                  </a:lnTo>
                  <a:lnTo>
                    <a:pt x="957" y="247"/>
                  </a:lnTo>
                  <a:lnTo>
                    <a:pt x="939" y="268"/>
                  </a:lnTo>
                  <a:lnTo>
                    <a:pt x="924" y="277"/>
                  </a:lnTo>
                  <a:lnTo>
                    <a:pt x="855" y="279"/>
                  </a:lnTo>
                  <a:lnTo>
                    <a:pt x="830" y="270"/>
                  </a:lnTo>
                  <a:lnTo>
                    <a:pt x="826" y="256"/>
                  </a:lnTo>
                  <a:lnTo>
                    <a:pt x="826" y="235"/>
                  </a:lnTo>
                  <a:lnTo>
                    <a:pt x="818" y="219"/>
                  </a:lnTo>
                  <a:lnTo>
                    <a:pt x="797" y="217"/>
                  </a:lnTo>
                  <a:lnTo>
                    <a:pt x="781" y="210"/>
                  </a:lnTo>
                  <a:lnTo>
                    <a:pt x="778" y="196"/>
                  </a:lnTo>
                  <a:lnTo>
                    <a:pt x="767" y="155"/>
                  </a:lnTo>
                  <a:lnTo>
                    <a:pt x="699" y="101"/>
                  </a:lnTo>
                  <a:lnTo>
                    <a:pt x="691" y="69"/>
                  </a:lnTo>
                  <a:lnTo>
                    <a:pt x="682" y="51"/>
                  </a:lnTo>
                  <a:lnTo>
                    <a:pt x="658" y="28"/>
                  </a:lnTo>
                  <a:lnTo>
                    <a:pt x="620" y="7"/>
                  </a:lnTo>
                  <a:lnTo>
                    <a:pt x="579" y="0"/>
                  </a:lnTo>
                  <a:lnTo>
                    <a:pt x="609" y="81"/>
                  </a:lnTo>
                  <a:lnTo>
                    <a:pt x="606" y="95"/>
                  </a:lnTo>
                  <a:lnTo>
                    <a:pt x="590" y="115"/>
                  </a:lnTo>
                  <a:lnTo>
                    <a:pt x="567" y="177"/>
                  </a:lnTo>
                  <a:lnTo>
                    <a:pt x="543" y="217"/>
                  </a:lnTo>
                  <a:lnTo>
                    <a:pt x="511" y="254"/>
                  </a:lnTo>
                  <a:lnTo>
                    <a:pt x="467" y="295"/>
                  </a:lnTo>
                  <a:lnTo>
                    <a:pt x="452" y="298"/>
                  </a:lnTo>
                  <a:lnTo>
                    <a:pt x="368" y="334"/>
                  </a:lnTo>
                  <a:lnTo>
                    <a:pt x="332" y="360"/>
                  </a:lnTo>
                  <a:lnTo>
                    <a:pt x="306" y="394"/>
                  </a:lnTo>
                  <a:lnTo>
                    <a:pt x="294" y="422"/>
                  </a:lnTo>
                  <a:lnTo>
                    <a:pt x="249" y="553"/>
                  </a:lnTo>
                  <a:lnTo>
                    <a:pt x="237" y="571"/>
                  </a:lnTo>
                  <a:lnTo>
                    <a:pt x="227" y="574"/>
                  </a:lnTo>
                  <a:lnTo>
                    <a:pt x="209" y="571"/>
                  </a:lnTo>
                  <a:lnTo>
                    <a:pt x="192" y="543"/>
                  </a:lnTo>
                  <a:lnTo>
                    <a:pt x="184" y="519"/>
                  </a:lnTo>
                  <a:lnTo>
                    <a:pt x="171" y="505"/>
                  </a:lnTo>
                  <a:lnTo>
                    <a:pt x="134" y="505"/>
                  </a:lnTo>
                  <a:lnTo>
                    <a:pt x="114" y="499"/>
                  </a:lnTo>
                  <a:lnTo>
                    <a:pt x="110" y="489"/>
                  </a:lnTo>
                  <a:lnTo>
                    <a:pt x="105" y="464"/>
                  </a:lnTo>
                  <a:lnTo>
                    <a:pt x="115" y="445"/>
                  </a:lnTo>
                  <a:lnTo>
                    <a:pt x="117" y="390"/>
                  </a:lnTo>
                  <a:lnTo>
                    <a:pt x="104" y="401"/>
                  </a:lnTo>
                  <a:lnTo>
                    <a:pt x="83" y="411"/>
                  </a:lnTo>
                  <a:lnTo>
                    <a:pt x="37" y="457"/>
                  </a:lnTo>
                  <a:lnTo>
                    <a:pt x="12" y="491"/>
                  </a:lnTo>
                  <a:lnTo>
                    <a:pt x="2" y="517"/>
                  </a:lnTo>
                  <a:lnTo>
                    <a:pt x="0" y="529"/>
                  </a:lnTo>
                  <a:lnTo>
                    <a:pt x="12" y="569"/>
                  </a:lnTo>
                  <a:lnTo>
                    <a:pt x="28" y="592"/>
                  </a:lnTo>
                  <a:lnTo>
                    <a:pt x="53" y="638"/>
                  </a:lnTo>
                  <a:lnTo>
                    <a:pt x="60" y="654"/>
                  </a:lnTo>
                  <a:lnTo>
                    <a:pt x="52" y="675"/>
                  </a:lnTo>
                  <a:lnTo>
                    <a:pt x="25" y="677"/>
                  </a:lnTo>
                  <a:lnTo>
                    <a:pt x="18" y="682"/>
                  </a:lnTo>
                  <a:lnTo>
                    <a:pt x="12" y="691"/>
                  </a:lnTo>
                  <a:lnTo>
                    <a:pt x="40" y="710"/>
                  </a:lnTo>
                  <a:lnTo>
                    <a:pt x="80" y="730"/>
                  </a:lnTo>
                  <a:lnTo>
                    <a:pt x="113" y="753"/>
                  </a:lnTo>
                  <a:lnTo>
                    <a:pt x="134" y="776"/>
                  </a:lnTo>
                  <a:lnTo>
                    <a:pt x="160" y="827"/>
                  </a:lnTo>
                  <a:lnTo>
                    <a:pt x="172" y="844"/>
                  </a:lnTo>
                  <a:lnTo>
                    <a:pt x="262" y="1014"/>
                  </a:lnTo>
                  <a:lnTo>
                    <a:pt x="359" y="1234"/>
                  </a:lnTo>
                  <a:lnTo>
                    <a:pt x="367" y="1256"/>
                  </a:lnTo>
                  <a:lnTo>
                    <a:pt x="364" y="1306"/>
                  </a:lnTo>
                  <a:lnTo>
                    <a:pt x="368" y="1309"/>
                  </a:lnTo>
                  <a:lnTo>
                    <a:pt x="388" y="1322"/>
                  </a:lnTo>
                  <a:lnTo>
                    <a:pt x="400" y="1336"/>
                  </a:lnTo>
                  <a:lnTo>
                    <a:pt x="462" y="1482"/>
                  </a:lnTo>
                  <a:lnTo>
                    <a:pt x="497" y="1538"/>
                  </a:lnTo>
                  <a:lnTo>
                    <a:pt x="509" y="1570"/>
                  </a:lnTo>
                  <a:lnTo>
                    <a:pt x="509" y="1643"/>
                  </a:lnTo>
                  <a:lnTo>
                    <a:pt x="526" y="1680"/>
                  </a:lnTo>
                  <a:lnTo>
                    <a:pt x="553" y="1717"/>
                  </a:lnTo>
                  <a:lnTo>
                    <a:pt x="667" y="1830"/>
                  </a:lnTo>
                  <a:lnTo>
                    <a:pt x="723" y="1874"/>
                  </a:lnTo>
                  <a:lnTo>
                    <a:pt x="962" y="2016"/>
                  </a:lnTo>
                  <a:lnTo>
                    <a:pt x="976" y="2037"/>
                  </a:lnTo>
                  <a:lnTo>
                    <a:pt x="986" y="2074"/>
                  </a:lnTo>
                  <a:lnTo>
                    <a:pt x="1001" y="2086"/>
                  </a:lnTo>
                  <a:lnTo>
                    <a:pt x="1063" y="2120"/>
                  </a:lnTo>
                  <a:lnTo>
                    <a:pt x="1076" y="2137"/>
                  </a:lnTo>
                  <a:lnTo>
                    <a:pt x="1085" y="2164"/>
                  </a:lnTo>
                  <a:lnTo>
                    <a:pt x="1123" y="2150"/>
                  </a:lnTo>
                  <a:lnTo>
                    <a:pt x="1134" y="2134"/>
                  </a:lnTo>
                  <a:lnTo>
                    <a:pt x="1143" y="2083"/>
                  </a:lnTo>
                  <a:lnTo>
                    <a:pt x="1150" y="2072"/>
                  </a:lnTo>
                  <a:lnTo>
                    <a:pt x="1176" y="2062"/>
                  </a:lnTo>
                  <a:lnTo>
                    <a:pt x="1176" y="2055"/>
                  </a:lnTo>
                  <a:lnTo>
                    <a:pt x="1170" y="2039"/>
                  </a:lnTo>
                  <a:lnTo>
                    <a:pt x="1166" y="2012"/>
                  </a:lnTo>
                  <a:lnTo>
                    <a:pt x="1173" y="2000"/>
                  </a:lnTo>
                  <a:lnTo>
                    <a:pt x="1203" y="1968"/>
                  </a:lnTo>
                  <a:lnTo>
                    <a:pt x="1217" y="1942"/>
                  </a:lnTo>
                  <a:lnTo>
                    <a:pt x="1215" y="1914"/>
                  </a:lnTo>
                  <a:lnTo>
                    <a:pt x="1189" y="1851"/>
                  </a:lnTo>
                  <a:lnTo>
                    <a:pt x="1189" y="1826"/>
                  </a:lnTo>
                  <a:lnTo>
                    <a:pt x="1205" y="1787"/>
                  </a:lnTo>
                  <a:lnTo>
                    <a:pt x="1189" y="1743"/>
                  </a:lnTo>
                  <a:lnTo>
                    <a:pt x="1195" y="1718"/>
                  </a:lnTo>
                  <a:lnTo>
                    <a:pt x="1227" y="1669"/>
                  </a:lnTo>
                  <a:lnTo>
                    <a:pt x="1235" y="1650"/>
                  </a:lnTo>
                  <a:lnTo>
                    <a:pt x="1225" y="1602"/>
                  </a:lnTo>
                  <a:lnTo>
                    <a:pt x="1222" y="1574"/>
                  </a:lnTo>
                  <a:lnTo>
                    <a:pt x="1227" y="1530"/>
                  </a:lnTo>
                  <a:lnTo>
                    <a:pt x="1235" y="1501"/>
                  </a:lnTo>
                  <a:lnTo>
                    <a:pt x="1254" y="1461"/>
                  </a:lnTo>
                  <a:lnTo>
                    <a:pt x="1250" y="1449"/>
                  </a:lnTo>
                  <a:lnTo>
                    <a:pt x="1161" y="1263"/>
                  </a:lnTo>
                  <a:lnTo>
                    <a:pt x="1141" y="1265"/>
                  </a:lnTo>
                  <a:lnTo>
                    <a:pt x="1107" y="1279"/>
                  </a:lnTo>
                  <a:lnTo>
                    <a:pt x="1091" y="1283"/>
                  </a:lnTo>
                  <a:lnTo>
                    <a:pt x="1079" y="1279"/>
                  </a:lnTo>
                  <a:lnTo>
                    <a:pt x="1064" y="1262"/>
                  </a:lnTo>
                  <a:lnTo>
                    <a:pt x="1060" y="1241"/>
                  </a:lnTo>
                  <a:lnTo>
                    <a:pt x="1067" y="1100"/>
                  </a:lnTo>
                  <a:lnTo>
                    <a:pt x="1053" y="1105"/>
                  </a:lnTo>
                  <a:lnTo>
                    <a:pt x="990" y="1158"/>
                  </a:lnTo>
                  <a:lnTo>
                    <a:pt x="908" y="1157"/>
                  </a:lnTo>
                  <a:lnTo>
                    <a:pt x="904" y="1121"/>
                  </a:lnTo>
                  <a:lnTo>
                    <a:pt x="894" y="1104"/>
                  </a:lnTo>
                  <a:lnTo>
                    <a:pt x="880" y="1095"/>
                  </a:lnTo>
                  <a:lnTo>
                    <a:pt x="814" y="1086"/>
                  </a:lnTo>
                  <a:lnTo>
                    <a:pt x="834" y="1044"/>
                  </a:lnTo>
                  <a:lnTo>
                    <a:pt x="830" y="1037"/>
                  </a:lnTo>
                  <a:lnTo>
                    <a:pt x="743" y="871"/>
                  </a:lnTo>
                  <a:lnTo>
                    <a:pt x="739" y="841"/>
                  </a:lnTo>
                  <a:lnTo>
                    <a:pt x="751" y="809"/>
                  </a:lnTo>
                  <a:lnTo>
                    <a:pt x="765" y="791"/>
                  </a:lnTo>
                  <a:lnTo>
                    <a:pt x="792" y="774"/>
                  </a:lnTo>
                  <a:lnTo>
                    <a:pt x="820" y="747"/>
                  </a:lnTo>
                  <a:lnTo>
                    <a:pt x="820" y="740"/>
                  </a:lnTo>
                  <a:lnTo>
                    <a:pt x="806" y="696"/>
                  </a:lnTo>
                  <a:lnTo>
                    <a:pt x="808" y="687"/>
                  </a:lnTo>
                  <a:lnTo>
                    <a:pt x="822" y="661"/>
                  </a:lnTo>
                  <a:lnTo>
                    <a:pt x="849" y="587"/>
                  </a:lnTo>
                  <a:lnTo>
                    <a:pt x="864" y="578"/>
                  </a:lnTo>
                  <a:lnTo>
                    <a:pt x="895" y="553"/>
                  </a:lnTo>
                  <a:lnTo>
                    <a:pt x="980" y="512"/>
                  </a:lnTo>
                  <a:lnTo>
                    <a:pt x="1010" y="515"/>
                  </a:lnTo>
                  <a:lnTo>
                    <a:pt x="1026" y="510"/>
                  </a:lnTo>
                  <a:lnTo>
                    <a:pt x="1053" y="487"/>
                  </a:lnTo>
                  <a:lnTo>
                    <a:pt x="1066" y="482"/>
                  </a:lnTo>
                  <a:lnTo>
                    <a:pt x="1124" y="499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191" name="Freeform 28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1660" y="2891"/>
              <a:ext cx="572" cy="698"/>
            </a:xfrm>
            <a:custGeom>
              <a:avLst/>
              <a:gdLst>
                <a:gd name="T0" fmla="*/ 2785 w 3824"/>
                <a:gd name="T1" fmla="*/ 777 h 4716"/>
                <a:gd name="T2" fmla="*/ 2589 w 3824"/>
                <a:gd name="T3" fmla="*/ 692 h 4716"/>
                <a:gd name="T4" fmla="*/ 2418 w 3824"/>
                <a:gd name="T5" fmla="*/ 849 h 4716"/>
                <a:gd name="T6" fmla="*/ 2279 w 3824"/>
                <a:gd name="T7" fmla="*/ 823 h 4716"/>
                <a:gd name="T8" fmla="*/ 2132 w 3824"/>
                <a:gd name="T9" fmla="*/ 779 h 4716"/>
                <a:gd name="T10" fmla="*/ 2353 w 3824"/>
                <a:gd name="T11" fmla="*/ 461 h 4716"/>
                <a:gd name="T12" fmla="*/ 2254 w 3824"/>
                <a:gd name="T13" fmla="*/ 270 h 4716"/>
                <a:gd name="T14" fmla="*/ 2183 w 3824"/>
                <a:gd name="T15" fmla="*/ 132 h 4716"/>
                <a:gd name="T16" fmla="*/ 1951 w 3824"/>
                <a:gd name="T17" fmla="*/ 368 h 4716"/>
                <a:gd name="T18" fmla="*/ 1763 w 3824"/>
                <a:gd name="T19" fmla="*/ 321 h 4716"/>
                <a:gd name="T20" fmla="*/ 1558 w 3824"/>
                <a:gd name="T21" fmla="*/ 420 h 4716"/>
                <a:gd name="T22" fmla="*/ 1391 w 3824"/>
                <a:gd name="T23" fmla="*/ 363 h 4716"/>
                <a:gd name="T24" fmla="*/ 1366 w 3824"/>
                <a:gd name="T25" fmla="*/ 81 h 4716"/>
                <a:gd name="T26" fmla="*/ 1306 w 3824"/>
                <a:gd name="T27" fmla="*/ 16 h 4716"/>
                <a:gd name="T28" fmla="*/ 1108 w 3824"/>
                <a:gd name="T29" fmla="*/ 129 h 4716"/>
                <a:gd name="T30" fmla="*/ 933 w 3824"/>
                <a:gd name="T31" fmla="*/ 125 h 4716"/>
                <a:gd name="T32" fmla="*/ 979 w 3824"/>
                <a:gd name="T33" fmla="*/ 324 h 4716"/>
                <a:gd name="T34" fmla="*/ 973 w 3824"/>
                <a:gd name="T35" fmla="*/ 393 h 4716"/>
                <a:gd name="T36" fmla="*/ 816 w 3824"/>
                <a:gd name="T37" fmla="*/ 496 h 4716"/>
                <a:gd name="T38" fmla="*/ 681 w 3824"/>
                <a:gd name="T39" fmla="*/ 461 h 4716"/>
                <a:gd name="T40" fmla="*/ 407 w 3824"/>
                <a:gd name="T41" fmla="*/ 409 h 4716"/>
                <a:gd name="T42" fmla="*/ 458 w 3824"/>
                <a:gd name="T43" fmla="*/ 539 h 4716"/>
                <a:gd name="T44" fmla="*/ 422 w 3824"/>
                <a:gd name="T45" fmla="*/ 662 h 4716"/>
                <a:gd name="T46" fmla="*/ 400 w 3824"/>
                <a:gd name="T47" fmla="*/ 1109 h 4716"/>
                <a:gd name="T48" fmla="*/ 156 w 3824"/>
                <a:gd name="T49" fmla="*/ 1171 h 4716"/>
                <a:gd name="T50" fmla="*/ 81 w 3824"/>
                <a:gd name="T51" fmla="*/ 1365 h 4716"/>
                <a:gd name="T52" fmla="*/ 95 w 3824"/>
                <a:gd name="T53" fmla="*/ 1662 h 4716"/>
                <a:gd name="T54" fmla="*/ 314 w 3824"/>
                <a:gd name="T55" fmla="*/ 1723 h 4716"/>
                <a:gd name="T56" fmla="*/ 402 w 3824"/>
                <a:gd name="T57" fmla="*/ 1883 h 4716"/>
                <a:gd name="T58" fmla="*/ 623 w 3824"/>
                <a:gd name="T59" fmla="*/ 1849 h 4716"/>
                <a:gd name="T60" fmla="*/ 844 w 3824"/>
                <a:gd name="T61" fmla="*/ 1936 h 4716"/>
                <a:gd name="T62" fmla="*/ 1039 w 3824"/>
                <a:gd name="T63" fmla="*/ 2084 h 4716"/>
                <a:gd name="T64" fmla="*/ 1202 w 3824"/>
                <a:gd name="T65" fmla="*/ 2204 h 4716"/>
                <a:gd name="T66" fmla="*/ 1341 w 3824"/>
                <a:gd name="T67" fmla="*/ 2469 h 4716"/>
                <a:gd name="T68" fmla="*/ 1538 w 3824"/>
                <a:gd name="T69" fmla="*/ 2646 h 4716"/>
                <a:gd name="T70" fmla="*/ 1563 w 3824"/>
                <a:gd name="T71" fmla="*/ 2911 h 4716"/>
                <a:gd name="T72" fmla="*/ 1576 w 3824"/>
                <a:gd name="T73" fmla="*/ 3232 h 4716"/>
                <a:gd name="T74" fmla="*/ 1818 w 3824"/>
                <a:gd name="T75" fmla="*/ 3432 h 4716"/>
                <a:gd name="T76" fmla="*/ 1891 w 3824"/>
                <a:gd name="T77" fmla="*/ 3610 h 4716"/>
                <a:gd name="T78" fmla="*/ 1977 w 3824"/>
                <a:gd name="T79" fmla="*/ 3861 h 4716"/>
                <a:gd name="T80" fmla="*/ 1670 w 3824"/>
                <a:gd name="T81" fmla="*/ 4251 h 4716"/>
                <a:gd name="T82" fmla="*/ 1809 w 3824"/>
                <a:gd name="T83" fmla="*/ 4340 h 4716"/>
                <a:gd name="T84" fmla="*/ 2026 w 3824"/>
                <a:gd name="T85" fmla="*/ 4578 h 4716"/>
                <a:gd name="T86" fmla="*/ 2112 w 3824"/>
                <a:gd name="T87" fmla="*/ 4558 h 4716"/>
                <a:gd name="T88" fmla="*/ 2218 w 3824"/>
                <a:gd name="T89" fmla="*/ 4257 h 4716"/>
                <a:gd name="T90" fmla="*/ 2230 w 3824"/>
                <a:gd name="T91" fmla="*/ 4368 h 4716"/>
                <a:gd name="T92" fmla="*/ 2386 w 3824"/>
                <a:gd name="T93" fmla="*/ 4107 h 4716"/>
                <a:gd name="T94" fmla="*/ 2462 w 3824"/>
                <a:gd name="T95" fmla="*/ 3757 h 4716"/>
                <a:gd name="T96" fmla="*/ 2479 w 3824"/>
                <a:gd name="T97" fmla="*/ 3638 h 4716"/>
                <a:gd name="T98" fmla="*/ 2787 w 3824"/>
                <a:gd name="T99" fmla="*/ 3443 h 4716"/>
                <a:gd name="T100" fmla="*/ 2969 w 3824"/>
                <a:gd name="T101" fmla="*/ 3339 h 4716"/>
                <a:gd name="T102" fmla="*/ 3150 w 3824"/>
                <a:gd name="T103" fmla="*/ 3260 h 4716"/>
                <a:gd name="T104" fmla="*/ 3310 w 3824"/>
                <a:gd name="T105" fmla="*/ 2967 h 4716"/>
                <a:gd name="T106" fmla="*/ 3374 w 3824"/>
                <a:gd name="T107" fmla="*/ 2727 h 4716"/>
                <a:gd name="T108" fmla="*/ 3413 w 3824"/>
                <a:gd name="T109" fmla="*/ 2215 h 4716"/>
                <a:gd name="T110" fmla="*/ 3492 w 3824"/>
                <a:gd name="T111" fmla="*/ 2116 h 4716"/>
                <a:gd name="T112" fmla="*/ 3755 w 3824"/>
                <a:gd name="T113" fmla="*/ 1730 h 4716"/>
                <a:gd name="T114" fmla="*/ 3780 w 3824"/>
                <a:gd name="T115" fmla="*/ 1244 h 4716"/>
                <a:gd name="T116" fmla="*/ 3350 w 3824"/>
                <a:gd name="T117" fmla="*/ 953 h 4716"/>
                <a:gd name="T118" fmla="*/ 3006 w 3824"/>
                <a:gd name="T119" fmla="*/ 885 h 4716"/>
                <a:gd name="T120" fmla="*/ 2860 w 3824"/>
                <a:gd name="T121" fmla="*/ 925 h 471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824"/>
                <a:gd name="T184" fmla="*/ 0 h 4716"/>
                <a:gd name="T185" fmla="*/ 3824 w 3824"/>
                <a:gd name="T186" fmla="*/ 4716 h 471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824" h="4716">
                  <a:moveTo>
                    <a:pt x="2853" y="805"/>
                  </a:moveTo>
                  <a:lnTo>
                    <a:pt x="2839" y="791"/>
                  </a:lnTo>
                  <a:lnTo>
                    <a:pt x="2825" y="789"/>
                  </a:lnTo>
                  <a:lnTo>
                    <a:pt x="2807" y="809"/>
                  </a:lnTo>
                  <a:lnTo>
                    <a:pt x="2799" y="809"/>
                  </a:lnTo>
                  <a:lnTo>
                    <a:pt x="2797" y="807"/>
                  </a:lnTo>
                  <a:lnTo>
                    <a:pt x="2785" y="777"/>
                  </a:lnTo>
                  <a:lnTo>
                    <a:pt x="2770" y="761"/>
                  </a:lnTo>
                  <a:lnTo>
                    <a:pt x="2687" y="724"/>
                  </a:lnTo>
                  <a:lnTo>
                    <a:pt x="2672" y="724"/>
                  </a:lnTo>
                  <a:lnTo>
                    <a:pt x="2644" y="710"/>
                  </a:lnTo>
                  <a:lnTo>
                    <a:pt x="2613" y="682"/>
                  </a:lnTo>
                  <a:lnTo>
                    <a:pt x="2606" y="682"/>
                  </a:lnTo>
                  <a:lnTo>
                    <a:pt x="2589" y="692"/>
                  </a:lnTo>
                  <a:lnTo>
                    <a:pt x="2545" y="692"/>
                  </a:lnTo>
                  <a:lnTo>
                    <a:pt x="2534" y="698"/>
                  </a:lnTo>
                  <a:lnTo>
                    <a:pt x="2523" y="719"/>
                  </a:lnTo>
                  <a:lnTo>
                    <a:pt x="2500" y="768"/>
                  </a:lnTo>
                  <a:lnTo>
                    <a:pt x="2487" y="788"/>
                  </a:lnTo>
                  <a:lnTo>
                    <a:pt x="2474" y="796"/>
                  </a:lnTo>
                  <a:lnTo>
                    <a:pt x="2418" y="849"/>
                  </a:lnTo>
                  <a:lnTo>
                    <a:pt x="2400" y="877"/>
                  </a:lnTo>
                  <a:lnTo>
                    <a:pt x="2400" y="847"/>
                  </a:lnTo>
                  <a:lnTo>
                    <a:pt x="2411" y="812"/>
                  </a:lnTo>
                  <a:lnTo>
                    <a:pt x="2378" y="826"/>
                  </a:lnTo>
                  <a:lnTo>
                    <a:pt x="2303" y="832"/>
                  </a:lnTo>
                  <a:lnTo>
                    <a:pt x="2290" y="828"/>
                  </a:lnTo>
                  <a:lnTo>
                    <a:pt x="2279" y="823"/>
                  </a:lnTo>
                  <a:lnTo>
                    <a:pt x="2260" y="779"/>
                  </a:lnTo>
                  <a:lnTo>
                    <a:pt x="2246" y="733"/>
                  </a:lnTo>
                  <a:lnTo>
                    <a:pt x="2241" y="735"/>
                  </a:lnTo>
                  <a:lnTo>
                    <a:pt x="2189" y="772"/>
                  </a:lnTo>
                  <a:lnTo>
                    <a:pt x="2167" y="782"/>
                  </a:lnTo>
                  <a:lnTo>
                    <a:pt x="2144" y="786"/>
                  </a:lnTo>
                  <a:lnTo>
                    <a:pt x="2132" y="779"/>
                  </a:lnTo>
                  <a:lnTo>
                    <a:pt x="2151" y="756"/>
                  </a:lnTo>
                  <a:lnTo>
                    <a:pt x="2168" y="703"/>
                  </a:lnTo>
                  <a:lnTo>
                    <a:pt x="2192" y="652"/>
                  </a:lnTo>
                  <a:lnTo>
                    <a:pt x="2227" y="611"/>
                  </a:lnTo>
                  <a:lnTo>
                    <a:pt x="2279" y="571"/>
                  </a:lnTo>
                  <a:lnTo>
                    <a:pt x="2329" y="479"/>
                  </a:lnTo>
                  <a:lnTo>
                    <a:pt x="2353" y="461"/>
                  </a:lnTo>
                  <a:lnTo>
                    <a:pt x="2355" y="446"/>
                  </a:lnTo>
                  <a:lnTo>
                    <a:pt x="2353" y="418"/>
                  </a:lnTo>
                  <a:lnTo>
                    <a:pt x="2344" y="400"/>
                  </a:lnTo>
                  <a:lnTo>
                    <a:pt x="2302" y="388"/>
                  </a:lnTo>
                  <a:lnTo>
                    <a:pt x="2288" y="372"/>
                  </a:lnTo>
                  <a:lnTo>
                    <a:pt x="2275" y="342"/>
                  </a:lnTo>
                  <a:lnTo>
                    <a:pt x="2254" y="270"/>
                  </a:lnTo>
                  <a:lnTo>
                    <a:pt x="2250" y="238"/>
                  </a:lnTo>
                  <a:lnTo>
                    <a:pt x="2230" y="167"/>
                  </a:lnTo>
                  <a:lnTo>
                    <a:pt x="2223" y="127"/>
                  </a:lnTo>
                  <a:lnTo>
                    <a:pt x="2213" y="104"/>
                  </a:lnTo>
                  <a:lnTo>
                    <a:pt x="2201" y="97"/>
                  </a:lnTo>
                  <a:lnTo>
                    <a:pt x="2183" y="109"/>
                  </a:lnTo>
                  <a:lnTo>
                    <a:pt x="2183" y="132"/>
                  </a:lnTo>
                  <a:lnTo>
                    <a:pt x="2116" y="257"/>
                  </a:lnTo>
                  <a:lnTo>
                    <a:pt x="2097" y="310"/>
                  </a:lnTo>
                  <a:lnTo>
                    <a:pt x="2076" y="346"/>
                  </a:lnTo>
                  <a:lnTo>
                    <a:pt x="2063" y="358"/>
                  </a:lnTo>
                  <a:lnTo>
                    <a:pt x="2038" y="356"/>
                  </a:lnTo>
                  <a:lnTo>
                    <a:pt x="1989" y="335"/>
                  </a:lnTo>
                  <a:lnTo>
                    <a:pt x="1951" y="368"/>
                  </a:lnTo>
                  <a:lnTo>
                    <a:pt x="1940" y="365"/>
                  </a:lnTo>
                  <a:lnTo>
                    <a:pt x="1911" y="337"/>
                  </a:lnTo>
                  <a:lnTo>
                    <a:pt x="1866" y="312"/>
                  </a:lnTo>
                  <a:lnTo>
                    <a:pt x="1850" y="312"/>
                  </a:lnTo>
                  <a:lnTo>
                    <a:pt x="1828" y="331"/>
                  </a:lnTo>
                  <a:lnTo>
                    <a:pt x="1811" y="335"/>
                  </a:lnTo>
                  <a:lnTo>
                    <a:pt x="1763" y="321"/>
                  </a:lnTo>
                  <a:lnTo>
                    <a:pt x="1756" y="330"/>
                  </a:lnTo>
                  <a:lnTo>
                    <a:pt x="1747" y="347"/>
                  </a:lnTo>
                  <a:lnTo>
                    <a:pt x="1774" y="400"/>
                  </a:lnTo>
                  <a:lnTo>
                    <a:pt x="1750" y="397"/>
                  </a:lnTo>
                  <a:lnTo>
                    <a:pt x="1702" y="383"/>
                  </a:lnTo>
                  <a:lnTo>
                    <a:pt x="1644" y="379"/>
                  </a:lnTo>
                  <a:lnTo>
                    <a:pt x="1558" y="420"/>
                  </a:lnTo>
                  <a:lnTo>
                    <a:pt x="1535" y="435"/>
                  </a:lnTo>
                  <a:lnTo>
                    <a:pt x="1504" y="465"/>
                  </a:lnTo>
                  <a:lnTo>
                    <a:pt x="1474" y="468"/>
                  </a:lnTo>
                  <a:lnTo>
                    <a:pt x="1448" y="446"/>
                  </a:lnTo>
                  <a:lnTo>
                    <a:pt x="1399" y="398"/>
                  </a:lnTo>
                  <a:lnTo>
                    <a:pt x="1391" y="384"/>
                  </a:lnTo>
                  <a:lnTo>
                    <a:pt x="1391" y="363"/>
                  </a:lnTo>
                  <a:lnTo>
                    <a:pt x="1395" y="344"/>
                  </a:lnTo>
                  <a:lnTo>
                    <a:pt x="1375" y="307"/>
                  </a:lnTo>
                  <a:lnTo>
                    <a:pt x="1367" y="282"/>
                  </a:lnTo>
                  <a:lnTo>
                    <a:pt x="1378" y="233"/>
                  </a:lnTo>
                  <a:lnTo>
                    <a:pt x="1409" y="139"/>
                  </a:lnTo>
                  <a:lnTo>
                    <a:pt x="1390" y="88"/>
                  </a:lnTo>
                  <a:lnTo>
                    <a:pt x="1366" y="81"/>
                  </a:lnTo>
                  <a:lnTo>
                    <a:pt x="1353" y="81"/>
                  </a:lnTo>
                  <a:lnTo>
                    <a:pt x="1374" y="23"/>
                  </a:lnTo>
                  <a:lnTo>
                    <a:pt x="1372" y="12"/>
                  </a:lnTo>
                  <a:lnTo>
                    <a:pt x="1360" y="7"/>
                  </a:lnTo>
                  <a:lnTo>
                    <a:pt x="1338" y="0"/>
                  </a:lnTo>
                  <a:lnTo>
                    <a:pt x="1325" y="3"/>
                  </a:lnTo>
                  <a:lnTo>
                    <a:pt x="1306" y="16"/>
                  </a:lnTo>
                  <a:lnTo>
                    <a:pt x="1311" y="26"/>
                  </a:lnTo>
                  <a:lnTo>
                    <a:pt x="1305" y="42"/>
                  </a:lnTo>
                  <a:lnTo>
                    <a:pt x="1278" y="63"/>
                  </a:lnTo>
                  <a:lnTo>
                    <a:pt x="1202" y="111"/>
                  </a:lnTo>
                  <a:lnTo>
                    <a:pt x="1142" y="127"/>
                  </a:lnTo>
                  <a:lnTo>
                    <a:pt x="1121" y="123"/>
                  </a:lnTo>
                  <a:lnTo>
                    <a:pt x="1108" y="129"/>
                  </a:lnTo>
                  <a:lnTo>
                    <a:pt x="1097" y="189"/>
                  </a:lnTo>
                  <a:lnTo>
                    <a:pt x="1083" y="194"/>
                  </a:lnTo>
                  <a:lnTo>
                    <a:pt x="1055" y="162"/>
                  </a:lnTo>
                  <a:lnTo>
                    <a:pt x="1040" y="150"/>
                  </a:lnTo>
                  <a:lnTo>
                    <a:pt x="990" y="152"/>
                  </a:lnTo>
                  <a:lnTo>
                    <a:pt x="971" y="150"/>
                  </a:lnTo>
                  <a:lnTo>
                    <a:pt x="933" y="125"/>
                  </a:lnTo>
                  <a:lnTo>
                    <a:pt x="920" y="120"/>
                  </a:lnTo>
                  <a:lnTo>
                    <a:pt x="913" y="120"/>
                  </a:lnTo>
                  <a:lnTo>
                    <a:pt x="911" y="130"/>
                  </a:lnTo>
                  <a:lnTo>
                    <a:pt x="938" y="166"/>
                  </a:lnTo>
                  <a:lnTo>
                    <a:pt x="955" y="203"/>
                  </a:lnTo>
                  <a:lnTo>
                    <a:pt x="971" y="312"/>
                  </a:lnTo>
                  <a:lnTo>
                    <a:pt x="979" y="324"/>
                  </a:lnTo>
                  <a:lnTo>
                    <a:pt x="1020" y="326"/>
                  </a:lnTo>
                  <a:lnTo>
                    <a:pt x="1040" y="333"/>
                  </a:lnTo>
                  <a:lnTo>
                    <a:pt x="1047" y="347"/>
                  </a:lnTo>
                  <a:lnTo>
                    <a:pt x="1035" y="361"/>
                  </a:lnTo>
                  <a:lnTo>
                    <a:pt x="1010" y="376"/>
                  </a:lnTo>
                  <a:lnTo>
                    <a:pt x="982" y="383"/>
                  </a:lnTo>
                  <a:lnTo>
                    <a:pt x="973" y="393"/>
                  </a:lnTo>
                  <a:lnTo>
                    <a:pt x="961" y="427"/>
                  </a:lnTo>
                  <a:lnTo>
                    <a:pt x="951" y="439"/>
                  </a:lnTo>
                  <a:lnTo>
                    <a:pt x="921" y="448"/>
                  </a:lnTo>
                  <a:lnTo>
                    <a:pt x="897" y="463"/>
                  </a:lnTo>
                  <a:lnTo>
                    <a:pt x="836" y="537"/>
                  </a:lnTo>
                  <a:lnTo>
                    <a:pt x="825" y="537"/>
                  </a:lnTo>
                  <a:lnTo>
                    <a:pt x="816" y="496"/>
                  </a:lnTo>
                  <a:lnTo>
                    <a:pt x="814" y="488"/>
                  </a:lnTo>
                  <a:lnTo>
                    <a:pt x="779" y="525"/>
                  </a:lnTo>
                  <a:lnTo>
                    <a:pt x="761" y="528"/>
                  </a:lnTo>
                  <a:lnTo>
                    <a:pt x="740" y="516"/>
                  </a:lnTo>
                  <a:lnTo>
                    <a:pt x="709" y="488"/>
                  </a:lnTo>
                  <a:lnTo>
                    <a:pt x="691" y="484"/>
                  </a:lnTo>
                  <a:lnTo>
                    <a:pt x="681" y="461"/>
                  </a:lnTo>
                  <a:lnTo>
                    <a:pt x="671" y="391"/>
                  </a:lnTo>
                  <a:lnTo>
                    <a:pt x="663" y="368"/>
                  </a:lnTo>
                  <a:lnTo>
                    <a:pt x="658" y="360"/>
                  </a:lnTo>
                  <a:lnTo>
                    <a:pt x="598" y="406"/>
                  </a:lnTo>
                  <a:lnTo>
                    <a:pt x="581" y="413"/>
                  </a:lnTo>
                  <a:lnTo>
                    <a:pt x="560" y="414"/>
                  </a:lnTo>
                  <a:lnTo>
                    <a:pt x="407" y="409"/>
                  </a:lnTo>
                  <a:lnTo>
                    <a:pt x="404" y="481"/>
                  </a:lnTo>
                  <a:lnTo>
                    <a:pt x="413" y="489"/>
                  </a:lnTo>
                  <a:lnTo>
                    <a:pt x="451" y="495"/>
                  </a:lnTo>
                  <a:lnTo>
                    <a:pt x="460" y="500"/>
                  </a:lnTo>
                  <a:lnTo>
                    <a:pt x="472" y="521"/>
                  </a:lnTo>
                  <a:lnTo>
                    <a:pt x="475" y="541"/>
                  </a:lnTo>
                  <a:lnTo>
                    <a:pt x="458" y="539"/>
                  </a:lnTo>
                  <a:lnTo>
                    <a:pt x="439" y="532"/>
                  </a:lnTo>
                  <a:lnTo>
                    <a:pt x="410" y="534"/>
                  </a:lnTo>
                  <a:lnTo>
                    <a:pt x="388" y="544"/>
                  </a:lnTo>
                  <a:lnTo>
                    <a:pt x="384" y="548"/>
                  </a:lnTo>
                  <a:lnTo>
                    <a:pt x="384" y="634"/>
                  </a:lnTo>
                  <a:lnTo>
                    <a:pt x="390" y="645"/>
                  </a:lnTo>
                  <a:lnTo>
                    <a:pt x="422" y="662"/>
                  </a:lnTo>
                  <a:lnTo>
                    <a:pt x="431" y="673"/>
                  </a:lnTo>
                  <a:lnTo>
                    <a:pt x="429" y="713"/>
                  </a:lnTo>
                  <a:lnTo>
                    <a:pt x="447" y="743"/>
                  </a:lnTo>
                  <a:lnTo>
                    <a:pt x="447" y="754"/>
                  </a:lnTo>
                  <a:lnTo>
                    <a:pt x="400" y="1080"/>
                  </a:lnTo>
                  <a:lnTo>
                    <a:pt x="394" y="1091"/>
                  </a:lnTo>
                  <a:lnTo>
                    <a:pt x="400" y="1109"/>
                  </a:lnTo>
                  <a:lnTo>
                    <a:pt x="385" y="1117"/>
                  </a:lnTo>
                  <a:lnTo>
                    <a:pt x="327" y="1100"/>
                  </a:lnTo>
                  <a:lnTo>
                    <a:pt x="314" y="1105"/>
                  </a:lnTo>
                  <a:lnTo>
                    <a:pt x="287" y="1128"/>
                  </a:lnTo>
                  <a:lnTo>
                    <a:pt x="271" y="1133"/>
                  </a:lnTo>
                  <a:lnTo>
                    <a:pt x="241" y="1130"/>
                  </a:lnTo>
                  <a:lnTo>
                    <a:pt x="156" y="1171"/>
                  </a:lnTo>
                  <a:lnTo>
                    <a:pt x="125" y="1196"/>
                  </a:lnTo>
                  <a:lnTo>
                    <a:pt x="110" y="1205"/>
                  </a:lnTo>
                  <a:lnTo>
                    <a:pt x="83" y="1279"/>
                  </a:lnTo>
                  <a:lnTo>
                    <a:pt x="69" y="1305"/>
                  </a:lnTo>
                  <a:lnTo>
                    <a:pt x="67" y="1314"/>
                  </a:lnTo>
                  <a:lnTo>
                    <a:pt x="81" y="1358"/>
                  </a:lnTo>
                  <a:lnTo>
                    <a:pt x="81" y="1365"/>
                  </a:lnTo>
                  <a:lnTo>
                    <a:pt x="53" y="1392"/>
                  </a:lnTo>
                  <a:lnTo>
                    <a:pt x="26" y="1409"/>
                  </a:lnTo>
                  <a:lnTo>
                    <a:pt x="12" y="1427"/>
                  </a:lnTo>
                  <a:lnTo>
                    <a:pt x="0" y="1459"/>
                  </a:lnTo>
                  <a:lnTo>
                    <a:pt x="4" y="1489"/>
                  </a:lnTo>
                  <a:lnTo>
                    <a:pt x="91" y="1655"/>
                  </a:lnTo>
                  <a:lnTo>
                    <a:pt x="95" y="1662"/>
                  </a:lnTo>
                  <a:lnTo>
                    <a:pt x="75" y="1704"/>
                  </a:lnTo>
                  <a:lnTo>
                    <a:pt x="141" y="1713"/>
                  </a:lnTo>
                  <a:lnTo>
                    <a:pt x="155" y="1722"/>
                  </a:lnTo>
                  <a:lnTo>
                    <a:pt x="165" y="1739"/>
                  </a:lnTo>
                  <a:lnTo>
                    <a:pt x="169" y="1775"/>
                  </a:lnTo>
                  <a:lnTo>
                    <a:pt x="251" y="1776"/>
                  </a:lnTo>
                  <a:lnTo>
                    <a:pt x="314" y="1723"/>
                  </a:lnTo>
                  <a:lnTo>
                    <a:pt x="328" y="1718"/>
                  </a:lnTo>
                  <a:lnTo>
                    <a:pt x="321" y="1859"/>
                  </a:lnTo>
                  <a:lnTo>
                    <a:pt x="325" y="1880"/>
                  </a:lnTo>
                  <a:lnTo>
                    <a:pt x="340" y="1897"/>
                  </a:lnTo>
                  <a:lnTo>
                    <a:pt x="352" y="1901"/>
                  </a:lnTo>
                  <a:lnTo>
                    <a:pt x="368" y="1897"/>
                  </a:lnTo>
                  <a:lnTo>
                    <a:pt x="402" y="1883"/>
                  </a:lnTo>
                  <a:lnTo>
                    <a:pt x="422" y="1881"/>
                  </a:lnTo>
                  <a:lnTo>
                    <a:pt x="463" y="1888"/>
                  </a:lnTo>
                  <a:lnTo>
                    <a:pt x="512" y="1904"/>
                  </a:lnTo>
                  <a:lnTo>
                    <a:pt x="528" y="1903"/>
                  </a:lnTo>
                  <a:lnTo>
                    <a:pt x="570" y="1857"/>
                  </a:lnTo>
                  <a:lnTo>
                    <a:pt x="606" y="1861"/>
                  </a:lnTo>
                  <a:lnTo>
                    <a:pt x="623" y="1849"/>
                  </a:lnTo>
                  <a:lnTo>
                    <a:pt x="688" y="1789"/>
                  </a:lnTo>
                  <a:lnTo>
                    <a:pt x="744" y="1755"/>
                  </a:lnTo>
                  <a:lnTo>
                    <a:pt x="842" y="1752"/>
                  </a:lnTo>
                  <a:lnTo>
                    <a:pt x="843" y="1792"/>
                  </a:lnTo>
                  <a:lnTo>
                    <a:pt x="836" y="1857"/>
                  </a:lnTo>
                  <a:lnTo>
                    <a:pt x="839" y="1903"/>
                  </a:lnTo>
                  <a:lnTo>
                    <a:pt x="844" y="1936"/>
                  </a:lnTo>
                  <a:lnTo>
                    <a:pt x="859" y="1968"/>
                  </a:lnTo>
                  <a:lnTo>
                    <a:pt x="895" y="2017"/>
                  </a:lnTo>
                  <a:lnTo>
                    <a:pt x="944" y="2067"/>
                  </a:lnTo>
                  <a:lnTo>
                    <a:pt x="958" y="2072"/>
                  </a:lnTo>
                  <a:lnTo>
                    <a:pt x="993" y="2074"/>
                  </a:lnTo>
                  <a:lnTo>
                    <a:pt x="1009" y="2072"/>
                  </a:lnTo>
                  <a:lnTo>
                    <a:pt x="1039" y="2084"/>
                  </a:lnTo>
                  <a:lnTo>
                    <a:pt x="1068" y="2102"/>
                  </a:lnTo>
                  <a:lnTo>
                    <a:pt x="1101" y="2134"/>
                  </a:lnTo>
                  <a:lnTo>
                    <a:pt x="1114" y="2139"/>
                  </a:lnTo>
                  <a:lnTo>
                    <a:pt x="1157" y="2141"/>
                  </a:lnTo>
                  <a:lnTo>
                    <a:pt x="1175" y="2183"/>
                  </a:lnTo>
                  <a:lnTo>
                    <a:pt x="1192" y="2199"/>
                  </a:lnTo>
                  <a:lnTo>
                    <a:pt x="1202" y="2204"/>
                  </a:lnTo>
                  <a:lnTo>
                    <a:pt x="1253" y="2199"/>
                  </a:lnTo>
                  <a:lnTo>
                    <a:pt x="1304" y="2215"/>
                  </a:lnTo>
                  <a:lnTo>
                    <a:pt x="1322" y="2227"/>
                  </a:lnTo>
                  <a:lnTo>
                    <a:pt x="1326" y="2236"/>
                  </a:lnTo>
                  <a:lnTo>
                    <a:pt x="1325" y="2268"/>
                  </a:lnTo>
                  <a:lnTo>
                    <a:pt x="1334" y="2322"/>
                  </a:lnTo>
                  <a:lnTo>
                    <a:pt x="1341" y="2469"/>
                  </a:lnTo>
                  <a:lnTo>
                    <a:pt x="1351" y="2520"/>
                  </a:lnTo>
                  <a:lnTo>
                    <a:pt x="1359" y="2527"/>
                  </a:lnTo>
                  <a:lnTo>
                    <a:pt x="1525" y="2530"/>
                  </a:lnTo>
                  <a:lnTo>
                    <a:pt x="1526" y="2546"/>
                  </a:lnTo>
                  <a:lnTo>
                    <a:pt x="1515" y="2593"/>
                  </a:lnTo>
                  <a:lnTo>
                    <a:pt x="1519" y="2623"/>
                  </a:lnTo>
                  <a:lnTo>
                    <a:pt x="1538" y="2646"/>
                  </a:lnTo>
                  <a:lnTo>
                    <a:pt x="1570" y="2665"/>
                  </a:lnTo>
                  <a:lnTo>
                    <a:pt x="1584" y="2690"/>
                  </a:lnTo>
                  <a:lnTo>
                    <a:pt x="1597" y="2733"/>
                  </a:lnTo>
                  <a:lnTo>
                    <a:pt x="1599" y="2759"/>
                  </a:lnTo>
                  <a:lnTo>
                    <a:pt x="1590" y="2824"/>
                  </a:lnTo>
                  <a:lnTo>
                    <a:pt x="1579" y="2868"/>
                  </a:lnTo>
                  <a:lnTo>
                    <a:pt x="1563" y="2911"/>
                  </a:lnTo>
                  <a:lnTo>
                    <a:pt x="1544" y="2946"/>
                  </a:lnTo>
                  <a:lnTo>
                    <a:pt x="1556" y="2969"/>
                  </a:lnTo>
                  <a:lnTo>
                    <a:pt x="1559" y="3006"/>
                  </a:lnTo>
                  <a:lnTo>
                    <a:pt x="1583" y="3054"/>
                  </a:lnTo>
                  <a:lnTo>
                    <a:pt x="1587" y="3105"/>
                  </a:lnTo>
                  <a:lnTo>
                    <a:pt x="1576" y="3193"/>
                  </a:lnTo>
                  <a:lnTo>
                    <a:pt x="1576" y="3232"/>
                  </a:lnTo>
                  <a:lnTo>
                    <a:pt x="1670" y="3255"/>
                  </a:lnTo>
                  <a:lnTo>
                    <a:pt x="1685" y="3253"/>
                  </a:lnTo>
                  <a:lnTo>
                    <a:pt x="1716" y="3230"/>
                  </a:lnTo>
                  <a:lnTo>
                    <a:pt x="1722" y="3230"/>
                  </a:lnTo>
                  <a:lnTo>
                    <a:pt x="1791" y="3269"/>
                  </a:lnTo>
                  <a:lnTo>
                    <a:pt x="1796" y="3293"/>
                  </a:lnTo>
                  <a:lnTo>
                    <a:pt x="1818" y="3432"/>
                  </a:lnTo>
                  <a:lnTo>
                    <a:pt x="1829" y="3464"/>
                  </a:lnTo>
                  <a:lnTo>
                    <a:pt x="1838" y="3467"/>
                  </a:lnTo>
                  <a:lnTo>
                    <a:pt x="1895" y="3443"/>
                  </a:lnTo>
                  <a:lnTo>
                    <a:pt x="1906" y="3448"/>
                  </a:lnTo>
                  <a:lnTo>
                    <a:pt x="1928" y="3467"/>
                  </a:lnTo>
                  <a:lnTo>
                    <a:pt x="1928" y="3474"/>
                  </a:lnTo>
                  <a:lnTo>
                    <a:pt x="1891" y="3610"/>
                  </a:lnTo>
                  <a:lnTo>
                    <a:pt x="1893" y="3677"/>
                  </a:lnTo>
                  <a:lnTo>
                    <a:pt x="1935" y="3667"/>
                  </a:lnTo>
                  <a:lnTo>
                    <a:pt x="1956" y="3667"/>
                  </a:lnTo>
                  <a:lnTo>
                    <a:pt x="1965" y="3677"/>
                  </a:lnTo>
                  <a:lnTo>
                    <a:pt x="1988" y="3742"/>
                  </a:lnTo>
                  <a:lnTo>
                    <a:pt x="1983" y="3834"/>
                  </a:lnTo>
                  <a:lnTo>
                    <a:pt x="1977" y="3861"/>
                  </a:lnTo>
                  <a:lnTo>
                    <a:pt x="1953" y="3878"/>
                  </a:lnTo>
                  <a:lnTo>
                    <a:pt x="1877" y="3921"/>
                  </a:lnTo>
                  <a:lnTo>
                    <a:pt x="1861" y="3935"/>
                  </a:lnTo>
                  <a:lnTo>
                    <a:pt x="1609" y="4250"/>
                  </a:lnTo>
                  <a:lnTo>
                    <a:pt x="1599" y="4266"/>
                  </a:lnTo>
                  <a:lnTo>
                    <a:pt x="1624" y="4266"/>
                  </a:lnTo>
                  <a:lnTo>
                    <a:pt x="1670" y="4251"/>
                  </a:lnTo>
                  <a:lnTo>
                    <a:pt x="1681" y="4246"/>
                  </a:lnTo>
                  <a:lnTo>
                    <a:pt x="1693" y="4251"/>
                  </a:lnTo>
                  <a:lnTo>
                    <a:pt x="1713" y="4273"/>
                  </a:lnTo>
                  <a:lnTo>
                    <a:pt x="1730" y="4296"/>
                  </a:lnTo>
                  <a:lnTo>
                    <a:pt x="1767" y="4364"/>
                  </a:lnTo>
                  <a:lnTo>
                    <a:pt x="1779" y="4364"/>
                  </a:lnTo>
                  <a:lnTo>
                    <a:pt x="1809" y="4340"/>
                  </a:lnTo>
                  <a:lnTo>
                    <a:pt x="1844" y="4396"/>
                  </a:lnTo>
                  <a:lnTo>
                    <a:pt x="1895" y="4417"/>
                  </a:lnTo>
                  <a:lnTo>
                    <a:pt x="1940" y="4453"/>
                  </a:lnTo>
                  <a:lnTo>
                    <a:pt x="1960" y="4477"/>
                  </a:lnTo>
                  <a:lnTo>
                    <a:pt x="2004" y="4553"/>
                  </a:lnTo>
                  <a:lnTo>
                    <a:pt x="2011" y="4555"/>
                  </a:lnTo>
                  <a:lnTo>
                    <a:pt x="2026" y="4578"/>
                  </a:lnTo>
                  <a:lnTo>
                    <a:pt x="2025" y="4594"/>
                  </a:lnTo>
                  <a:lnTo>
                    <a:pt x="1997" y="4638"/>
                  </a:lnTo>
                  <a:lnTo>
                    <a:pt x="1992" y="4654"/>
                  </a:lnTo>
                  <a:lnTo>
                    <a:pt x="2008" y="4716"/>
                  </a:lnTo>
                  <a:lnTo>
                    <a:pt x="2055" y="4659"/>
                  </a:lnTo>
                  <a:lnTo>
                    <a:pt x="2091" y="4604"/>
                  </a:lnTo>
                  <a:lnTo>
                    <a:pt x="2112" y="4558"/>
                  </a:lnTo>
                  <a:lnTo>
                    <a:pt x="2131" y="4460"/>
                  </a:lnTo>
                  <a:lnTo>
                    <a:pt x="2132" y="4438"/>
                  </a:lnTo>
                  <a:lnTo>
                    <a:pt x="2141" y="4414"/>
                  </a:lnTo>
                  <a:lnTo>
                    <a:pt x="2184" y="4371"/>
                  </a:lnTo>
                  <a:lnTo>
                    <a:pt x="2201" y="4345"/>
                  </a:lnTo>
                  <a:lnTo>
                    <a:pt x="2218" y="4274"/>
                  </a:lnTo>
                  <a:lnTo>
                    <a:pt x="2218" y="4257"/>
                  </a:lnTo>
                  <a:lnTo>
                    <a:pt x="2221" y="4248"/>
                  </a:lnTo>
                  <a:lnTo>
                    <a:pt x="2250" y="4260"/>
                  </a:lnTo>
                  <a:lnTo>
                    <a:pt x="2267" y="4260"/>
                  </a:lnTo>
                  <a:lnTo>
                    <a:pt x="2282" y="4253"/>
                  </a:lnTo>
                  <a:lnTo>
                    <a:pt x="2286" y="4267"/>
                  </a:lnTo>
                  <a:lnTo>
                    <a:pt x="2258" y="4334"/>
                  </a:lnTo>
                  <a:lnTo>
                    <a:pt x="2230" y="4368"/>
                  </a:lnTo>
                  <a:lnTo>
                    <a:pt x="2211" y="4401"/>
                  </a:lnTo>
                  <a:lnTo>
                    <a:pt x="2198" y="4449"/>
                  </a:lnTo>
                  <a:lnTo>
                    <a:pt x="2263" y="4368"/>
                  </a:lnTo>
                  <a:lnTo>
                    <a:pt x="2295" y="4310"/>
                  </a:lnTo>
                  <a:lnTo>
                    <a:pt x="2339" y="4190"/>
                  </a:lnTo>
                  <a:lnTo>
                    <a:pt x="2349" y="4167"/>
                  </a:lnTo>
                  <a:lnTo>
                    <a:pt x="2386" y="4107"/>
                  </a:lnTo>
                  <a:lnTo>
                    <a:pt x="2422" y="4077"/>
                  </a:lnTo>
                  <a:lnTo>
                    <a:pt x="2447" y="4049"/>
                  </a:lnTo>
                  <a:lnTo>
                    <a:pt x="2467" y="4006"/>
                  </a:lnTo>
                  <a:lnTo>
                    <a:pt x="2480" y="3936"/>
                  </a:lnTo>
                  <a:lnTo>
                    <a:pt x="2483" y="3919"/>
                  </a:lnTo>
                  <a:lnTo>
                    <a:pt x="2479" y="3794"/>
                  </a:lnTo>
                  <a:lnTo>
                    <a:pt x="2462" y="3757"/>
                  </a:lnTo>
                  <a:lnTo>
                    <a:pt x="2466" y="3748"/>
                  </a:lnTo>
                  <a:lnTo>
                    <a:pt x="2478" y="3739"/>
                  </a:lnTo>
                  <a:lnTo>
                    <a:pt x="2488" y="3693"/>
                  </a:lnTo>
                  <a:lnTo>
                    <a:pt x="2483" y="3663"/>
                  </a:lnTo>
                  <a:lnTo>
                    <a:pt x="2467" y="3651"/>
                  </a:lnTo>
                  <a:lnTo>
                    <a:pt x="2467" y="3637"/>
                  </a:lnTo>
                  <a:lnTo>
                    <a:pt x="2479" y="3638"/>
                  </a:lnTo>
                  <a:lnTo>
                    <a:pt x="2504" y="3633"/>
                  </a:lnTo>
                  <a:lnTo>
                    <a:pt x="2525" y="3621"/>
                  </a:lnTo>
                  <a:lnTo>
                    <a:pt x="2549" y="3582"/>
                  </a:lnTo>
                  <a:lnTo>
                    <a:pt x="2713" y="3446"/>
                  </a:lnTo>
                  <a:lnTo>
                    <a:pt x="2739" y="3432"/>
                  </a:lnTo>
                  <a:lnTo>
                    <a:pt x="2755" y="3427"/>
                  </a:lnTo>
                  <a:lnTo>
                    <a:pt x="2787" y="3443"/>
                  </a:lnTo>
                  <a:lnTo>
                    <a:pt x="2797" y="3423"/>
                  </a:lnTo>
                  <a:lnTo>
                    <a:pt x="2818" y="3399"/>
                  </a:lnTo>
                  <a:lnTo>
                    <a:pt x="2853" y="3381"/>
                  </a:lnTo>
                  <a:lnTo>
                    <a:pt x="2867" y="3369"/>
                  </a:lnTo>
                  <a:lnTo>
                    <a:pt x="2875" y="3335"/>
                  </a:lnTo>
                  <a:lnTo>
                    <a:pt x="2948" y="3331"/>
                  </a:lnTo>
                  <a:lnTo>
                    <a:pt x="2969" y="3339"/>
                  </a:lnTo>
                  <a:lnTo>
                    <a:pt x="3032" y="3340"/>
                  </a:lnTo>
                  <a:lnTo>
                    <a:pt x="3076" y="3331"/>
                  </a:lnTo>
                  <a:lnTo>
                    <a:pt x="3113" y="3333"/>
                  </a:lnTo>
                  <a:lnTo>
                    <a:pt x="3130" y="3328"/>
                  </a:lnTo>
                  <a:lnTo>
                    <a:pt x="3130" y="3307"/>
                  </a:lnTo>
                  <a:lnTo>
                    <a:pt x="3133" y="3280"/>
                  </a:lnTo>
                  <a:lnTo>
                    <a:pt x="3150" y="3260"/>
                  </a:lnTo>
                  <a:lnTo>
                    <a:pt x="3174" y="3244"/>
                  </a:lnTo>
                  <a:lnTo>
                    <a:pt x="3227" y="3225"/>
                  </a:lnTo>
                  <a:lnTo>
                    <a:pt x="3219" y="3172"/>
                  </a:lnTo>
                  <a:lnTo>
                    <a:pt x="3222" y="3154"/>
                  </a:lnTo>
                  <a:lnTo>
                    <a:pt x="3231" y="3126"/>
                  </a:lnTo>
                  <a:lnTo>
                    <a:pt x="3276" y="3048"/>
                  </a:lnTo>
                  <a:lnTo>
                    <a:pt x="3310" y="2967"/>
                  </a:lnTo>
                  <a:lnTo>
                    <a:pt x="3339" y="2934"/>
                  </a:lnTo>
                  <a:lnTo>
                    <a:pt x="3348" y="2918"/>
                  </a:lnTo>
                  <a:lnTo>
                    <a:pt x="3353" y="2898"/>
                  </a:lnTo>
                  <a:lnTo>
                    <a:pt x="3342" y="2817"/>
                  </a:lnTo>
                  <a:lnTo>
                    <a:pt x="3343" y="2798"/>
                  </a:lnTo>
                  <a:lnTo>
                    <a:pt x="3355" y="2755"/>
                  </a:lnTo>
                  <a:lnTo>
                    <a:pt x="3374" y="2727"/>
                  </a:lnTo>
                  <a:lnTo>
                    <a:pt x="3407" y="2701"/>
                  </a:lnTo>
                  <a:lnTo>
                    <a:pt x="3404" y="2695"/>
                  </a:lnTo>
                  <a:lnTo>
                    <a:pt x="3399" y="2660"/>
                  </a:lnTo>
                  <a:lnTo>
                    <a:pt x="3400" y="2625"/>
                  </a:lnTo>
                  <a:lnTo>
                    <a:pt x="3425" y="2486"/>
                  </a:lnTo>
                  <a:lnTo>
                    <a:pt x="3409" y="2287"/>
                  </a:lnTo>
                  <a:lnTo>
                    <a:pt x="3413" y="2215"/>
                  </a:lnTo>
                  <a:lnTo>
                    <a:pt x="3437" y="2128"/>
                  </a:lnTo>
                  <a:lnTo>
                    <a:pt x="3440" y="2086"/>
                  </a:lnTo>
                  <a:lnTo>
                    <a:pt x="3456" y="2089"/>
                  </a:lnTo>
                  <a:lnTo>
                    <a:pt x="3468" y="2105"/>
                  </a:lnTo>
                  <a:lnTo>
                    <a:pt x="3473" y="2128"/>
                  </a:lnTo>
                  <a:lnTo>
                    <a:pt x="3481" y="2127"/>
                  </a:lnTo>
                  <a:lnTo>
                    <a:pt x="3492" y="2116"/>
                  </a:lnTo>
                  <a:lnTo>
                    <a:pt x="3527" y="2058"/>
                  </a:lnTo>
                  <a:lnTo>
                    <a:pt x="3576" y="1948"/>
                  </a:lnTo>
                  <a:lnTo>
                    <a:pt x="3580" y="1908"/>
                  </a:lnTo>
                  <a:lnTo>
                    <a:pt x="3599" y="1874"/>
                  </a:lnTo>
                  <a:lnTo>
                    <a:pt x="3613" y="1873"/>
                  </a:lnTo>
                  <a:lnTo>
                    <a:pt x="3634" y="1861"/>
                  </a:lnTo>
                  <a:lnTo>
                    <a:pt x="3755" y="1730"/>
                  </a:lnTo>
                  <a:lnTo>
                    <a:pt x="3776" y="1685"/>
                  </a:lnTo>
                  <a:lnTo>
                    <a:pt x="3801" y="1616"/>
                  </a:lnTo>
                  <a:lnTo>
                    <a:pt x="3821" y="1524"/>
                  </a:lnTo>
                  <a:lnTo>
                    <a:pt x="3824" y="1492"/>
                  </a:lnTo>
                  <a:lnTo>
                    <a:pt x="3821" y="1441"/>
                  </a:lnTo>
                  <a:lnTo>
                    <a:pt x="3783" y="1275"/>
                  </a:lnTo>
                  <a:lnTo>
                    <a:pt x="3780" y="1244"/>
                  </a:lnTo>
                  <a:lnTo>
                    <a:pt x="3768" y="1219"/>
                  </a:lnTo>
                  <a:lnTo>
                    <a:pt x="3748" y="1208"/>
                  </a:lnTo>
                  <a:lnTo>
                    <a:pt x="3652" y="1201"/>
                  </a:lnTo>
                  <a:lnTo>
                    <a:pt x="3620" y="1192"/>
                  </a:lnTo>
                  <a:lnTo>
                    <a:pt x="3599" y="1182"/>
                  </a:lnTo>
                  <a:lnTo>
                    <a:pt x="3416" y="1001"/>
                  </a:lnTo>
                  <a:lnTo>
                    <a:pt x="3350" y="953"/>
                  </a:lnTo>
                  <a:lnTo>
                    <a:pt x="3301" y="936"/>
                  </a:lnTo>
                  <a:lnTo>
                    <a:pt x="3281" y="936"/>
                  </a:lnTo>
                  <a:lnTo>
                    <a:pt x="3256" y="944"/>
                  </a:lnTo>
                  <a:lnTo>
                    <a:pt x="3215" y="950"/>
                  </a:lnTo>
                  <a:lnTo>
                    <a:pt x="3096" y="930"/>
                  </a:lnTo>
                  <a:lnTo>
                    <a:pt x="3022" y="888"/>
                  </a:lnTo>
                  <a:lnTo>
                    <a:pt x="3006" y="885"/>
                  </a:lnTo>
                  <a:lnTo>
                    <a:pt x="2995" y="886"/>
                  </a:lnTo>
                  <a:lnTo>
                    <a:pt x="2953" y="909"/>
                  </a:lnTo>
                  <a:lnTo>
                    <a:pt x="2925" y="918"/>
                  </a:lnTo>
                  <a:lnTo>
                    <a:pt x="2909" y="927"/>
                  </a:lnTo>
                  <a:lnTo>
                    <a:pt x="2872" y="969"/>
                  </a:lnTo>
                  <a:lnTo>
                    <a:pt x="2864" y="948"/>
                  </a:lnTo>
                  <a:lnTo>
                    <a:pt x="2860" y="925"/>
                  </a:lnTo>
                  <a:lnTo>
                    <a:pt x="2867" y="902"/>
                  </a:lnTo>
                  <a:lnTo>
                    <a:pt x="2880" y="881"/>
                  </a:lnTo>
                  <a:lnTo>
                    <a:pt x="2885" y="867"/>
                  </a:lnTo>
                  <a:lnTo>
                    <a:pt x="2876" y="846"/>
                  </a:lnTo>
                  <a:lnTo>
                    <a:pt x="2853" y="805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192" name="Freeform 29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2001" y="2984"/>
              <a:ext cx="32" cy="27"/>
            </a:xfrm>
            <a:custGeom>
              <a:avLst/>
              <a:gdLst>
                <a:gd name="T0" fmla="*/ 13 w 220"/>
                <a:gd name="T1" fmla="*/ 7 h 180"/>
                <a:gd name="T2" fmla="*/ 4 w 220"/>
                <a:gd name="T3" fmla="*/ 62 h 180"/>
                <a:gd name="T4" fmla="*/ 3 w 220"/>
                <a:gd name="T5" fmla="*/ 81 h 180"/>
                <a:gd name="T6" fmla="*/ 7 w 220"/>
                <a:gd name="T7" fmla="*/ 115 h 180"/>
                <a:gd name="T8" fmla="*/ 0 w 220"/>
                <a:gd name="T9" fmla="*/ 125 h 180"/>
                <a:gd name="T10" fmla="*/ 3 w 220"/>
                <a:gd name="T11" fmla="*/ 145 h 180"/>
                <a:gd name="T12" fmla="*/ 16 w 220"/>
                <a:gd name="T13" fmla="*/ 173 h 180"/>
                <a:gd name="T14" fmla="*/ 41 w 220"/>
                <a:gd name="T15" fmla="*/ 180 h 180"/>
                <a:gd name="T16" fmla="*/ 70 w 220"/>
                <a:gd name="T17" fmla="*/ 171 h 180"/>
                <a:gd name="T18" fmla="*/ 127 w 220"/>
                <a:gd name="T19" fmla="*/ 170 h 180"/>
                <a:gd name="T20" fmla="*/ 147 w 220"/>
                <a:gd name="T21" fmla="*/ 161 h 180"/>
                <a:gd name="T22" fmla="*/ 172 w 220"/>
                <a:gd name="T23" fmla="*/ 143 h 180"/>
                <a:gd name="T24" fmla="*/ 185 w 220"/>
                <a:gd name="T25" fmla="*/ 127 h 180"/>
                <a:gd name="T26" fmla="*/ 196 w 220"/>
                <a:gd name="T27" fmla="*/ 101 h 180"/>
                <a:gd name="T28" fmla="*/ 205 w 220"/>
                <a:gd name="T29" fmla="*/ 51 h 180"/>
                <a:gd name="T30" fmla="*/ 220 w 220"/>
                <a:gd name="T31" fmla="*/ 23 h 180"/>
                <a:gd name="T32" fmla="*/ 207 w 220"/>
                <a:gd name="T33" fmla="*/ 14 h 180"/>
                <a:gd name="T34" fmla="*/ 184 w 220"/>
                <a:gd name="T35" fmla="*/ 11 h 180"/>
                <a:gd name="T36" fmla="*/ 163 w 220"/>
                <a:gd name="T37" fmla="*/ 2 h 180"/>
                <a:gd name="T38" fmla="*/ 147 w 220"/>
                <a:gd name="T39" fmla="*/ 0 h 180"/>
                <a:gd name="T40" fmla="*/ 126 w 220"/>
                <a:gd name="T41" fmla="*/ 11 h 180"/>
                <a:gd name="T42" fmla="*/ 44 w 220"/>
                <a:gd name="T43" fmla="*/ 0 h 180"/>
                <a:gd name="T44" fmla="*/ 21 w 220"/>
                <a:gd name="T45" fmla="*/ 2 h 180"/>
                <a:gd name="T46" fmla="*/ 13 w 220"/>
                <a:gd name="T47" fmla="*/ 7 h 18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20"/>
                <a:gd name="T73" fmla="*/ 0 h 180"/>
                <a:gd name="T74" fmla="*/ 220 w 220"/>
                <a:gd name="T75" fmla="*/ 180 h 180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20" h="180">
                  <a:moveTo>
                    <a:pt x="13" y="7"/>
                  </a:moveTo>
                  <a:lnTo>
                    <a:pt x="4" y="62"/>
                  </a:lnTo>
                  <a:lnTo>
                    <a:pt x="3" y="81"/>
                  </a:lnTo>
                  <a:lnTo>
                    <a:pt x="7" y="115"/>
                  </a:lnTo>
                  <a:lnTo>
                    <a:pt x="0" y="125"/>
                  </a:lnTo>
                  <a:lnTo>
                    <a:pt x="3" y="145"/>
                  </a:lnTo>
                  <a:lnTo>
                    <a:pt x="16" y="173"/>
                  </a:lnTo>
                  <a:lnTo>
                    <a:pt x="41" y="180"/>
                  </a:lnTo>
                  <a:lnTo>
                    <a:pt x="70" y="171"/>
                  </a:lnTo>
                  <a:lnTo>
                    <a:pt x="127" y="170"/>
                  </a:lnTo>
                  <a:lnTo>
                    <a:pt x="147" y="161"/>
                  </a:lnTo>
                  <a:lnTo>
                    <a:pt x="172" y="143"/>
                  </a:lnTo>
                  <a:lnTo>
                    <a:pt x="185" y="127"/>
                  </a:lnTo>
                  <a:lnTo>
                    <a:pt x="196" y="101"/>
                  </a:lnTo>
                  <a:lnTo>
                    <a:pt x="205" y="51"/>
                  </a:lnTo>
                  <a:lnTo>
                    <a:pt x="220" y="23"/>
                  </a:lnTo>
                  <a:lnTo>
                    <a:pt x="207" y="14"/>
                  </a:lnTo>
                  <a:lnTo>
                    <a:pt x="184" y="11"/>
                  </a:lnTo>
                  <a:lnTo>
                    <a:pt x="163" y="2"/>
                  </a:lnTo>
                  <a:lnTo>
                    <a:pt x="147" y="0"/>
                  </a:lnTo>
                  <a:lnTo>
                    <a:pt x="126" y="11"/>
                  </a:lnTo>
                  <a:lnTo>
                    <a:pt x="44" y="0"/>
                  </a:lnTo>
                  <a:lnTo>
                    <a:pt x="21" y="2"/>
                  </a:lnTo>
                  <a:lnTo>
                    <a:pt x="13" y="7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193" name="Freeform 30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1887" y="3520"/>
              <a:ext cx="76" cy="92"/>
            </a:xfrm>
            <a:custGeom>
              <a:avLst/>
              <a:gdLst>
                <a:gd name="T0" fmla="*/ 60 w 507"/>
                <a:gd name="T1" fmla="*/ 50 h 620"/>
                <a:gd name="T2" fmla="*/ 57 w 507"/>
                <a:gd name="T3" fmla="*/ 76 h 620"/>
                <a:gd name="T4" fmla="*/ 27 w 507"/>
                <a:gd name="T5" fmla="*/ 244 h 620"/>
                <a:gd name="T6" fmla="*/ 37 w 507"/>
                <a:gd name="T7" fmla="*/ 351 h 620"/>
                <a:gd name="T8" fmla="*/ 31 w 507"/>
                <a:gd name="T9" fmla="*/ 369 h 620"/>
                <a:gd name="T10" fmla="*/ 10 w 507"/>
                <a:gd name="T11" fmla="*/ 401 h 620"/>
                <a:gd name="T12" fmla="*/ 0 w 507"/>
                <a:gd name="T13" fmla="*/ 429 h 620"/>
                <a:gd name="T14" fmla="*/ 0 w 507"/>
                <a:gd name="T15" fmla="*/ 462 h 620"/>
                <a:gd name="T16" fmla="*/ 7 w 507"/>
                <a:gd name="T17" fmla="*/ 495 h 620"/>
                <a:gd name="T18" fmla="*/ 6 w 507"/>
                <a:gd name="T19" fmla="*/ 514 h 620"/>
                <a:gd name="T20" fmla="*/ 20 w 507"/>
                <a:gd name="T21" fmla="*/ 525 h 620"/>
                <a:gd name="T22" fmla="*/ 45 w 507"/>
                <a:gd name="T23" fmla="*/ 559 h 620"/>
                <a:gd name="T24" fmla="*/ 59 w 507"/>
                <a:gd name="T25" fmla="*/ 566 h 620"/>
                <a:gd name="T26" fmla="*/ 102 w 507"/>
                <a:gd name="T27" fmla="*/ 553 h 620"/>
                <a:gd name="T28" fmla="*/ 137 w 507"/>
                <a:gd name="T29" fmla="*/ 562 h 620"/>
                <a:gd name="T30" fmla="*/ 164 w 507"/>
                <a:gd name="T31" fmla="*/ 578 h 620"/>
                <a:gd name="T32" fmla="*/ 201 w 507"/>
                <a:gd name="T33" fmla="*/ 619 h 620"/>
                <a:gd name="T34" fmla="*/ 217 w 507"/>
                <a:gd name="T35" fmla="*/ 620 h 620"/>
                <a:gd name="T36" fmla="*/ 248 w 507"/>
                <a:gd name="T37" fmla="*/ 603 h 620"/>
                <a:gd name="T38" fmla="*/ 294 w 507"/>
                <a:gd name="T39" fmla="*/ 594 h 620"/>
                <a:gd name="T40" fmla="*/ 334 w 507"/>
                <a:gd name="T41" fmla="*/ 613 h 620"/>
                <a:gd name="T42" fmla="*/ 371 w 507"/>
                <a:gd name="T43" fmla="*/ 608 h 620"/>
                <a:gd name="T44" fmla="*/ 390 w 507"/>
                <a:gd name="T45" fmla="*/ 599 h 620"/>
                <a:gd name="T46" fmla="*/ 424 w 507"/>
                <a:gd name="T47" fmla="*/ 573 h 620"/>
                <a:gd name="T48" fmla="*/ 452 w 507"/>
                <a:gd name="T49" fmla="*/ 539 h 620"/>
                <a:gd name="T50" fmla="*/ 486 w 507"/>
                <a:gd name="T51" fmla="*/ 474 h 620"/>
                <a:gd name="T52" fmla="*/ 489 w 507"/>
                <a:gd name="T53" fmla="*/ 470 h 620"/>
                <a:gd name="T54" fmla="*/ 473 w 507"/>
                <a:gd name="T55" fmla="*/ 408 h 620"/>
                <a:gd name="T56" fmla="*/ 478 w 507"/>
                <a:gd name="T57" fmla="*/ 392 h 620"/>
                <a:gd name="T58" fmla="*/ 506 w 507"/>
                <a:gd name="T59" fmla="*/ 348 h 620"/>
                <a:gd name="T60" fmla="*/ 507 w 507"/>
                <a:gd name="T61" fmla="*/ 332 h 620"/>
                <a:gd name="T62" fmla="*/ 492 w 507"/>
                <a:gd name="T63" fmla="*/ 309 h 620"/>
                <a:gd name="T64" fmla="*/ 485 w 507"/>
                <a:gd name="T65" fmla="*/ 307 h 620"/>
                <a:gd name="T66" fmla="*/ 441 w 507"/>
                <a:gd name="T67" fmla="*/ 231 h 620"/>
                <a:gd name="T68" fmla="*/ 421 w 507"/>
                <a:gd name="T69" fmla="*/ 207 h 620"/>
                <a:gd name="T70" fmla="*/ 376 w 507"/>
                <a:gd name="T71" fmla="*/ 171 h 620"/>
                <a:gd name="T72" fmla="*/ 325 w 507"/>
                <a:gd name="T73" fmla="*/ 150 h 620"/>
                <a:gd name="T74" fmla="*/ 290 w 507"/>
                <a:gd name="T75" fmla="*/ 94 h 620"/>
                <a:gd name="T76" fmla="*/ 260 w 507"/>
                <a:gd name="T77" fmla="*/ 118 h 620"/>
                <a:gd name="T78" fmla="*/ 248 w 507"/>
                <a:gd name="T79" fmla="*/ 118 h 620"/>
                <a:gd name="T80" fmla="*/ 211 w 507"/>
                <a:gd name="T81" fmla="*/ 50 h 620"/>
                <a:gd name="T82" fmla="*/ 194 w 507"/>
                <a:gd name="T83" fmla="*/ 27 h 620"/>
                <a:gd name="T84" fmla="*/ 174 w 507"/>
                <a:gd name="T85" fmla="*/ 5 h 620"/>
                <a:gd name="T86" fmla="*/ 162 w 507"/>
                <a:gd name="T87" fmla="*/ 0 h 620"/>
                <a:gd name="T88" fmla="*/ 151 w 507"/>
                <a:gd name="T89" fmla="*/ 5 h 620"/>
                <a:gd name="T90" fmla="*/ 105 w 507"/>
                <a:gd name="T91" fmla="*/ 20 h 620"/>
                <a:gd name="T92" fmla="*/ 80 w 507"/>
                <a:gd name="T93" fmla="*/ 20 h 620"/>
                <a:gd name="T94" fmla="*/ 60 w 507"/>
                <a:gd name="T95" fmla="*/ 50 h 62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07"/>
                <a:gd name="T145" fmla="*/ 0 h 620"/>
                <a:gd name="T146" fmla="*/ 507 w 507"/>
                <a:gd name="T147" fmla="*/ 620 h 62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07" h="620">
                  <a:moveTo>
                    <a:pt x="60" y="50"/>
                  </a:moveTo>
                  <a:lnTo>
                    <a:pt x="57" y="76"/>
                  </a:lnTo>
                  <a:lnTo>
                    <a:pt x="27" y="244"/>
                  </a:lnTo>
                  <a:lnTo>
                    <a:pt x="37" y="351"/>
                  </a:lnTo>
                  <a:lnTo>
                    <a:pt x="31" y="369"/>
                  </a:lnTo>
                  <a:lnTo>
                    <a:pt x="10" y="401"/>
                  </a:lnTo>
                  <a:lnTo>
                    <a:pt x="0" y="429"/>
                  </a:lnTo>
                  <a:lnTo>
                    <a:pt x="0" y="462"/>
                  </a:lnTo>
                  <a:lnTo>
                    <a:pt x="7" y="495"/>
                  </a:lnTo>
                  <a:lnTo>
                    <a:pt x="6" y="514"/>
                  </a:lnTo>
                  <a:lnTo>
                    <a:pt x="20" y="525"/>
                  </a:lnTo>
                  <a:lnTo>
                    <a:pt x="45" y="559"/>
                  </a:lnTo>
                  <a:lnTo>
                    <a:pt x="59" y="566"/>
                  </a:lnTo>
                  <a:lnTo>
                    <a:pt x="102" y="553"/>
                  </a:lnTo>
                  <a:lnTo>
                    <a:pt x="137" y="562"/>
                  </a:lnTo>
                  <a:lnTo>
                    <a:pt x="164" y="578"/>
                  </a:lnTo>
                  <a:lnTo>
                    <a:pt x="201" y="619"/>
                  </a:lnTo>
                  <a:lnTo>
                    <a:pt x="217" y="620"/>
                  </a:lnTo>
                  <a:lnTo>
                    <a:pt x="248" y="603"/>
                  </a:lnTo>
                  <a:lnTo>
                    <a:pt x="294" y="594"/>
                  </a:lnTo>
                  <a:lnTo>
                    <a:pt x="334" y="613"/>
                  </a:lnTo>
                  <a:lnTo>
                    <a:pt x="371" y="608"/>
                  </a:lnTo>
                  <a:lnTo>
                    <a:pt x="390" y="599"/>
                  </a:lnTo>
                  <a:lnTo>
                    <a:pt x="424" y="573"/>
                  </a:lnTo>
                  <a:lnTo>
                    <a:pt x="452" y="539"/>
                  </a:lnTo>
                  <a:lnTo>
                    <a:pt x="486" y="474"/>
                  </a:lnTo>
                  <a:lnTo>
                    <a:pt x="489" y="470"/>
                  </a:lnTo>
                  <a:lnTo>
                    <a:pt x="473" y="408"/>
                  </a:lnTo>
                  <a:lnTo>
                    <a:pt x="478" y="392"/>
                  </a:lnTo>
                  <a:lnTo>
                    <a:pt x="506" y="348"/>
                  </a:lnTo>
                  <a:lnTo>
                    <a:pt x="507" y="332"/>
                  </a:lnTo>
                  <a:lnTo>
                    <a:pt x="492" y="309"/>
                  </a:lnTo>
                  <a:lnTo>
                    <a:pt x="485" y="307"/>
                  </a:lnTo>
                  <a:lnTo>
                    <a:pt x="441" y="231"/>
                  </a:lnTo>
                  <a:lnTo>
                    <a:pt x="421" y="207"/>
                  </a:lnTo>
                  <a:lnTo>
                    <a:pt x="376" y="171"/>
                  </a:lnTo>
                  <a:lnTo>
                    <a:pt x="325" y="150"/>
                  </a:lnTo>
                  <a:lnTo>
                    <a:pt x="290" y="94"/>
                  </a:lnTo>
                  <a:lnTo>
                    <a:pt x="260" y="118"/>
                  </a:lnTo>
                  <a:lnTo>
                    <a:pt x="248" y="118"/>
                  </a:lnTo>
                  <a:lnTo>
                    <a:pt x="211" y="50"/>
                  </a:lnTo>
                  <a:lnTo>
                    <a:pt x="194" y="27"/>
                  </a:lnTo>
                  <a:lnTo>
                    <a:pt x="174" y="5"/>
                  </a:lnTo>
                  <a:lnTo>
                    <a:pt x="162" y="0"/>
                  </a:lnTo>
                  <a:lnTo>
                    <a:pt x="151" y="5"/>
                  </a:lnTo>
                  <a:lnTo>
                    <a:pt x="105" y="20"/>
                  </a:lnTo>
                  <a:lnTo>
                    <a:pt x="80" y="20"/>
                  </a:lnTo>
                  <a:lnTo>
                    <a:pt x="60" y="50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194" name="Freeform 31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1667" y="2768"/>
              <a:ext cx="198" cy="203"/>
            </a:xfrm>
            <a:custGeom>
              <a:avLst/>
              <a:gdLst>
                <a:gd name="T0" fmla="*/ 205 w 1329"/>
                <a:gd name="T1" fmla="*/ 32 h 1371"/>
                <a:gd name="T2" fmla="*/ 126 w 1329"/>
                <a:gd name="T3" fmla="*/ 103 h 1371"/>
                <a:gd name="T4" fmla="*/ 49 w 1329"/>
                <a:gd name="T5" fmla="*/ 219 h 1371"/>
                <a:gd name="T6" fmla="*/ 28 w 1329"/>
                <a:gd name="T7" fmla="*/ 355 h 1371"/>
                <a:gd name="T8" fmla="*/ 90 w 1329"/>
                <a:gd name="T9" fmla="*/ 544 h 1371"/>
                <a:gd name="T10" fmla="*/ 150 w 1329"/>
                <a:gd name="T11" fmla="*/ 620 h 1371"/>
                <a:gd name="T12" fmla="*/ 396 w 1329"/>
                <a:gd name="T13" fmla="*/ 733 h 1371"/>
                <a:gd name="T14" fmla="*/ 576 w 1329"/>
                <a:gd name="T15" fmla="*/ 710 h 1371"/>
                <a:gd name="T16" fmla="*/ 529 w 1329"/>
                <a:gd name="T17" fmla="*/ 836 h 1371"/>
                <a:gd name="T18" fmla="*/ 600 w 1329"/>
                <a:gd name="T19" fmla="*/ 1045 h 1371"/>
                <a:gd name="T20" fmla="*/ 604 w 1329"/>
                <a:gd name="T21" fmla="*/ 1194 h 1371"/>
                <a:gd name="T22" fmla="*/ 637 w 1329"/>
                <a:gd name="T23" fmla="*/ 1318 h 1371"/>
                <a:gd name="T24" fmla="*/ 725 w 1329"/>
                <a:gd name="T25" fmla="*/ 1359 h 1371"/>
                <a:gd name="T26" fmla="*/ 782 w 1329"/>
                <a:gd name="T27" fmla="*/ 1371 h 1371"/>
                <a:gd name="T28" fmla="*/ 907 w 1329"/>
                <a:gd name="T29" fmla="*/ 1261 h 1371"/>
                <a:gd name="T30" fmla="*/ 981 w 1329"/>
                <a:gd name="T31" fmla="*/ 1195 h 1371"/>
                <a:gd name="T32" fmla="*/ 925 w 1329"/>
                <a:gd name="T33" fmla="*/ 1158 h 1371"/>
                <a:gd name="T34" fmla="*/ 857 w 1329"/>
                <a:gd name="T35" fmla="*/ 964 h 1371"/>
                <a:gd name="T36" fmla="*/ 917 w 1329"/>
                <a:gd name="T37" fmla="*/ 984 h 1371"/>
                <a:gd name="T38" fmla="*/ 1029 w 1329"/>
                <a:gd name="T39" fmla="*/ 1028 h 1371"/>
                <a:gd name="T40" fmla="*/ 1088 w 1329"/>
                <a:gd name="T41" fmla="*/ 961 h 1371"/>
                <a:gd name="T42" fmla="*/ 1257 w 1329"/>
                <a:gd name="T43" fmla="*/ 860 h 1371"/>
                <a:gd name="T44" fmla="*/ 1187 w 1329"/>
                <a:gd name="T45" fmla="*/ 739 h 1371"/>
                <a:gd name="T46" fmla="*/ 1271 w 1329"/>
                <a:gd name="T47" fmla="*/ 638 h 1371"/>
                <a:gd name="T48" fmla="*/ 1248 w 1329"/>
                <a:gd name="T49" fmla="*/ 563 h 1371"/>
                <a:gd name="T50" fmla="*/ 1324 w 1329"/>
                <a:gd name="T51" fmla="*/ 448 h 1371"/>
                <a:gd name="T52" fmla="*/ 1199 w 1329"/>
                <a:gd name="T53" fmla="*/ 438 h 1371"/>
                <a:gd name="T54" fmla="*/ 1190 w 1329"/>
                <a:gd name="T55" fmla="*/ 397 h 1371"/>
                <a:gd name="T56" fmla="*/ 1169 w 1329"/>
                <a:gd name="T57" fmla="*/ 300 h 1371"/>
                <a:gd name="T58" fmla="*/ 1101 w 1329"/>
                <a:gd name="T59" fmla="*/ 261 h 1371"/>
                <a:gd name="T60" fmla="*/ 1047 w 1329"/>
                <a:gd name="T61" fmla="*/ 233 h 1371"/>
                <a:gd name="T62" fmla="*/ 1041 w 1329"/>
                <a:gd name="T63" fmla="*/ 198 h 1371"/>
                <a:gd name="T64" fmla="*/ 1084 w 1329"/>
                <a:gd name="T65" fmla="*/ 178 h 1371"/>
                <a:gd name="T66" fmla="*/ 909 w 1329"/>
                <a:gd name="T67" fmla="*/ 191 h 1371"/>
                <a:gd name="T68" fmla="*/ 780 w 1329"/>
                <a:gd name="T69" fmla="*/ 245 h 1371"/>
                <a:gd name="T70" fmla="*/ 704 w 1329"/>
                <a:gd name="T71" fmla="*/ 191 h 1371"/>
                <a:gd name="T72" fmla="*/ 494 w 1329"/>
                <a:gd name="T73" fmla="*/ 178 h 1371"/>
                <a:gd name="T74" fmla="*/ 429 w 1329"/>
                <a:gd name="T75" fmla="*/ 90 h 1371"/>
                <a:gd name="T76" fmla="*/ 351 w 1329"/>
                <a:gd name="T77" fmla="*/ 58 h 1371"/>
                <a:gd name="T78" fmla="*/ 334 w 1329"/>
                <a:gd name="T79" fmla="*/ 7 h 1371"/>
                <a:gd name="T80" fmla="*/ 294 w 1329"/>
                <a:gd name="T81" fmla="*/ 28 h 1371"/>
                <a:gd name="T82" fmla="*/ 340 w 1329"/>
                <a:gd name="T83" fmla="*/ 57 h 1371"/>
                <a:gd name="T84" fmla="*/ 351 w 1329"/>
                <a:gd name="T85" fmla="*/ 83 h 1371"/>
                <a:gd name="T86" fmla="*/ 175 w 1329"/>
                <a:gd name="T87" fmla="*/ 152 h 1371"/>
                <a:gd name="T88" fmla="*/ 181 w 1329"/>
                <a:gd name="T89" fmla="*/ 187 h 1371"/>
                <a:gd name="T90" fmla="*/ 221 w 1329"/>
                <a:gd name="T91" fmla="*/ 274 h 1371"/>
                <a:gd name="T92" fmla="*/ 200 w 1329"/>
                <a:gd name="T93" fmla="*/ 357 h 1371"/>
                <a:gd name="T94" fmla="*/ 144 w 1329"/>
                <a:gd name="T95" fmla="*/ 314 h 1371"/>
                <a:gd name="T96" fmla="*/ 156 w 1329"/>
                <a:gd name="T97" fmla="*/ 193 h 1371"/>
                <a:gd name="T98" fmla="*/ 147 w 1329"/>
                <a:gd name="T99" fmla="*/ 127 h 137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329"/>
                <a:gd name="T151" fmla="*/ 0 h 1371"/>
                <a:gd name="T152" fmla="*/ 1329 w 1329"/>
                <a:gd name="T153" fmla="*/ 1371 h 1371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329" h="1371">
                  <a:moveTo>
                    <a:pt x="138" y="64"/>
                  </a:moveTo>
                  <a:lnTo>
                    <a:pt x="171" y="46"/>
                  </a:lnTo>
                  <a:lnTo>
                    <a:pt x="211" y="39"/>
                  </a:lnTo>
                  <a:lnTo>
                    <a:pt x="205" y="32"/>
                  </a:lnTo>
                  <a:lnTo>
                    <a:pt x="144" y="50"/>
                  </a:lnTo>
                  <a:lnTo>
                    <a:pt x="126" y="60"/>
                  </a:lnTo>
                  <a:lnTo>
                    <a:pt x="123" y="76"/>
                  </a:lnTo>
                  <a:lnTo>
                    <a:pt x="126" y="103"/>
                  </a:lnTo>
                  <a:lnTo>
                    <a:pt x="120" y="124"/>
                  </a:lnTo>
                  <a:lnTo>
                    <a:pt x="110" y="122"/>
                  </a:lnTo>
                  <a:lnTo>
                    <a:pt x="94" y="126"/>
                  </a:lnTo>
                  <a:lnTo>
                    <a:pt x="49" y="219"/>
                  </a:lnTo>
                  <a:lnTo>
                    <a:pt x="32" y="295"/>
                  </a:lnTo>
                  <a:lnTo>
                    <a:pt x="0" y="358"/>
                  </a:lnTo>
                  <a:lnTo>
                    <a:pt x="17" y="360"/>
                  </a:lnTo>
                  <a:lnTo>
                    <a:pt x="28" y="355"/>
                  </a:lnTo>
                  <a:lnTo>
                    <a:pt x="45" y="353"/>
                  </a:lnTo>
                  <a:lnTo>
                    <a:pt x="97" y="462"/>
                  </a:lnTo>
                  <a:lnTo>
                    <a:pt x="101" y="484"/>
                  </a:lnTo>
                  <a:lnTo>
                    <a:pt x="90" y="544"/>
                  </a:lnTo>
                  <a:lnTo>
                    <a:pt x="95" y="561"/>
                  </a:lnTo>
                  <a:lnTo>
                    <a:pt x="113" y="577"/>
                  </a:lnTo>
                  <a:lnTo>
                    <a:pt x="132" y="608"/>
                  </a:lnTo>
                  <a:lnTo>
                    <a:pt x="150" y="620"/>
                  </a:lnTo>
                  <a:lnTo>
                    <a:pt x="274" y="612"/>
                  </a:lnTo>
                  <a:lnTo>
                    <a:pt x="297" y="620"/>
                  </a:lnTo>
                  <a:lnTo>
                    <a:pt x="324" y="638"/>
                  </a:lnTo>
                  <a:lnTo>
                    <a:pt x="396" y="733"/>
                  </a:lnTo>
                  <a:lnTo>
                    <a:pt x="402" y="733"/>
                  </a:lnTo>
                  <a:lnTo>
                    <a:pt x="458" y="717"/>
                  </a:lnTo>
                  <a:lnTo>
                    <a:pt x="545" y="707"/>
                  </a:lnTo>
                  <a:lnTo>
                    <a:pt x="576" y="710"/>
                  </a:lnTo>
                  <a:lnTo>
                    <a:pt x="556" y="739"/>
                  </a:lnTo>
                  <a:lnTo>
                    <a:pt x="553" y="791"/>
                  </a:lnTo>
                  <a:lnTo>
                    <a:pt x="536" y="818"/>
                  </a:lnTo>
                  <a:lnTo>
                    <a:pt x="529" y="836"/>
                  </a:lnTo>
                  <a:lnTo>
                    <a:pt x="541" y="933"/>
                  </a:lnTo>
                  <a:lnTo>
                    <a:pt x="572" y="998"/>
                  </a:lnTo>
                  <a:lnTo>
                    <a:pt x="594" y="1031"/>
                  </a:lnTo>
                  <a:lnTo>
                    <a:pt x="600" y="1045"/>
                  </a:lnTo>
                  <a:lnTo>
                    <a:pt x="567" y="1079"/>
                  </a:lnTo>
                  <a:lnTo>
                    <a:pt x="545" y="1105"/>
                  </a:lnTo>
                  <a:lnTo>
                    <a:pt x="568" y="1132"/>
                  </a:lnTo>
                  <a:lnTo>
                    <a:pt x="604" y="1194"/>
                  </a:lnTo>
                  <a:lnTo>
                    <a:pt x="609" y="1202"/>
                  </a:lnTo>
                  <a:lnTo>
                    <a:pt x="617" y="1225"/>
                  </a:lnTo>
                  <a:lnTo>
                    <a:pt x="627" y="1295"/>
                  </a:lnTo>
                  <a:lnTo>
                    <a:pt x="637" y="1318"/>
                  </a:lnTo>
                  <a:lnTo>
                    <a:pt x="655" y="1322"/>
                  </a:lnTo>
                  <a:lnTo>
                    <a:pt x="686" y="1350"/>
                  </a:lnTo>
                  <a:lnTo>
                    <a:pt x="707" y="1362"/>
                  </a:lnTo>
                  <a:lnTo>
                    <a:pt x="725" y="1359"/>
                  </a:lnTo>
                  <a:lnTo>
                    <a:pt x="760" y="1322"/>
                  </a:lnTo>
                  <a:lnTo>
                    <a:pt x="762" y="1330"/>
                  </a:lnTo>
                  <a:lnTo>
                    <a:pt x="771" y="1371"/>
                  </a:lnTo>
                  <a:lnTo>
                    <a:pt x="782" y="1371"/>
                  </a:lnTo>
                  <a:lnTo>
                    <a:pt x="843" y="1297"/>
                  </a:lnTo>
                  <a:lnTo>
                    <a:pt x="867" y="1282"/>
                  </a:lnTo>
                  <a:lnTo>
                    <a:pt x="897" y="1273"/>
                  </a:lnTo>
                  <a:lnTo>
                    <a:pt x="907" y="1261"/>
                  </a:lnTo>
                  <a:lnTo>
                    <a:pt x="919" y="1227"/>
                  </a:lnTo>
                  <a:lnTo>
                    <a:pt x="928" y="1217"/>
                  </a:lnTo>
                  <a:lnTo>
                    <a:pt x="956" y="1210"/>
                  </a:lnTo>
                  <a:lnTo>
                    <a:pt x="981" y="1195"/>
                  </a:lnTo>
                  <a:lnTo>
                    <a:pt x="993" y="1181"/>
                  </a:lnTo>
                  <a:lnTo>
                    <a:pt x="986" y="1167"/>
                  </a:lnTo>
                  <a:lnTo>
                    <a:pt x="966" y="1160"/>
                  </a:lnTo>
                  <a:lnTo>
                    <a:pt x="925" y="1158"/>
                  </a:lnTo>
                  <a:lnTo>
                    <a:pt x="917" y="1146"/>
                  </a:lnTo>
                  <a:lnTo>
                    <a:pt x="901" y="1037"/>
                  </a:lnTo>
                  <a:lnTo>
                    <a:pt x="884" y="1000"/>
                  </a:lnTo>
                  <a:lnTo>
                    <a:pt x="857" y="964"/>
                  </a:lnTo>
                  <a:lnTo>
                    <a:pt x="859" y="954"/>
                  </a:lnTo>
                  <a:lnTo>
                    <a:pt x="866" y="954"/>
                  </a:lnTo>
                  <a:lnTo>
                    <a:pt x="879" y="959"/>
                  </a:lnTo>
                  <a:lnTo>
                    <a:pt x="917" y="984"/>
                  </a:lnTo>
                  <a:lnTo>
                    <a:pt x="936" y="986"/>
                  </a:lnTo>
                  <a:lnTo>
                    <a:pt x="986" y="984"/>
                  </a:lnTo>
                  <a:lnTo>
                    <a:pt x="1001" y="996"/>
                  </a:lnTo>
                  <a:lnTo>
                    <a:pt x="1029" y="1028"/>
                  </a:lnTo>
                  <a:lnTo>
                    <a:pt x="1043" y="1023"/>
                  </a:lnTo>
                  <a:lnTo>
                    <a:pt x="1054" y="963"/>
                  </a:lnTo>
                  <a:lnTo>
                    <a:pt x="1067" y="957"/>
                  </a:lnTo>
                  <a:lnTo>
                    <a:pt x="1088" y="961"/>
                  </a:lnTo>
                  <a:lnTo>
                    <a:pt x="1148" y="945"/>
                  </a:lnTo>
                  <a:lnTo>
                    <a:pt x="1224" y="897"/>
                  </a:lnTo>
                  <a:lnTo>
                    <a:pt x="1251" y="876"/>
                  </a:lnTo>
                  <a:lnTo>
                    <a:pt x="1257" y="860"/>
                  </a:lnTo>
                  <a:lnTo>
                    <a:pt x="1252" y="850"/>
                  </a:lnTo>
                  <a:lnTo>
                    <a:pt x="1199" y="777"/>
                  </a:lnTo>
                  <a:lnTo>
                    <a:pt x="1185" y="749"/>
                  </a:lnTo>
                  <a:lnTo>
                    <a:pt x="1187" y="739"/>
                  </a:lnTo>
                  <a:lnTo>
                    <a:pt x="1206" y="710"/>
                  </a:lnTo>
                  <a:lnTo>
                    <a:pt x="1207" y="656"/>
                  </a:lnTo>
                  <a:lnTo>
                    <a:pt x="1252" y="645"/>
                  </a:lnTo>
                  <a:lnTo>
                    <a:pt x="1271" y="638"/>
                  </a:lnTo>
                  <a:lnTo>
                    <a:pt x="1285" y="622"/>
                  </a:lnTo>
                  <a:lnTo>
                    <a:pt x="1279" y="608"/>
                  </a:lnTo>
                  <a:lnTo>
                    <a:pt x="1251" y="575"/>
                  </a:lnTo>
                  <a:lnTo>
                    <a:pt x="1248" y="563"/>
                  </a:lnTo>
                  <a:lnTo>
                    <a:pt x="1252" y="551"/>
                  </a:lnTo>
                  <a:lnTo>
                    <a:pt x="1325" y="485"/>
                  </a:lnTo>
                  <a:lnTo>
                    <a:pt x="1329" y="462"/>
                  </a:lnTo>
                  <a:lnTo>
                    <a:pt x="1324" y="448"/>
                  </a:lnTo>
                  <a:lnTo>
                    <a:pt x="1287" y="432"/>
                  </a:lnTo>
                  <a:lnTo>
                    <a:pt x="1255" y="429"/>
                  </a:lnTo>
                  <a:lnTo>
                    <a:pt x="1214" y="431"/>
                  </a:lnTo>
                  <a:lnTo>
                    <a:pt x="1199" y="438"/>
                  </a:lnTo>
                  <a:lnTo>
                    <a:pt x="1183" y="439"/>
                  </a:lnTo>
                  <a:lnTo>
                    <a:pt x="1134" y="431"/>
                  </a:lnTo>
                  <a:lnTo>
                    <a:pt x="1182" y="408"/>
                  </a:lnTo>
                  <a:lnTo>
                    <a:pt x="1190" y="397"/>
                  </a:lnTo>
                  <a:lnTo>
                    <a:pt x="1198" y="362"/>
                  </a:lnTo>
                  <a:lnTo>
                    <a:pt x="1231" y="335"/>
                  </a:lnTo>
                  <a:lnTo>
                    <a:pt x="1210" y="320"/>
                  </a:lnTo>
                  <a:lnTo>
                    <a:pt x="1169" y="300"/>
                  </a:lnTo>
                  <a:lnTo>
                    <a:pt x="1158" y="281"/>
                  </a:lnTo>
                  <a:lnTo>
                    <a:pt x="1141" y="277"/>
                  </a:lnTo>
                  <a:lnTo>
                    <a:pt x="1120" y="275"/>
                  </a:lnTo>
                  <a:lnTo>
                    <a:pt x="1101" y="261"/>
                  </a:lnTo>
                  <a:lnTo>
                    <a:pt x="1092" y="268"/>
                  </a:lnTo>
                  <a:lnTo>
                    <a:pt x="1083" y="297"/>
                  </a:lnTo>
                  <a:lnTo>
                    <a:pt x="1074" y="263"/>
                  </a:lnTo>
                  <a:lnTo>
                    <a:pt x="1047" y="233"/>
                  </a:lnTo>
                  <a:lnTo>
                    <a:pt x="1020" y="221"/>
                  </a:lnTo>
                  <a:lnTo>
                    <a:pt x="1018" y="210"/>
                  </a:lnTo>
                  <a:lnTo>
                    <a:pt x="1022" y="200"/>
                  </a:lnTo>
                  <a:lnTo>
                    <a:pt x="1041" y="198"/>
                  </a:lnTo>
                  <a:lnTo>
                    <a:pt x="1079" y="201"/>
                  </a:lnTo>
                  <a:lnTo>
                    <a:pt x="1091" y="191"/>
                  </a:lnTo>
                  <a:lnTo>
                    <a:pt x="1095" y="184"/>
                  </a:lnTo>
                  <a:lnTo>
                    <a:pt x="1084" y="178"/>
                  </a:lnTo>
                  <a:lnTo>
                    <a:pt x="1042" y="175"/>
                  </a:lnTo>
                  <a:lnTo>
                    <a:pt x="949" y="182"/>
                  </a:lnTo>
                  <a:lnTo>
                    <a:pt x="929" y="180"/>
                  </a:lnTo>
                  <a:lnTo>
                    <a:pt x="909" y="191"/>
                  </a:lnTo>
                  <a:lnTo>
                    <a:pt x="863" y="233"/>
                  </a:lnTo>
                  <a:lnTo>
                    <a:pt x="845" y="245"/>
                  </a:lnTo>
                  <a:lnTo>
                    <a:pt x="829" y="247"/>
                  </a:lnTo>
                  <a:lnTo>
                    <a:pt x="780" y="245"/>
                  </a:lnTo>
                  <a:lnTo>
                    <a:pt x="760" y="238"/>
                  </a:lnTo>
                  <a:lnTo>
                    <a:pt x="734" y="224"/>
                  </a:lnTo>
                  <a:lnTo>
                    <a:pt x="723" y="215"/>
                  </a:lnTo>
                  <a:lnTo>
                    <a:pt x="704" y="191"/>
                  </a:lnTo>
                  <a:lnTo>
                    <a:pt x="674" y="184"/>
                  </a:lnTo>
                  <a:lnTo>
                    <a:pt x="524" y="200"/>
                  </a:lnTo>
                  <a:lnTo>
                    <a:pt x="510" y="196"/>
                  </a:lnTo>
                  <a:lnTo>
                    <a:pt x="494" y="178"/>
                  </a:lnTo>
                  <a:lnTo>
                    <a:pt x="486" y="145"/>
                  </a:lnTo>
                  <a:lnTo>
                    <a:pt x="470" y="115"/>
                  </a:lnTo>
                  <a:lnTo>
                    <a:pt x="455" y="101"/>
                  </a:lnTo>
                  <a:lnTo>
                    <a:pt x="429" y="90"/>
                  </a:lnTo>
                  <a:lnTo>
                    <a:pt x="379" y="81"/>
                  </a:lnTo>
                  <a:lnTo>
                    <a:pt x="363" y="81"/>
                  </a:lnTo>
                  <a:lnTo>
                    <a:pt x="353" y="69"/>
                  </a:lnTo>
                  <a:lnTo>
                    <a:pt x="351" y="58"/>
                  </a:lnTo>
                  <a:lnTo>
                    <a:pt x="348" y="53"/>
                  </a:lnTo>
                  <a:lnTo>
                    <a:pt x="348" y="36"/>
                  </a:lnTo>
                  <a:lnTo>
                    <a:pt x="340" y="27"/>
                  </a:lnTo>
                  <a:lnTo>
                    <a:pt x="334" y="7"/>
                  </a:lnTo>
                  <a:lnTo>
                    <a:pt x="330" y="0"/>
                  </a:lnTo>
                  <a:lnTo>
                    <a:pt x="313" y="4"/>
                  </a:lnTo>
                  <a:lnTo>
                    <a:pt x="298" y="14"/>
                  </a:lnTo>
                  <a:lnTo>
                    <a:pt x="294" y="28"/>
                  </a:lnTo>
                  <a:lnTo>
                    <a:pt x="308" y="57"/>
                  </a:lnTo>
                  <a:lnTo>
                    <a:pt x="318" y="58"/>
                  </a:lnTo>
                  <a:lnTo>
                    <a:pt x="335" y="53"/>
                  </a:lnTo>
                  <a:lnTo>
                    <a:pt x="340" y="57"/>
                  </a:lnTo>
                  <a:lnTo>
                    <a:pt x="343" y="62"/>
                  </a:lnTo>
                  <a:lnTo>
                    <a:pt x="347" y="64"/>
                  </a:lnTo>
                  <a:lnTo>
                    <a:pt x="350" y="74"/>
                  </a:lnTo>
                  <a:lnTo>
                    <a:pt x="351" y="83"/>
                  </a:lnTo>
                  <a:lnTo>
                    <a:pt x="346" y="83"/>
                  </a:lnTo>
                  <a:lnTo>
                    <a:pt x="314" y="88"/>
                  </a:lnTo>
                  <a:lnTo>
                    <a:pt x="311" y="101"/>
                  </a:lnTo>
                  <a:lnTo>
                    <a:pt x="175" y="152"/>
                  </a:lnTo>
                  <a:lnTo>
                    <a:pt x="184" y="159"/>
                  </a:lnTo>
                  <a:lnTo>
                    <a:pt x="180" y="173"/>
                  </a:lnTo>
                  <a:lnTo>
                    <a:pt x="169" y="178"/>
                  </a:lnTo>
                  <a:lnTo>
                    <a:pt x="181" y="187"/>
                  </a:lnTo>
                  <a:lnTo>
                    <a:pt x="185" y="208"/>
                  </a:lnTo>
                  <a:lnTo>
                    <a:pt x="192" y="215"/>
                  </a:lnTo>
                  <a:lnTo>
                    <a:pt x="211" y="258"/>
                  </a:lnTo>
                  <a:lnTo>
                    <a:pt x="221" y="274"/>
                  </a:lnTo>
                  <a:lnTo>
                    <a:pt x="227" y="307"/>
                  </a:lnTo>
                  <a:lnTo>
                    <a:pt x="224" y="335"/>
                  </a:lnTo>
                  <a:lnTo>
                    <a:pt x="220" y="342"/>
                  </a:lnTo>
                  <a:lnTo>
                    <a:pt x="200" y="357"/>
                  </a:lnTo>
                  <a:lnTo>
                    <a:pt x="193" y="365"/>
                  </a:lnTo>
                  <a:lnTo>
                    <a:pt x="169" y="371"/>
                  </a:lnTo>
                  <a:lnTo>
                    <a:pt x="155" y="353"/>
                  </a:lnTo>
                  <a:lnTo>
                    <a:pt x="144" y="314"/>
                  </a:lnTo>
                  <a:lnTo>
                    <a:pt x="131" y="300"/>
                  </a:lnTo>
                  <a:lnTo>
                    <a:pt x="120" y="275"/>
                  </a:lnTo>
                  <a:lnTo>
                    <a:pt x="141" y="212"/>
                  </a:lnTo>
                  <a:lnTo>
                    <a:pt x="156" y="193"/>
                  </a:lnTo>
                  <a:lnTo>
                    <a:pt x="162" y="173"/>
                  </a:lnTo>
                  <a:lnTo>
                    <a:pt x="155" y="143"/>
                  </a:lnTo>
                  <a:lnTo>
                    <a:pt x="158" y="134"/>
                  </a:lnTo>
                  <a:lnTo>
                    <a:pt x="147" y="127"/>
                  </a:lnTo>
                  <a:lnTo>
                    <a:pt x="132" y="74"/>
                  </a:lnTo>
                  <a:lnTo>
                    <a:pt x="138" y="64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195" name="Freeform 32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1833" y="2791"/>
              <a:ext cx="14" cy="16"/>
            </a:xfrm>
            <a:custGeom>
              <a:avLst/>
              <a:gdLst>
                <a:gd name="T0" fmla="*/ 85 w 90"/>
                <a:gd name="T1" fmla="*/ 12 h 94"/>
                <a:gd name="T2" fmla="*/ 90 w 90"/>
                <a:gd name="T3" fmla="*/ 2 h 94"/>
                <a:gd name="T4" fmla="*/ 79 w 90"/>
                <a:gd name="T5" fmla="*/ 0 h 94"/>
                <a:gd name="T6" fmla="*/ 66 w 90"/>
                <a:gd name="T7" fmla="*/ 4 h 94"/>
                <a:gd name="T8" fmla="*/ 62 w 90"/>
                <a:gd name="T9" fmla="*/ 7 h 94"/>
                <a:gd name="T10" fmla="*/ 45 w 90"/>
                <a:gd name="T11" fmla="*/ 5 h 94"/>
                <a:gd name="T12" fmla="*/ 40 w 90"/>
                <a:gd name="T13" fmla="*/ 11 h 94"/>
                <a:gd name="T14" fmla="*/ 29 w 90"/>
                <a:gd name="T15" fmla="*/ 11 h 94"/>
                <a:gd name="T16" fmla="*/ 21 w 90"/>
                <a:gd name="T17" fmla="*/ 12 h 94"/>
                <a:gd name="T18" fmla="*/ 17 w 90"/>
                <a:gd name="T19" fmla="*/ 18 h 94"/>
                <a:gd name="T20" fmla="*/ 29 w 90"/>
                <a:gd name="T21" fmla="*/ 19 h 94"/>
                <a:gd name="T22" fmla="*/ 33 w 90"/>
                <a:gd name="T23" fmla="*/ 27 h 94"/>
                <a:gd name="T24" fmla="*/ 37 w 90"/>
                <a:gd name="T25" fmla="*/ 34 h 94"/>
                <a:gd name="T26" fmla="*/ 36 w 90"/>
                <a:gd name="T27" fmla="*/ 44 h 94"/>
                <a:gd name="T28" fmla="*/ 33 w 90"/>
                <a:gd name="T29" fmla="*/ 49 h 94"/>
                <a:gd name="T30" fmla="*/ 38 w 90"/>
                <a:gd name="T31" fmla="*/ 65 h 94"/>
                <a:gd name="T32" fmla="*/ 32 w 90"/>
                <a:gd name="T33" fmla="*/ 72 h 94"/>
                <a:gd name="T34" fmla="*/ 25 w 90"/>
                <a:gd name="T35" fmla="*/ 72 h 94"/>
                <a:gd name="T36" fmla="*/ 20 w 90"/>
                <a:gd name="T37" fmla="*/ 71 h 94"/>
                <a:gd name="T38" fmla="*/ 19 w 90"/>
                <a:gd name="T39" fmla="*/ 76 h 94"/>
                <a:gd name="T40" fmla="*/ 9 w 90"/>
                <a:gd name="T41" fmla="*/ 83 h 94"/>
                <a:gd name="T42" fmla="*/ 1 w 90"/>
                <a:gd name="T43" fmla="*/ 85 h 94"/>
                <a:gd name="T44" fmla="*/ 0 w 90"/>
                <a:gd name="T45" fmla="*/ 88 h 94"/>
                <a:gd name="T46" fmla="*/ 0 w 90"/>
                <a:gd name="T47" fmla="*/ 92 h 94"/>
                <a:gd name="T48" fmla="*/ 16 w 90"/>
                <a:gd name="T49" fmla="*/ 92 h 94"/>
                <a:gd name="T50" fmla="*/ 19 w 90"/>
                <a:gd name="T51" fmla="*/ 94 h 94"/>
                <a:gd name="T52" fmla="*/ 28 w 90"/>
                <a:gd name="T53" fmla="*/ 92 h 94"/>
                <a:gd name="T54" fmla="*/ 49 w 90"/>
                <a:gd name="T55" fmla="*/ 94 h 94"/>
                <a:gd name="T56" fmla="*/ 56 w 90"/>
                <a:gd name="T57" fmla="*/ 92 h 94"/>
                <a:gd name="T58" fmla="*/ 62 w 90"/>
                <a:gd name="T59" fmla="*/ 92 h 94"/>
                <a:gd name="T60" fmla="*/ 81 w 90"/>
                <a:gd name="T61" fmla="*/ 85 h 94"/>
                <a:gd name="T62" fmla="*/ 82 w 90"/>
                <a:gd name="T63" fmla="*/ 62 h 94"/>
                <a:gd name="T64" fmla="*/ 78 w 90"/>
                <a:gd name="T65" fmla="*/ 42 h 94"/>
                <a:gd name="T66" fmla="*/ 79 w 90"/>
                <a:gd name="T67" fmla="*/ 37 h 94"/>
                <a:gd name="T68" fmla="*/ 78 w 90"/>
                <a:gd name="T69" fmla="*/ 23 h 94"/>
                <a:gd name="T70" fmla="*/ 79 w 90"/>
                <a:gd name="T71" fmla="*/ 16 h 94"/>
                <a:gd name="T72" fmla="*/ 85 w 90"/>
                <a:gd name="T73" fmla="*/ 12 h 9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90"/>
                <a:gd name="T112" fmla="*/ 0 h 94"/>
                <a:gd name="T113" fmla="*/ 90 w 90"/>
                <a:gd name="T114" fmla="*/ 94 h 94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90" h="94">
                  <a:moveTo>
                    <a:pt x="85" y="12"/>
                  </a:moveTo>
                  <a:lnTo>
                    <a:pt x="90" y="2"/>
                  </a:lnTo>
                  <a:lnTo>
                    <a:pt x="79" y="0"/>
                  </a:lnTo>
                  <a:lnTo>
                    <a:pt x="66" y="4"/>
                  </a:lnTo>
                  <a:lnTo>
                    <a:pt x="62" y="7"/>
                  </a:lnTo>
                  <a:lnTo>
                    <a:pt x="45" y="5"/>
                  </a:lnTo>
                  <a:lnTo>
                    <a:pt x="40" y="11"/>
                  </a:lnTo>
                  <a:lnTo>
                    <a:pt x="29" y="11"/>
                  </a:lnTo>
                  <a:lnTo>
                    <a:pt x="21" y="12"/>
                  </a:lnTo>
                  <a:lnTo>
                    <a:pt x="17" y="18"/>
                  </a:lnTo>
                  <a:lnTo>
                    <a:pt x="29" y="19"/>
                  </a:lnTo>
                  <a:lnTo>
                    <a:pt x="33" y="27"/>
                  </a:lnTo>
                  <a:lnTo>
                    <a:pt x="37" y="34"/>
                  </a:lnTo>
                  <a:lnTo>
                    <a:pt x="36" y="44"/>
                  </a:lnTo>
                  <a:lnTo>
                    <a:pt x="33" y="49"/>
                  </a:lnTo>
                  <a:lnTo>
                    <a:pt x="38" y="65"/>
                  </a:lnTo>
                  <a:lnTo>
                    <a:pt x="32" y="72"/>
                  </a:lnTo>
                  <a:lnTo>
                    <a:pt x="25" y="72"/>
                  </a:lnTo>
                  <a:lnTo>
                    <a:pt x="20" y="71"/>
                  </a:lnTo>
                  <a:lnTo>
                    <a:pt x="19" y="76"/>
                  </a:lnTo>
                  <a:lnTo>
                    <a:pt x="9" y="83"/>
                  </a:lnTo>
                  <a:lnTo>
                    <a:pt x="1" y="85"/>
                  </a:lnTo>
                  <a:lnTo>
                    <a:pt x="0" y="88"/>
                  </a:lnTo>
                  <a:lnTo>
                    <a:pt x="0" y="92"/>
                  </a:lnTo>
                  <a:lnTo>
                    <a:pt x="16" y="92"/>
                  </a:lnTo>
                  <a:lnTo>
                    <a:pt x="19" y="94"/>
                  </a:lnTo>
                  <a:lnTo>
                    <a:pt x="28" y="92"/>
                  </a:lnTo>
                  <a:lnTo>
                    <a:pt x="49" y="94"/>
                  </a:lnTo>
                  <a:lnTo>
                    <a:pt x="56" y="92"/>
                  </a:lnTo>
                  <a:lnTo>
                    <a:pt x="62" y="92"/>
                  </a:lnTo>
                  <a:lnTo>
                    <a:pt x="81" y="85"/>
                  </a:lnTo>
                  <a:lnTo>
                    <a:pt x="82" y="62"/>
                  </a:lnTo>
                  <a:lnTo>
                    <a:pt x="78" y="42"/>
                  </a:lnTo>
                  <a:lnTo>
                    <a:pt x="79" y="37"/>
                  </a:lnTo>
                  <a:lnTo>
                    <a:pt x="78" y="23"/>
                  </a:lnTo>
                  <a:lnTo>
                    <a:pt x="79" y="16"/>
                  </a:lnTo>
                  <a:lnTo>
                    <a:pt x="85" y="12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196" name="Freeform 33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1574" y="2498"/>
              <a:ext cx="154" cy="58"/>
            </a:xfrm>
            <a:custGeom>
              <a:avLst/>
              <a:gdLst>
                <a:gd name="T0" fmla="*/ 170 w 1033"/>
                <a:gd name="T1" fmla="*/ 14 h 399"/>
                <a:gd name="T2" fmla="*/ 44 w 1033"/>
                <a:gd name="T3" fmla="*/ 74 h 399"/>
                <a:gd name="T4" fmla="*/ 27 w 1033"/>
                <a:gd name="T5" fmla="*/ 100 h 399"/>
                <a:gd name="T6" fmla="*/ 12 w 1033"/>
                <a:gd name="T7" fmla="*/ 150 h 399"/>
                <a:gd name="T8" fmla="*/ 33 w 1033"/>
                <a:gd name="T9" fmla="*/ 164 h 399"/>
                <a:gd name="T10" fmla="*/ 66 w 1033"/>
                <a:gd name="T11" fmla="*/ 146 h 399"/>
                <a:gd name="T12" fmla="*/ 82 w 1033"/>
                <a:gd name="T13" fmla="*/ 114 h 399"/>
                <a:gd name="T14" fmla="*/ 180 w 1033"/>
                <a:gd name="T15" fmla="*/ 61 h 399"/>
                <a:gd name="T16" fmla="*/ 231 w 1033"/>
                <a:gd name="T17" fmla="*/ 56 h 399"/>
                <a:gd name="T18" fmla="*/ 277 w 1033"/>
                <a:gd name="T19" fmla="*/ 58 h 399"/>
                <a:gd name="T20" fmla="*/ 298 w 1033"/>
                <a:gd name="T21" fmla="*/ 77 h 399"/>
                <a:gd name="T22" fmla="*/ 248 w 1033"/>
                <a:gd name="T23" fmla="*/ 95 h 399"/>
                <a:gd name="T24" fmla="*/ 306 w 1033"/>
                <a:gd name="T25" fmla="*/ 120 h 399"/>
                <a:gd name="T26" fmla="*/ 417 w 1033"/>
                <a:gd name="T27" fmla="*/ 141 h 399"/>
                <a:gd name="T28" fmla="*/ 487 w 1033"/>
                <a:gd name="T29" fmla="*/ 180 h 399"/>
                <a:gd name="T30" fmla="*/ 569 w 1033"/>
                <a:gd name="T31" fmla="*/ 185 h 399"/>
                <a:gd name="T32" fmla="*/ 596 w 1033"/>
                <a:gd name="T33" fmla="*/ 195 h 399"/>
                <a:gd name="T34" fmla="*/ 613 w 1033"/>
                <a:gd name="T35" fmla="*/ 266 h 399"/>
                <a:gd name="T36" fmla="*/ 668 w 1033"/>
                <a:gd name="T37" fmla="*/ 291 h 399"/>
                <a:gd name="T38" fmla="*/ 726 w 1033"/>
                <a:gd name="T39" fmla="*/ 299 h 399"/>
                <a:gd name="T40" fmla="*/ 745 w 1033"/>
                <a:gd name="T41" fmla="*/ 320 h 399"/>
                <a:gd name="T42" fmla="*/ 706 w 1033"/>
                <a:gd name="T43" fmla="*/ 376 h 399"/>
                <a:gd name="T44" fmla="*/ 710 w 1033"/>
                <a:gd name="T45" fmla="*/ 399 h 399"/>
                <a:gd name="T46" fmla="*/ 814 w 1033"/>
                <a:gd name="T47" fmla="*/ 382 h 399"/>
                <a:gd name="T48" fmla="*/ 928 w 1033"/>
                <a:gd name="T49" fmla="*/ 392 h 399"/>
                <a:gd name="T50" fmla="*/ 1022 w 1033"/>
                <a:gd name="T51" fmla="*/ 366 h 399"/>
                <a:gd name="T52" fmla="*/ 1015 w 1033"/>
                <a:gd name="T53" fmla="*/ 345 h 399"/>
                <a:gd name="T54" fmla="*/ 966 w 1033"/>
                <a:gd name="T55" fmla="*/ 309 h 399"/>
                <a:gd name="T56" fmla="*/ 911 w 1033"/>
                <a:gd name="T57" fmla="*/ 304 h 399"/>
                <a:gd name="T58" fmla="*/ 878 w 1033"/>
                <a:gd name="T59" fmla="*/ 294 h 399"/>
                <a:gd name="T60" fmla="*/ 878 w 1033"/>
                <a:gd name="T61" fmla="*/ 247 h 399"/>
                <a:gd name="T62" fmla="*/ 757 w 1033"/>
                <a:gd name="T63" fmla="*/ 210 h 399"/>
                <a:gd name="T64" fmla="*/ 722 w 1033"/>
                <a:gd name="T65" fmla="*/ 199 h 399"/>
                <a:gd name="T66" fmla="*/ 684 w 1033"/>
                <a:gd name="T67" fmla="*/ 151 h 399"/>
                <a:gd name="T68" fmla="*/ 587 w 1033"/>
                <a:gd name="T69" fmla="*/ 106 h 399"/>
                <a:gd name="T70" fmla="*/ 526 w 1033"/>
                <a:gd name="T71" fmla="*/ 90 h 399"/>
                <a:gd name="T72" fmla="*/ 485 w 1033"/>
                <a:gd name="T73" fmla="*/ 47 h 399"/>
                <a:gd name="T74" fmla="*/ 441 w 1033"/>
                <a:gd name="T75" fmla="*/ 31 h 399"/>
                <a:gd name="T76" fmla="*/ 352 w 1033"/>
                <a:gd name="T77" fmla="*/ 10 h 399"/>
                <a:gd name="T78" fmla="*/ 297 w 1033"/>
                <a:gd name="T79" fmla="*/ 3 h 399"/>
                <a:gd name="T80" fmla="*/ 222 w 1033"/>
                <a:gd name="T81" fmla="*/ 9 h 399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33"/>
                <a:gd name="T124" fmla="*/ 0 h 399"/>
                <a:gd name="T125" fmla="*/ 1033 w 1033"/>
                <a:gd name="T126" fmla="*/ 399 h 399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33" h="399">
                  <a:moveTo>
                    <a:pt x="222" y="9"/>
                  </a:moveTo>
                  <a:lnTo>
                    <a:pt x="170" y="14"/>
                  </a:lnTo>
                  <a:lnTo>
                    <a:pt x="99" y="40"/>
                  </a:lnTo>
                  <a:lnTo>
                    <a:pt x="44" y="74"/>
                  </a:lnTo>
                  <a:lnTo>
                    <a:pt x="38" y="79"/>
                  </a:lnTo>
                  <a:lnTo>
                    <a:pt x="27" y="100"/>
                  </a:lnTo>
                  <a:lnTo>
                    <a:pt x="32" y="134"/>
                  </a:lnTo>
                  <a:lnTo>
                    <a:pt x="12" y="150"/>
                  </a:lnTo>
                  <a:lnTo>
                    <a:pt x="0" y="167"/>
                  </a:lnTo>
                  <a:lnTo>
                    <a:pt x="33" y="164"/>
                  </a:lnTo>
                  <a:lnTo>
                    <a:pt x="49" y="160"/>
                  </a:lnTo>
                  <a:lnTo>
                    <a:pt x="66" y="146"/>
                  </a:lnTo>
                  <a:lnTo>
                    <a:pt x="74" y="120"/>
                  </a:lnTo>
                  <a:lnTo>
                    <a:pt x="82" y="114"/>
                  </a:lnTo>
                  <a:lnTo>
                    <a:pt x="129" y="113"/>
                  </a:lnTo>
                  <a:lnTo>
                    <a:pt x="180" y="61"/>
                  </a:lnTo>
                  <a:lnTo>
                    <a:pt x="210" y="53"/>
                  </a:lnTo>
                  <a:lnTo>
                    <a:pt x="231" y="56"/>
                  </a:lnTo>
                  <a:lnTo>
                    <a:pt x="261" y="54"/>
                  </a:lnTo>
                  <a:lnTo>
                    <a:pt x="277" y="58"/>
                  </a:lnTo>
                  <a:lnTo>
                    <a:pt x="290" y="63"/>
                  </a:lnTo>
                  <a:lnTo>
                    <a:pt x="298" y="77"/>
                  </a:lnTo>
                  <a:lnTo>
                    <a:pt x="261" y="93"/>
                  </a:lnTo>
                  <a:lnTo>
                    <a:pt x="248" y="95"/>
                  </a:lnTo>
                  <a:lnTo>
                    <a:pt x="286" y="114"/>
                  </a:lnTo>
                  <a:lnTo>
                    <a:pt x="306" y="120"/>
                  </a:lnTo>
                  <a:lnTo>
                    <a:pt x="385" y="127"/>
                  </a:lnTo>
                  <a:lnTo>
                    <a:pt x="417" y="141"/>
                  </a:lnTo>
                  <a:lnTo>
                    <a:pt x="459" y="167"/>
                  </a:lnTo>
                  <a:lnTo>
                    <a:pt x="487" y="180"/>
                  </a:lnTo>
                  <a:lnTo>
                    <a:pt x="524" y="188"/>
                  </a:lnTo>
                  <a:lnTo>
                    <a:pt x="569" y="185"/>
                  </a:lnTo>
                  <a:lnTo>
                    <a:pt x="585" y="187"/>
                  </a:lnTo>
                  <a:lnTo>
                    <a:pt x="596" y="195"/>
                  </a:lnTo>
                  <a:lnTo>
                    <a:pt x="606" y="225"/>
                  </a:lnTo>
                  <a:lnTo>
                    <a:pt x="613" y="266"/>
                  </a:lnTo>
                  <a:lnTo>
                    <a:pt x="642" y="284"/>
                  </a:lnTo>
                  <a:lnTo>
                    <a:pt x="668" y="291"/>
                  </a:lnTo>
                  <a:lnTo>
                    <a:pt x="699" y="291"/>
                  </a:lnTo>
                  <a:lnTo>
                    <a:pt x="726" y="299"/>
                  </a:lnTo>
                  <a:lnTo>
                    <a:pt x="735" y="306"/>
                  </a:lnTo>
                  <a:lnTo>
                    <a:pt x="745" y="320"/>
                  </a:lnTo>
                  <a:lnTo>
                    <a:pt x="738" y="341"/>
                  </a:lnTo>
                  <a:lnTo>
                    <a:pt x="706" y="376"/>
                  </a:lnTo>
                  <a:lnTo>
                    <a:pt x="691" y="396"/>
                  </a:lnTo>
                  <a:lnTo>
                    <a:pt x="710" y="399"/>
                  </a:lnTo>
                  <a:lnTo>
                    <a:pt x="731" y="399"/>
                  </a:lnTo>
                  <a:lnTo>
                    <a:pt x="814" y="382"/>
                  </a:lnTo>
                  <a:lnTo>
                    <a:pt x="901" y="396"/>
                  </a:lnTo>
                  <a:lnTo>
                    <a:pt x="928" y="392"/>
                  </a:lnTo>
                  <a:lnTo>
                    <a:pt x="978" y="371"/>
                  </a:lnTo>
                  <a:lnTo>
                    <a:pt x="1022" y="366"/>
                  </a:lnTo>
                  <a:lnTo>
                    <a:pt x="1033" y="362"/>
                  </a:lnTo>
                  <a:lnTo>
                    <a:pt x="1015" y="345"/>
                  </a:lnTo>
                  <a:lnTo>
                    <a:pt x="990" y="331"/>
                  </a:lnTo>
                  <a:lnTo>
                    <a:pt x="966" y="309"/>
                  </a:lnTo>
                  <a:lnTo>
                    <a:pt x="945" y="301"/>
                  </a:lnTo>
                  <a:lnTo>
                    <a:pt x="911" y="304"/>
                  </a:lnTo>
                  <a:lnTo>
                    <a:pt x="888" y="302"/>
                  </a:lnTo>
                  <a:lnTo>
                    <a:pt x="878" y="294"/>
                  </a:lnTo>
                  <a:lnTo>
                    <a:pt x="892" y="261"/>
                  </a:lnTo>
                  <a:lnTo>
                    <a:pt x="878" y="247"/>
                  </a:lnTo>
                  <a:lnTo>
                    <a:pt x="833" y="238"/>
                  </a:lnTo>
                  <a:lnTo>
                    <a:pt x="757" y="210"/>
                  </a:lnTo>
                  <a:lnTo>
                    <a:pt x="736" y="208"/>
                  </a:lnTo>
                  <a:lnTo>
                    <a:pt x="722" y="199"/>
                  </a:lnTo>
                  <a:lnTo>
                    <a:pt x="706" y="169"/>
                  </a:lnTo>
                  <a:lnTo>
                    <a:pt x="684" y="151"/>
                  </a:lnTo>
                  <a:lnTo>
                    <a:pt x="641" y="125"/>
                  </a:lnTo>
                  <a:lnTo>
                    <a:pt x="587" y="106"/>
                  </a:lnTo>
                  <a:lnTo>
                    <a:pt x="552" y="100"/>
                  </a:lnTo>
                  <a:lnTo>
                    <a:pt x="526" y="90"/>
                  </a:lnTo>
                  <a:lnTo>
                    <a:pt x="510" y="76"/>
                  </a:lnTo>
                  <a:lnTo>
                    <a:pt x="485" y="47"/>
                  </a:lnTo>
                  <a:lnTo>
                    <a:pt x="462" y="31"/>
                  </a:lnTo>
                  <a:lnTo>
                    <a:pt x="441" y="31"/>
                  </a:lnTo>
                  <a:lnTo>
                    <a:pt x="389" y="14"/>
                  </a:lnTo>
                  <a:lnTo>
                    <a:pt x="352" y="10"/>
                  </a:lnTo>
                  <a:lnTo>
                    <a:pt x="320" y="0"/>
                  </a:lnTo>
                  <a:lnTo>
                    <a:pt x="297" y="3"/>
                  </a:lnTo>
                  <a:lnTo>
                    <a:pt x="259" y="0"/>
                  </a:lnTo>
                  <a:lnTo>
                    <a:pt x="222" y="9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197" name="Freeform 34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1724" y="2556"/>
              <a:ext cx="42" cy="34"/>
            </a:xfrm>
            <a:custGeom>
              <a:avLst/>
              <a:gdLst>
                <a:gd name="T0" fmla="*/ 255 w 271"/>
                <a:gd name="T1" fmla="*/ 26 h 236"/>
                <a:gd name="T2" fmla="*/ 229 w 271"/>
                <a:gd name="T3" fmla="*/ 22 h 236"/>
                <a:gd name="T4" fmla="*/ 147 w 271"/>
                <a:gd name="T5" fmla="*/ 0 h 236"/>
                <a:gd name="T6" fmla="*/ 115 w 271"/>
                <a:gd name="T7" fmla="*/ 3 h 236"/>
                <a:gd name="T8" fmla="*/ 99 w 271"/>
                <a:gd name="T9" fmla="*/ 8 h 236"/>
                <a:gd name="T10" fmla="*/ 95 w 271"/>
                <a:gd name="T11" fmla="*/ 14 h 236"/>
                <a:gd name="T12" fmla="*/ 94 w 271"/>
                <a:gd name="T13" fmla="*/ 24 h 236"/>
                <a:gd name="T14" fmla="*/ 107 w 271"/>
                <a:gd name="T15" fmla="*/ 35 h 236"/>
                <a:gd name="T16" fmla="*/ 147 w 271"/>
                <a:gd name="T17" fmla="*/ 42 h 236"/>
                <a:gd name="T18" fmla="*/ 164 w 271"/>
                <a:gd name="T19" fmla="*/ 51 h 236"/>
                <a:gd name="T20" fmla="*/ 174 w 271"/>
                <a:gd name="T21" fmla="*/ 67 h 236"/>
                <a:gd name="T22" fmla="*/ 164 w 271"/>
                <a:gd name="T23" fmla="*/ 105 h 236"/>
                <a:gd name="T24" fmla="*/ 171 w 271"/>
                <a:gd name="T25" fmla="*/ 121 h 236"/>
                <a:gd name="T26" fmla="*/ 211 w 271"/>
                <a:gd name="T27" fmla="*/ 155 h 236"/>
                <a:gd name="T28" fmla="*/ 167 w 271"/>
                <a:gd name="T29" fmla="*/ 174 h 236"/>
                <a:gd name="T30" fmla="*/ 136 w 271"/>
                <a:gd name="T31" fmla="*/ 172 h 236"/>
                <a:gd name="T32" fmla="*/ 13 w 271"/>
                <a:gd name="T33" fmla="*/ 151 h 236"/>
                <a:gd name="T34" fmla="*/ 1 w 271"/>
                <a:gd name="T35" fmla="*/ 162 h 236"/>
                <a:gd name="T36" fmla="*/ 0 w 271"/>
                <a:gd name="T37" fmla="*/ 172 h 236"/>
                <a:gd name="T38" fmla="*/ 8 w 271"/>
                <a:gd name="T39" fmla="*/ 190 h 236"/>
                <a:gd name="T40" fmla="*/ 50 w 271"/>
                <a:gd name="T41" fmla="*/ 220 h 236"/>
                <a:gd name="T42" fmla="*/ 57 w 271"/>
                <a:gd name="T43" fmla="*/ 222 h 236"/>
                <a:gd name="T44" fmla="*/ 74 w 271"/>
                <a:gd name="T45" fmla="*/ 202 h 236"/>
                <a:gd name="T46" fmla="*/ 95 w 271"/>
                <a:gd name="T47" fmla="*/ 197 h 236"/>
                <a:gd name="T48" fmla="*/ 150 w 271"/>
                <a:gd name="T49" fmla="*/ 208 h 236"/>
                <a:gd name="T50" fmla="*/ 188 w 271"/>
                <a:gd name="T51" fmla="*/ 209 h 236"/>
                <a:gd name="T52" fmla="*/ 221 w 271"/>
                <a:gd name="T53" fmla="*/ 201 h 236"/>
                <a:gd name="T54" fmla="*/ 242 w 271"/>
                <a:gd name="T55" fmla="*/ 204 h 236"/>
                <a:gd name="T56" fmla="*/ 271 w 271"/>
                <a:gd name="T57" fmla="*/ 236 h 236"/>
                <a:gd name="T58" fmla="*/ 249 w 271"/>
                <a:gd name="T59" fmla="*/ 162 h 236"/>
                <a:gd name="T60" fmla="*/ 250 w 271"/>
                <a:gd name="T61" fmla="*/ 153 h 236"/>
                <a:gd name="T62" fmla="*/ 267 w 271"/>
                <a:gd name="T63" fmla="*/ 128 h 236"/>
                <a:gd name="T64" fmla="*/ 266 w 271"/>
                <a:gd name="T65" fmla="*/ 116 h 236"/>
                <a:gd name="T66" fmla="*/ 261 w 271"/>
                <a:gd name="T67" fmla="*/ 21 h 236"/>
                <a:gd name="T68" fmla="*/ 255 w 271"/>
                <a:gd name="T69" fmla="*/ 26 h 2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71"/>
                <a:gd name="T106" fmla="*/ 0 h 236"/>
                <a:gd name="T107" fmla="*/ 271 w 271"/>
                <a:gd name="T108" fmla="*/ 236 h 2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71" h="236">
                  <a:moveTo>
                    <a:pt x="255" y="26"/>
                  </a:moveTo>
                  <a:lnTo>
                    <a:pt x="229" y="22"/>
                  </a:lnTo>
                  <a:lnTo>
                    <a:pt x="147" y="0"/>
                  </a:lnTo>
                  <a:lnTo>
                    <a:pt x="115" y="3"/>
                  </a:lnTo>
                  <a:lnTo>
                    <a:pt x="99" y="8"/>
                  </a:lnTo>
                  <a:lnTo>
                    <a:pt x="95" y="14"/>
                  </a:lnTo>
                  <a:lnTo>
                    <a:pt x="94" y="24"/>
                  </a:lnTo>
                  <a:lnTo>
                    <a:pt x="107" y="35"/>
                  </a:lnTo>
                  <a:lnTo>
                    <a:pt x="147" y="42"/>
                  </a:lnTo>
                  <a:lnTo>
                    <a:pt x="164" y="51"/>
                  </a:lnTo>
                  <a:lnTo>
                    <a:pt x="174" y="67"/>
                  </a:lnTo>
                  <a:lnTo>
                    <a:pt x="164" y="105"/>
                  </a:lnTo>
                  <a:lnTo>
                    <a:pt x="171" y="121"/>
                  </a:lnTo>
                  <a:lnTo>
                    <a:pt x="211" y="155"/>
                  </a:lnTo>
                  <a:lnTo>
                    <a:pt x="167" y="174"/>
                  </a:lnTo>
                  <a:lnTo>
                    <a:pt x="136" y="172"/>
                  </a:lnTo>
                  <a:lnTo>
                    <a:pt x="13" y="151"/>
                  </a:lnTo>
                  <a:lnTo>
                    <a:pt x="1" y="162"/>
                  </a:lnTo>
                  <a:lnTo>
                    <a:pt x="0" y="172"/>
                  </a:lnTo>
                  <a:lnTo>
                    <a:pt x="8" y="190"/>
                  </a:lnTo>
                  <a:lnTo>
                    <a:pt x="50" y="220"/>
                  </a:lnTo>
                  <a:lnTo>
                    <a:pt x="57" y="222"/>
                  </a:lnTo>
                  <a:lnTo>
                    <a:pt x="74" y="202"/>
                  </a:lnTo>
                  <a:lnTo>
                    <a:pt x="95" y="197"/>
                  </a:lnTo>
                  <a:lnTo>
                    <a:pt x="150" y="208"/>
                  </a:lnTo>
                  <a:lnTo>
                    <a:pt x="188" y="209"/>
                  </a:lnTo>
                  <a:lnTo>
                    <a:pt x="221" y="201"/>
                  </a:lnTo>
                  <a:lnTo>
                    <a:pt x="242" y="204"/>
                  </a:lnTo>
                  <a:lnTo>
                    <a:pt x="271" y="236"/>
                  </a:lnTo>
                  <a:lnTo>
                    <a:pt x="249" y="162"/>
                  </a:lnTo>
                  <a:lnTo>
                    <a:pt x="250" y="153"/>
                  </a:lnTo>
                  <a:lnTo>
                    <a:pt x="267" y="128"/>
                  </a:lnTo>
                  <a:lnTo>
                    <a:pt x="266" y="116"/>
                  </a:lnTo>
                  <a:lnTo>
                    <a:pt x="261" y="21"/>
                  </a:lnTo>
                  <a:lnTo>
                    <a:pt x="255" y="26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198" name="Freeform 35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1762" y="2556"/>
              <a:ext cx="51" cy="40"/>
            </a:xfrm>
            <a:custGeom>
              <a:avLst/>
              <a:gdLst>
                <a:gd name="T0" fmla="*/ 336 w 345"/>
                <a:gd name="T1" fmla="*/ 175 h 270"/>
                <a:gd name="T2" fmla="*/ 345 w 345"/>
                <a:gd name="T3" fmla="*/ 164 h 270"/>
                <a:gd name="T4" fmla="*/ 335 w 345"/>
                <a:gd name="T5" fmla="*/ 148 h 270"/>
                <a:gd name="T6" fmla="*/ 318 w 345"/>
                <a:gd name="T7" fmla="*/ 129 h 270"/>
                <a:gd name="T8" fmla="*/ 278 w 345"/>
                <a:gd name="T9" fmla="*/ 104 h 270"/>
                <a:gd name="T10" fmla="*/ 234 w 345"/>
                <a:gd name="T11" fmla="*/ 88 h 270"/>
                <a:gd name="T12" fmla="*/ 210 w 345"/>
                <a:gd name="T13" fmla="*/ 71 h 270"/>
                <a:gd name="T14" fmla="*/ 196 w 345"/>
                <a:gd name="T15" fmla="*/ 53 h 270"/>
                <a:gd name="T16" fmla="*/ 187 w 345"/>
                <a:gd name="T17" fmla="*/ 30 h 270"/>
                <a:gd name="T18" fmla="*/ 157 w 345"/>
                <a:gd name="T19" fmla="*/ 36 h 270"/>
                <a:gd name="T20" fmla="*/ 115 w 345"/>
                <a:gd name="T21" fmla="*/ 18 h 270"/>
                <a:gd name="T22" fmla="*/ 106 w 345"/>
                <a:gd name="T23" fmla="*/ 13 h 270"/>
                <a:gd name="T24" fmla="*/ 99 w 345"/>
                <a:gd name="T25" fmla="*/ 0 h 270"/>
                <a:gd name="T26" fmla="*/ 83 w 345"/>
                <a:gd name="T27" fmla="*/ 4 h 270"/>
                <a:gd name="T28" fmla="*/ 67 w 345"/>
                <a:gd name="T29" fmla="*/ 13 h 270"/>
                <a:gd name="T30" fmla="*/ 53 w 345"/>
                <a:gd name="T31" fmla="*/ 13 h 270"/>
                <a:gd name="T32" fmla="*/ 34 w 345"/>
                <a:gd name="T33" fmla="*/ 6 h 270"/>
                <a:gd name="T34" fmla="*/ 12 w 345"/>
                <a:gd name="T35" fmla="*/ 20 h 270"/>
                <a:gd name="T36" fmla="*/ 17 w 345"/>
                <a:gd name="T37" fmla="*/ 115 h 270"/>
                <a:gd name="T38" fmla="*/ 18 w 345"/>
                <a:gd name="T39" fmla="*/ 127 h 270"/>
                <a:gd name="T40" fmla="*/ 1 w 345"/>
                <a:gd name="T41" fmla="*/ 152 h 270"/>
                <a:gd name="T42" fmla="*/ 0 w 345"/>
                <a:gd name="T43" fmla="*/ 161 h 270"/>
                <a:gd name="T44" fmla="*/ 22 w 345"/>
                <a:gd name="T45" fmla="*/ 235 h 270"/>
                <a:gd name="T46" fmla="*/ 36 w 345"/>
                <a:gd name="T47" fmla="*/ 263 h 270"/>
                <a:gd name="T48" fmla="*/ 49 w 345"/>
                <a:gd name="T49" fmla="*/ 270 h 270"/>
                <a:gd name="T50" fmla="*/ 67 w 345"/>
                <a:gd name="T51" fmla="*/ 235 h 270"/>
                <a:gd name="T52" fmla="*/ 82 w 345"/>
                <a:gd name="T53" fmla="*/ 193 h 270"/>
                <a:gd name="T54" fmla="*/ 111 w 345"/>
                <a:gd name="T55" fmla="*/ 175 h 270"/>
                <a:gd name="T56" fmla="*/ 119 w 345"/>
                <a:gd name="T57" fmla="*/ 171 h 270"/>
                <a:gd name="T58" fmla="*/ 124 w 345"/>
                <a:gd name="T59" fmla="*/ 173 h 270"/>
                <a:gd name="T60" fmla="*/ 140 w 345"/>
                <a:gd name="T61" fmla="*/ 200 h 270"/>
                <a:gd name="T62" fmla="*/ 157 w 345"/>
                <a:gd name="T63" fmla="*/ 203 h 270"/>
                <a:gd name="T64" fmla="*/ 190 w 345"/>
                <a:gd name="T65" fmla="*/ 173 h 270"/>
                <a:gd name="T66" fmla="*/ 205 w 345"/>
                <a:gd name="T67" fmla="*/ 168 h 270"/>
                <a:gd name="T68" fmla="*/ 221 w 345"/>
                <a:gd name="T69" fmla="*/ 168 h 270"/>
                <a:gd name="T70" fmla="*/ 234 w 345"/>
                <a:gd name="T71" fmla="*/ 173 h 270"/>
                <a:gd name="T72" fmla="*/ 269 w 345"/>
                <a:gd name="T73" fmla="*/ 171 h 270"/>
                <a:gd name="T74" fmla="*/ 286 w 345"/>
                <a:gd name="T75" fmla="*/ 173 h 270"/>
                <a:gd name="T76" fmla="*/ 307 w 345"/>
                <a:gd name="T77" fmla="*/ 205 h 270"/>
                <a:gd name="T78" fmla="*/ 318 w 345"/>
                <a:gd name="T79" fmla="*/ 210 h 270"/>
                <a:gd name="T80" fmla="*/ 331 w 345"/>
                <a:gd name="T81" fmla="*/ 191 h 270"/>
                <a:gd name="T82" fmla="*/ 336 w 345"/>
                <a:gd name="T83" fmla="*/ 175 h 27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345"/>
                <a:gd name="T127" fmla="*/ 0 h 270"/>
                <a:gd name="T128" fmla="*/ 345 w 345"/>
                <a:gd name="T129" fmla="*/ 270 h 27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345" h="270">
                  <a:moveTo>
                    <a:pt x="336" y="175"/>
                  </a:moveTo>
                  <a:lnTo>
                    <a:pt x="345" y="164"/>
                  </a:lnTo>
                  <a:lnTo>
                    <a:pt x="335" y="148"/>
                  </a:lnTo>
                  <a:lnTo>
                    <a:pt x="318" y="129"/>
                  </a:lnTo>
                  <a:lnTo>
                    <a:pt x="278" y="104"/>
                  </a:lnTo>
                  <a:lnTo>
                    <a:pt x="234" y="88"/>
                  </a:lnTo>
                  <a:lnTo>
                    <a:pt x="210" y="71"/>
                  </a:lnTo>
                  <a:lnTo>
                    <a:pt x="196" y="53"/>
                  </a:lnTo>
                  <a:lnTo>
                    <a:pt x="187" y="30"/>
                  </a:lnTo>
                  <a:lnTo>
                    <a:pt x="157" y="36"/>
                  </a:lnTo>
                  <a:lnTo>
                    <a:pt x="115" y="18"/>
                  </a:lnTo>
                  <a:lnTo>
                    <a:pt x="106" y="13"/>
                  </a:lnTo>
                  <a:lnTo>
                    <a:pt x="99" y="0"/>
                  </a:lnTo>
                  <a:lnTo>
                    <a:pt x="83" y="4"/>
                  </a:lnTo>
                  <a:lnTo>
                    <a:pt x="67" y="13"/>
                  </a:lnTo>
                  <a:lnTo>
                    <a:pt x="53" y="13"/>
                  </a:lnTo>
                  <a:lnTo>
                    <a:pt x="34" y="6"/>
                  </a:lnTo>
                  <a:lnTo>
                    <a:pt x="12" y="20"/>
                  </a:lnTo>
                  <a:lnTo>
                    <a:pt x="17" y="115"/>
                  </a:lnTo>
                  <a:lnTo>
                    <a:pt x="18" y="127"/>
                  </a:lnTo>
                  <a:lnTo>
                    <a:pt x="1" y="152"/>
                  </a:lnTo>
                  <a:lnTo>
                    <a:pt x="0" y="161"/>
                  </a:lnTo>
                  <a:lnTo>
                    <a:pt x="22" y="235"/>
                  </a:lnTo>
                  <a:lnTo>
                    <a:pt x="36" y="263"/>
                  </a:lnTo>
                  <a:lnTo>
                    <a:pt x="49" y="270"/>
                  </a:lnTo>
                  <a:lnTo>
                    <a:pt x="67" y="235"/>
                  </a:lnTo>
                  <a:lnTo>
                    <a:pt x="82" y="193"/>
                  </a:lnTo>
                  <a:lnTo>
                    <a:pt x="111" y="175"/>
                  </a:lnTo>
                  <a:lnTo>
                    <a:pt x="119" y="171"/>
                  </a:lnTo>
                  <a:lnTo>
                    <a:pt x="124" y="173"/>
                  </a:lnTo>
                  <a:lnTo>
                    <a:pt x="140" y="200"/>
                  </a:lnTo>
                  <a:lnTo>
                    <a:pt x="157" y="203"/>
                  </a:lnTo>
                  <a:lnTo>
                    <a:pt x="190" y="173"/>
                  </a:lnTo>
                  <a:lnTo>
                    <a:pt x="205" y="168"/>
                  </a:lnTo>
                  <a:lnTo>
                    <a:pt x="221" y="168"/>
                  </a:lnTo>
                  <a:lnTo>
                    <a:pt x="234" y="173"/>
                  </a:lnTo>
                  <a:lnTo>
                    <a:pt x="269" y="171"/>
                  </a:lnTo>
                  <a:lnTo>
                    <a:pt x="286" y="173"/>
                  </a:lnTo>
                  <a:lnTo>
                    <a:pt x="307" y="205"/>
                  </a:lnTo>
                  <a:lnTo>
                    <a:pt x="318" y="210"/>
                  </a:lnTo>
                  <a:lnTo>
                    <a:pt x="331" y="191"/>
                  </a:lnTo>
                  <a:lnTo>
                    <a:pt x="336" y="175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199" name="Freeform 36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1831" y="2581"/>
              <a:ext cx="21" cy="10"/>
            </a:xfrm>
            <a:custGeom>
              <a:avLst/>
              <a:gdLst>
                <a:gd name="T0" fmla="*/ 59 w 146"/>
                <a:gd name="T1" fmla="*/ 3 h 74"/>
                <a:gd name="T2" fmla="*/ 41 w 146"/>
                <a:gd name="T3" fmla="*/ 5 h 74"/>
                <a:gd name="T4" fmla="*/ 16 w 146"/>
                <a:gd name="T5" fmla="*/ 0 h 74"/>
                <a:gd name="T6" fmla="*/ 5 w 146"/>
                <a:gd name="T7" fmla="*/ 5 h 74"/>
                <a:gd name="T8" fmla="*/ 0 w 146"/>
                <a:gd name="T9" fmla="*/ 14 h 74"/>
                <a:gd name="T10" fmla="*/ 5 w 146"/>
                <a:gd name="T11" fmla="*/ 26 h 74"/>
                <a:gd name="T12" fmla="*/ 4 w 146"/>
                <a:gd name="T13" fmla="*/ 56 h 74"/>
                <a:gd name="T14" fmla="*/ 7 w 146"/>
                <a:gd name="T15" fmla="*/ 69 h 74"/>
                <a:gd name="T16" fmla="*/ 31 w 146"/>
                <a:gd name="T17" fmla="*/ 74 h 74"/>
                <a:gd name="T18" fmla="*/ 47 w 146"/>
                <a:gd name="T19" fmla="*/ 65 h 74"/>
                <a:gd name="T20" fmla="*/ 76 w 146"/>
                <a:gd name="T21" fmla="*/ 62 h 74"/>
                <a:gd name="T22" fmla="*/ 107 w 146"/>
                <a:gd name="T23" fmla="*/ 65 h 74"/>
                <a:gd name="T24" fmla="*/ 122 w 146"/>
                <a:gd name="T25" fmla="*/ 63 h 74"/>
                <a:gd name="T26" fmla="*/ 135 w 146"/>
                <a:gd name="T27" fmla="*/ 51 h 74"/>
                <a:gd name="T28" fmla="*/ 139 w 146"/>
                <a:gd name="T29" fmla="*/ 46 h 74"/>
                <a:gd name="T30" fmla="*/ 146 w 146"/>
                <a:gd name="T31" fmla="*/ 26 h 74"/>
                <a:gd name="T32" fmla="*/ 142 w 146"/>
                <a:gd name="T33" fmla="*/ 19 h 74"/>
                <a:gd name="T34" fmla="*/ 123 w 146"/>
                <a:gd name="T35" fmla="*/ 9 h 74"/>
                <a:gd name="T36" fmla="*/ 59 w 146"/>
                <a:gd name="T37" fmla="*/ 3 h 7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46"/>
                <a:gd name="T58" fmla="*/ 0 h 74"/>
                <a:gd name="T59" fmla="*/ 146 w 146"/>
                <a:gd name="T60" fmla="*/ 74 h 7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46" h="74">
                  <a:moveTo>
                    <a:pt x="59" y="3"/>
                  </a:moveTo>
                  <a:lnTo>
                    <a:pt x="41" y="5"/>
                  </a:lnTo>
                  <a:lnTo>
                    <a:pt x="16" y="0"/>
                  </a:lnTo>
                  <a:lnTo>
                    <a:pt x="5" y="5"/>
                  </a:lnTo>
                  <a:lnTo>
                    <a:pt x="0" y="14"/>
                  </a:lnTo>
                  <a:lnTo>
                    <a:pt x="5" y="26"/>
                  </a:lnTo>
                  <a:lnTo>
                    <a:pt x="4" y="56"/>
                  </a:lnTo>
                  <a:lnTo>
                    <a:pt x="7" y="69"/>
                  </a:lnTo>
                  <a:lnTo>
                    <a:pt x="31" y="74"/>
                  </a:lnTo>
                  <a:lnTo>
                    <a:pt x="47" y="65"/>
                  </a:lnTo>
                  <a:lnTo>
                    <a:pt x="76" y="62"/>
                  </a:lnTo>
                  <a:lnTo>
                    <a:pt x="107" y="65"/>
                  </a:lnTo>
                  <a:lnTo>
                    <a:pt x="122" y="63"/>
                  </a:lnTo>
                  <a:lnTo>
                    <a:pt x="135" y="51"/>
                  </a:lnTo>
                  <a:lnTo>
                    <a:pt x="139" y="46"/>
                  </a:lnTo>
                  <a:lnTo>
                    <a:pt x="146" y="26"/>
                  </a:lnTo>
                  <a:lnTo>
                    <a:pt x="142" y="19"/>
                  </a:lnTo>
                  <a:lnTo>
                    <a:pt x="123" y="9"/>
                  </a:lnTo>
                  <a:lnTo>
                    <a:pt x="59" y="3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00" name="Freeform 37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1667" y="2582"/>
              <a:ext cx="30" cy="12"/>
            </a:xfrm>
            <a:custGeom>
              <a:avLst/>
              <a:gdLst>
                <a:gd name="T0" fmla="*/ 55 w 199"/>
                <a:gd name="T1" fmla="*/ 0 h 85"/>
                <a:gd name="T2" fmla="*/ 24 w 199"/>
                <a:gd name="T3" fmla="*/ 4 h 85"/>
                <a:gd name="T4" fmla="*/ 0 w 199"/>
                <a:gd name="T5" fmla="*/ 20 h 85"/>
                <a:gd name="T6" fmla="*/ 6 w 199"/>
                <a:gd name="T7" fmla="*/ 30 h 85"/>
                <a:gd name="T8" fmla="*/ 26 w 199"/>
                <a:gd name="T9" fmla="*/ 35 h 85"/>
                <a:gd name="T10" fmla="*/ 48 w 199"/>
                <a:gd name="T11" fmla="*/ 55 h 85"/>
                <a:gd name="T12" fmla="*/ 58 w 199"/>
                <a:gd name="T13" fmla="*/ 69 h 85"/>
                <a:gd name="T14" fmla="*/ 87 w 199"/>
                <a:gd name="T15" fmla="*/ 81 h 85"/>
                <a:gd name="T16" fmla="*/ 101 w 199"/>
                <a:gd name="T17" fmla="*/ 85 h 85"/>
                <a:gd name="T18" fmla="*/ 115 w 199"/>
                <a:gd name="T19" fmla="*/ 78 h 85"/>
                <a:gd name="T20" fmla="*/ 124 w 199"/>
                <a:gd name="T21" fmla="*/ 64 h 85"/>
                <a:gd name="T22" fmla="*/ 148 w 199"/>
                <a:gd name="T23" fmla="*/ 60 h 85"/>
                <a:gd name="T24" fmla="*/ 183 w 199"/>
                <a:gd name="T25" fmla="*/ 78 h 85"/>
                <a:gd name="T26" fmla="*/ 197 w 199"/>
                <a:gd name="T27" fmla="*/ 72 h 85"/>
                <a:gd name="T28" fmla="*/ 199 w 199"/>
                <a:gd name="T29" fmla="*/ 62 h 85"/>
                <a:gd name="T30" fmla="*/ 187 w 199"/>
                <a:gd name="T31" fmla="*/ 48 h 85"/>
                <a:gd name="T32" fmla="*/ 115 w 199"/>
                <a:gd name="T33" fmla="*/ 14 h 85"/>
                <a:gd name="T34" fmla="*/ 55 w 199"/>
                <a:gd name="T35" fmla="*/ 0 h 8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99"/>
                <a:gd name="T55" fmla="*/ 0 h 85"/>
                <a:gd name="T56" fmla="*/ 199 w 199"/>
                <a:gd name="T57" fmla="*/ 85 h 8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99" h="85">
                  <a:moveTo>
                    <a:pt x="55" y="0"/>
                  </a:moveTo>
                  <a:lnTo>
                    <a:pt x="24" y="4"/>
                  </a:lnTo>
                  <a:lnTo>
                    <a:pt x="0" y="20"/>
                  </a:lnTo>
                  <a:lnTo>
                    <a:pt x="6" y="30"/>
                  </a:lnTo>
                  <a:lnTo>
                    <a:pt x="26" y="35"/>
                  </a:lnTo>
                  <a:lnTo>
                    <a:pt x="48" y="55"/>
                  </a:lnTo>
                  <a:lnTo>
                    <a:pt x="58" y="69"/>
                  </a:lnTo>
                  <a:lnTo>
                    <a:pt x="87" y="81"/>
                  </a:lnTo>
                  <a:lnTo>
                    <a:pt x="101" y="85"/>
                  </a:lnTo>
                  <a:lnTo>
                    <a:pt x="115" y="78"/>
                  </a:lnTo>
                  <a:lnTo>
                    <a:pt x="124" y="64"/>
                  </a:lnTo>
                  <a:lnTo>
                    <a:pt x="148" y="60"/>
                  </a:lnTo>
                  <a:lnTo>
                    <a:pt x="183" y="78"/>
                  </a:lnTo>
                  <a:lnTo>
                    <a:pt x="197" y="72"/>
                  </a:lnTo>
                  <a:lnTo>
                    <a:pt x="199" y="62"/>
                  </a:lnTo>
                  <a:lnTo>
                    <a:pt x="187" y="48"/>
                  </a:lnTo>
                  <a:lnTo>
                    <a:pt x="115" y="14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01" name="Freeform 38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1530" y="2644"/>
              <a:ext cx="64" cy="75"/>
            </a:xfrm>
            <a:custGeom>
              <a:avLst/>
              <a:gdLst>
                <a:gd name="T0" fmla="*/ 325 w 430"/>
                <a:gd name="T1" fmla="*/ 43 h 503"/>
                <a:gd name="T2" fmla="*/ 305 w 430"/>
                <a:gd name="T3" fmla="*/ 38 h 503"/>
                <a:gd name="T4" fmla="*/ 291 w 430"/>
                <a:gd name="T5" fmla="*/ 27 h 503"/>
                <a:gd name="T6" fmla="*/ 279 w 430"/>
                <a:gd name="T7" fmla="*/ 27 h 503"/>
                <a:gd name="T8" fmla="*/ 267 w 430"/>
                <a:gd name="T9" fmla="*/ 40 h 503"/>
                <a:gd name="T10" fmla="*/ 244 w 430"/>
                <a:gd name="T11" fmla="*/ 84 h 503"/>
                <a:gd name="T12" fmla="*/ 190 w 430"/>
                <a:gd name="T13" fmla="*/ 137 h 503"/>
                <a:gd name="T14" fmla="*/ 158 w 430"/>
                <a:gd name="T15" fmla="*/ 114 h 503"/>
                <a:gd name="T16" fmla="*/ 136 w 430"/>
                <a:gd name="T17" fmla="*/ 145 h 503"/>
                <a:gd name="T18" fmla="*/ 98 w 430"/>
                <a:gd name="T19" fmla="*/ 147 h 503"/>
                <a:gd name="T20" fmla="*/ 98 w 430"/>
                <a:gd name="T21" fmla="*/ 198 h 503"/>
                <a:gd name="T22" fmla="*/ 84 w 430"/>
                <a:gd name="T23" fmla="*/ 219 h 503"/>
                <a:gd name="T24" fmla="*/ 71 w 430"/>
                <a:gd name="T25" fmla="*/ 228 h 503"/>
                <a:gd name="T26" fmla="*/ 0 w 430"/>
                <a:gd name="T27" fmla="*/ 235 h 503"/>
                <a:gd name="T28" fmla="*/ 1 w 430"/>
                <a:gd name="T29" fmla="*/ 248 h 503"/>
                <a:gd name="T30" fmla="*/ 9 w 430"/>
                <a:gd name="T31" fmla="*/ 258 h 503"/>
                <a:gd name="T32" fmla="*/ 41 w 430"/>
                <a:gd name="T33" fmla="*/ 283 h 503"/>
                <a:gd name="T34" fmla="*/ 162 w 430"/>
                <a:gd name="T35" fmla="*/ 431 h 503"/>
                <a:gd name="T36" fmla="*/ 181 w 430"/>
                <a:gd name="T37" fmla="*/ 465 h 503"/>
                <a:gd name="T38" fmla="*/ 200 w 430"/>
                <a:gd name="T39" fmla="*/ 450 h 503"/>
                <a:gd name="T40" fmla="*/ 272 w 430"/>
                <a:gd name="T41" fmla="*/ 482 h 503"/>
                <a:gd name="T42" fmla="*/ 299 w 430"/>
                <a:gd name="T43" fmla="*/ 470 h 503"/>
                <a:gd name="T44" fmla="*/ 316 w 430"/>
                <a:gd name="T45" fmla="*/ 475 h 503"/>
                <a:gd name="T46" fmla="*/ 329 w 430"/>
                <a:gd name="T47" fmla="*/ 472 h 503"/>
                <a:gd name="T48" fmla="*/ 340 w 430"/>
                <a:gd name="T49" fmla="*/ 496 h 503"/>
                <a:gd name="T50" fmla="*/ 373 w 430"/>
                <a:gd name="T51" fmla="*/ 503 h 503"/>
                <a:gd name="T52" fmla="*/ 385 w 430"/>
                <a:gd name="T53" fmla="*/ 489 h 503"/>
                <a:gd name="T54" fmla="*/ 369 w 430"/>
                <a:gd name="T55" fmla="*/ 445 h 503"/>
                <a:gd name="T56" fmla="*/ 368 w 430"/>
                <a:gd name="T57" fmla="*/ 415 h 503"/>
                <a:gd name="T58" fmla="*/ 372 w 430"/>
                <a:gd name="T59" fmla="*/ 341 h 503"/>
                <a:gd name="T60" fmla="*/ 391 w 430"/>
                <a:gd name="T61" fmla="*/ 242 h 503"/>
                <a:gd name="T62" fmla="*/ 390 w 430"/>
                <a:gd name="T63" fmla="*/ 195 h 503"/>
                <a:gd name="T64" fmla="*/ 394 w 430"/>
                <a:gd name="T65" fmla="*/ 154 h 503"/>
                <a:gd name="T66" fmla="*/ 418 w 430"/>
                <a:gd name="T67" fmla="*/ 112 h 503"/>
                <a:gd name="T68" fmla="*/ 427 w 430"/>
                <a:gd name="T69" fmla="*/ 73 h 503"/>
                <a:gd name="T70" fmla="*/ 430 w 430"/>
                <a:gd name="T71" fmla="*/ 47 h 503"/>
                <a:gd name="T72" fmla="*/ 428 w 430"/>
                <a:gd name="T73" fmla="*/ 27 h 503"/>
                <a:gd name="T74" fmla="*/ 418 w 430"/>
                <a:gd name="T75" fmla="*/ 0 h 503"/>
                <a:gd name="T76" fmla="*/ 356 w 430"/>
                <a:gd name="T77" fmla="*/ 25 h 503"/>
                <a:gd name="T78" fmla="*/ 325 w 430"/>
                <a:gd name="T79" fmla="*/ 43 h 50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430"/>
                <a:gd name="T121" fmla="*/ 0 h 503"/>
                <a:gd name="T122" fmla="*/ 430 w 430"/>
                <a:gd name="T123" fmla="*/ 503 h 503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430" h="503">
                  <a:moveTo>
                    <a:pt x="325" y="43"/>
                  </a:moveTo>
                  <a:lnTo>
                    <a:pt x="305" y="38"/>
                  </a:lnTo>
                  <a:lnTo>
                    <a:pt x="291" y="27"/>
                  </a:lnTo>
                  <a:lnTo>
                    <a:pt x="279" y="27"/>
                  </a:lnTo>
                  <a:lnTo>
                    <a:pt x="267" y="40"/>
                  </a:lnTo>
                  <a:lnTo>
                    <a:pt x="244" y="84"/>
                  </a:lnTo>
                  <a:lnTo>
                    <a:pt x="190" y="137"/>
                  </a:lnTo>
                  <a:lnTo>
                    <a:pt x="158" y="114"/>
                  </a:lnTo>
                  <a:lnTo>
                    <a:pt x="136" y="145"/>
                  </a:lnTo>
                  <a:lnTo>
                    <a:pt x="98" y="147"/>
                  </a:lnTo>
                  <a:lnTo>
                    <a:pt x="98" y="198"/>
                  </a:lnTo>
                  <a:lnTo>
                    <a:pt x="84" y="219"/>
                  </a:lnTo>
                  <a:lnTo>
                    <a:pt x="71" y="228"/>
                  </a:lnTo>
                  <a:lnTo>
                    <a:pt x="0" y="235"/>
                  </a:lnTo>
                  <a:lnTo>
                    <a:pt x="1" y="248"/>
                  </a:lnTo>
                  <a:lnTo>
                    <a:pt x="9" y="258"/>
                  </a:lnTo>
                  <a:lnTo>
                    <a:pt x="41" y="283"/>
                  </a:lnTo>
                  <a:lnTo>
                    <a:pt x="162" y="431"/>
                  </a:lnTo>
                  <a:lnTo>
                    <a:pt x="181" y="465"/>
                  </a:lnTo>
                  <a:lnTo>
                    <a:pt x="200" y="450"/>
                  </a:lnTo>
                  <a:lnTo>
                    <a:pt x="272" y="482"/>
                  </a:lnTo>
                  <a:lnTo>
                    <a:pt x="299" y="470"/>
                  </a:lnTo>
                  <a:lnTo>
                    <a:pt x="316" y="475"/>
                  </a:lnTo>
                  <a:lnTo>
                    <a:pt x="329" y="472"/>
                  </a:lnTo>
                  <a:lnTo>
                    <a:pt x="340" y="496"/>
                  </a:lnTo>
                  <a:lnTo>
                    <a:pt x="373" y="503"/>
                  </a:lnTo>
                  <a:lnTo>
                    <a:pt x="385" y="489"/>
                  </a:lnTo>
                  <a:lnTo>
                    <a:pt x="369" y="445"/>
                  </a:lnTo>
                  <a:lnTo>
                    <a:pt x="368" y="415"/>
                  </a:lnTo>
                  <a:lnTo>
                    <a:pt x="372" y="341"/>
                  </a:lnTo>
                  <a:lnTo>
                    <a:pt x="391" y="242"/>
                  </a:lnTo>
                  <a:lnTo>
                    <a:pt x="390" y="195"/>
                  </a:lnTo>
                  <a:lnTo>
                    <a:pt x="394" y="154"/>
                  </a:lnTo>
                  <a:lnTo>
                    <a:pt x="418" y="112"/>
                  </a:lnTo>
                  <a:lnTo>
                    <a:pt x="427" y="73"/>
                  </a:lnTo>
                  <a:lnTo>
                    <a:pt x="430" y="47"/>
                  </a:lnTo>
                  <a:lnTo>
                    <a:pt x="428" y="27"/>
                  </a:lnTo>
                  <a:lnTo>
                    <a:pt x="418" y="0"/>
                  </a:lnTo>
                  <a:lnTo>
                    <a:pt x="356" y="25"/>
                  </a:lnTo>
                  <a:lnTo>
                    <a:pt x="325" y="43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02" name="Freeform 39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1556" y="2711"/>
              <a:ext cx="51" cy="55"/>
            </a:xfrm>
            <a:custGeom>
              <a:avLst/>
              <a:gdLst>
                <a:gd name="T0" fmla="*/ 5 w 325"/>
                <a:gd name="T1" fmla="*/ 99 h 374"/>
                <a:gd name="T2" fmla="*/ 16 w 325"/>
                <a:gd name="T3" fmla="*/ 138 h 374"/>
                <a:gd name="T4" fmla="*/ 56 w 325"/>
                <a:gd name="T5" fmla="*/ 163 h 374"/>
                <a:gd name="T6" fmla="*/ 78 w 325"/>
                <a:gd name="T7" fmla="*/ 191 h 374"/>
                <a:gd name="T8" fmla="*/ 93 w 325"/>
                <a:gd name="T9" fmla="*/ 147 h 374"/>
                <a:gd name="T10" fmla="*/ 61 w 325"/>
                <a:gd name="T11" fmla="*/ 106 h 374"/>
                <a:gd name="T12" fmla="*/ 115 w 325"/>
                <a:gd name="T13" fmla="*/ 143 h 374"/>
                <a:gd name="T14" fmla="*/ 122 w 325"/>
                <a:gd name="T15" fmla="*/ 180 h 374"/>
                <a:gd name="T16" fmla="*/ 167 w 325"/>
                <a:gd name="T17" fmla="*/ 202 h 374"/>
                <a:gd name="T18" fmla="*/ 201 w 325"/>
                <a:gd name="T19" fmla="*/ 225 h 374"/>
                <a:gd name="T20" fmla="*/ 229 w 325"/>
                <a:gd name="T21" fmla="*/ 260 h 374"/>
                <a:gd name="T22" fmla="*/ 217 w 325"/>
                <a:gd name="T23" fmla="*/ 300 h 374"/>
                <a:gd name="T24" fmla="*/ 254 w 325"/>
                <a:gd name="T25" fmla="*/ 330 h 374"/>
                <a:gd name="T26" fmla="*/ 255 w 325"/>
                <a:gd name="T27" fmla="*/ 315 h 374"/>
                <a:gd name="T28" fmla="*/ 246 w 325"/>
                <a:gd name="T29" fmla="*/ 289 h 374"/>
                <a:gd name="T30" fmla="*/ 274 w 325"/>
                <a:gd name="T31" fmla="*/ 333 h 374"/>
                <a:gd name="T32" fmla="*/ 287 w 325"/>
                <a:gd name="T33" fmla="*/ 374 h 374"/>
                <a:gd name="T34" fmla="*/ 283 w 325"/>
                <a:gd name="T35" fmla="*/ 331 h 374"/>
                <a:gd name="T36" fmla="*/ 295 w 325"/>
                <a:gd name="T37" fmla="*/ 284 h 374"/>
                <a:gd name="T38" fmla="*/ 291 w 325"/>
                <a:gd name="T39" fmla="*/ 247 h 374"/>
                <a:gd name="T40" fmla="*/ 291 w 325"/>
                <a:gd name="T41" fmla="*/ 200 h 374"/>
                <a:gd name="T42" fmla="*/ 322 w 325"/>
                <a:gd name="T43" fmla="*/ 198 h 374"/>
                <a:gd name="T44" fmla="*/ 306 w 325"/>
                <a:gd name="T45" fmla="*/ 173 h 374"/>
                <a:gd name="T46" fmla="*/ 277 w 325"/>
                <a:gd name="T47" fmla="*/ 136 h 374"/>
                <a:gd name="T48" fmla="*/ 245 w 325"/>
                <a:gd name="T49" fmla="*/ 85 h 374"/>
                <a:gd name="T50" fmla="*/ 196 w 325"/>
                <a:gd name="T51" fmla="*/ 53 h 374"/>
                <a:gd name="T52" fmla="*/ 152 w 325"/>
                <a:gd name="T53" fmla="*/ 22 h 374"/>
                <a:gd name="T54" fmla="*/ 122 w 325"/>
                <a:gd name="T55" fmla="*/ 20 h 374"/>
                <a:gd name="T56" fmla="*/ 23 w 325"/>
                <a:gd name="T57" fmla="*/ 0 h 374"/>
                <a:gd name="T58" fmla="*/ 13 w 325"/>
                <a:gd name="T59" fmla="*/ 15 h 374"/>
                <a:gd name="T60" fmla="*/ 0 w 325"/>
                <a:gd name="T61" fmla="*/ 32 h 374"/>
                <a:gd name="T62" fmla="*/ 25 w 325"/>
                <a:gd name="T63" fmla="*/ 66 h 37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25"/>
                <a:gd name="T97" fmla="*/ 0 h 374"/>
                <a:gd name="T98" fmla="*/ 325 w 325"/>
                <a:gd name="T99" fmla="*/ 374 h 37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25" h="374">
                  <a:moveTo>
                    <a:pt x="11" y="78"/>
                  </a:moveTo>
                  <a:lnTo>
                    <a:pt x="5" y="99"/>
                  </a:lnTo>
                  <a:lnTo>
                    <a:pt x="9" y="126"/>
                  </a:lnTo>
                  <a:lnTo>
                    <a:pt x="16" y="138"/>
                  </a:lnTo>
                  <a:lnTo>
                    <a:pt x="30" y="152"/>
                  </a:lnTo>
                  <a:lnTo>
                    <a:pt x="56" y="163"/>
                  </a:lnTo>
                  <a:lnTo>
                    <a:pt x="70" y="177"/>
                  </a:lnTo>
                  <a:lnTo>
                    <a:pt x="78" y="191"/>
                  </a:lnTo>
                  <a:lnTo>
                    <a:pt x="102" y="161"/>
                  </a:lnTo>
                  <a:lnTo>
                    <a:pt x="93" y="147"/>
                  </a:lnTo>
                  <a:lnTo>
                    <a:pt x="74" y="145"/>
                  </a:lnTo>
                  <a:lnTo>
                    <a:pt x="61" y="106"/>
                  </a:lnTo>
                  <a:lnTo>
                    <a:pt x="104" y="138"/>
                  </a:lnTo>
                  <a:lnTo>
                    <a:pt x="115" y="143"/>
                  </a:lnTo>
                  <a:lnTo>
                    <a:pt x="122" y="157"/>
                  </a:lnTo>
                  <a:lnTo>
                    <a:pt x="122" y="180"/>
                  </a:lnTo>
                  <a:lnTo>
                    <a:pt x="135" y="196"/>
                  </a:lnTo>
                  <a:lnTo>
                    <a:pt x="167" y="202"/>
                  </a:lnTo>
                  <a:lnTo>
                    <a:pt x="169" y="210"/>
                  </a:lnTo>
                  <a:lnTo>
                    <a:pt x="201" y="225"/>
                  </a:lnTo>
                  <a:lnTo>
                    <a:pt x="221" y="242"/>
                  </a:lnTo>
                  <a:lnTo>
                    <a:pt x="229" y="260"/>
                  </a:lnTo>
                  <a:lnTo>
                    <a:pt x="228" y="282"/>
                  </a:lnTo>
                  <a:lnTo>
                    <a:pt x="217" y="300"/>
                  </a:lnTo>
                  <a:lnTo>
                    <a:pt x="222" y="314"/>
                  </a:lnTo>
                  <a:lnTo>
                    <a:pt x="254" y="330"/>
                  </a:lnTo>
                  <a:lnTo>
                    <a:pt x="260" y="326"/>
                  </a:lnTo>
                  <a:lnTo>
                    <a:pt x="255" y="315"/>
                  </a:lnTo>
                  <a:lnTo>
                    <a:pt x="241" y="293"/>
                  </a:lnTo>
                  <a:lnTo>
                    <a:pt x="246" y="289"/>
                  </a:lnTo>
                  <a:lnTo>
                    <a:pt x="274" y="301"/>
                  </a:lnTo>
                  <a:lnTo>
                    <a:pt x="274" y="333"/>
                  </a:lnTo>
                  <a:lnTo>
                    <a:pt x="287" y="349"/>
                  </a:lnTo>
                  <a:lnTo>
                    <a:pt x="287" y="374"/>
                  </a:lnTo>
                  <a:lnTo>
                    <a:pt x="295" y="340"/>
                  </a:lnTo>
                  <a:lnTo>
                    <a:pt x="283" y="331"/>
                  </a:lnTo>
                  <a:lnTo>
                    <a:pt x="302" y="312"/>
                  </a:lnTo>
                  <a:lnTo>
                    <a:pt x="295" y="284"/>
                  </a:lnTo>
                  <a:lnTo>
                    <a:pt x="314" y="263"/>
                  </a:lnTo>
                  <a:lnTo>
                    <a:pt x="291" y="247"/>
                  </a:lnTo>
                  <a:lnTo>
                    <a:pt x="290" y="216"/>
                  </a:lnTo>
                  <a:lnTo>
                    <a:pt x="291" y="200"/>
                  </a:lnTo>
                  <a:lnTo>
                    <a:pt x="300" y="187"/>
                  </a:lnTo>
                  <a:lnTo>
                    <a:pt x="322" y="198"/>
                  </a:lnTo>
                  <a:lnTo>
                    <a:pt x="325" y="191"/>
                  </a:lnTo>
                  <a:lnTo>
                    <a:pt x="306" y="173"/>
                  </a:lnTo>
                  <a:lnTo>
                    <a:pt x="285" y="138"/>
                  </a:lnTo>
                  <a:lnTo>
                    <a:pt x="277" y="136"/>
                  </a:lnTo>
                  <a:lnTo>
                    <a:pt x="262" y="119"/>
                  </a:lnTo>
                  <a:lnTo>
                    <a:pt x="245" y="85"/>
                  </a:lnTo>
                  <a:lnTo>
                    <a:pt x="208" y="39"/>
                  </a:lnTo>
                  <a:lnTo>
                    <a:pt x="196" y="53"/>
                  </a:lnTo>
                  <a:lnTo>
                    <a:pt x="163" y="46"/>
                  </a:lnTo>
                  <a:lnTo>
                    <a:pt x="152" y="22"/>
                  </a:lnTo>
                  <a:lnTo>
                    <a:pt x="139" y="25"/>
                  </a:lnTo>
                  <a:lnTo>
                    <a:pt x="122" y="20"/>
                  </a:lnTo>
                  <a:lnTo>
                    <a:pt x="95" y="32"/>
                  </a:lnTo>
                  <a:lnTo>
                    <a:pt x="23" y="0"/>
                  </a:lnTo>
                  <a:lnTo>
                    <a:pt x="4" y="15"/>
                  </a:lnTo>
                  <a:lnTo>
                    <a:pt x="13" y="15"/>
                  </a:lnTo>
                  <a:lnTo>
                    <a:pt x="17" y="27"/>
                  </a:lnTo>
                  <a:lnTo>
                    <a:pt x="0" y="32"/>
                  </a:lnTo>
                  <a:lnTo>
                    <a:pt x="24" y="45"/>
                  </a:lnTo>
                  <a:lnTo>
                    <a:pt x="25" y="66"/>
                  </a:lnTo>
                  <a:lnTo>
                    <a:pt x="11" y="78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03" name="Freeform 40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1600" y="2737"/>
              <a:ext cx="85" cy="45"/>
            </a:xfrm>
            <a:custGeom>
              <a:avLst/>
              <a:gdLst>
                <a:gd name="T0" fmla="*/ 391 w 575"/>
                <a:gd name="T1" fmla="*/ 10 h 290"/>
                <a:gd name="T2" fmla="*/ 342 w 575"/>
                <a:gd name="T3" fmla="*/ 0 h 290"/>
                <a:gd name="T4" fmla="*/ 258 w 575"/>
                <a:gd name="T5" fmla="*/ 51 h 290"/>
                <a:gd name="T6" fmla="*/ 179 w 575"/>
                <a:gd name="T7" fmla="*/ 96 h 290"/>
                <a:gd name="T8" fmla="*/ 129 w 575"/>
                <a:gd name="T9" fmla="*/ 67 h 290"/>
                <a:gd name="T10" fmla="*/ 90 w 575"/>
                <a:gd name="T11" fmla="*/ 77 h 290"/>
                <a:gd name="T12" fmla="*/ 73 w 575"/>
                <a:gd name="T13" fmla="*/ 49 h 290"/>
                <a:gd name="T14" fmla="*/ 42 w 575"/>
                <a:gd name="T15" fmla="*/ 5 h 290"/>
                <a:gd name="T16" fmla="*/ 17 w 575"/>
                <a:gd name="T17" fmla="*/ 1 h 290"/>
                <a:gd name="T18" fmla="*/ 7 w 575"/>
                <a:gd name="T19" fmla="*/ 30 h 290"/>
                <a:gd name="T20" fmla="*/ 31 w 575"/>
                <a:gd name="T21" fmla="*/ 77 h 290"/>
                <a:gd name="T22" fmla="*/ 19 w 575"/>
                <a:gd name="T23" fmla="*/ 126 h 290"/>
                <a:gd name="T24" fmla="*/ 12 w 575"/>
                <a:gd name="T25" fmla="*/ 154 h 290"/>
                <a:gd name="T26" fmla="*/ 19 w 575"/>
                <a:gd name="T27" fmla="*/ 161 h 290"/>
                <a:gd name="T28" fmla="*/ 58 w 575"/>
                <a:gd name="T29" fmla="*/ 154 h 290"/>
                <a:gd name="T30" fmla="*/ 121 w 575"/>
                <a:gd name="T31" fmla="*/ 175 h 290"/>
                <a:gd name="T32" fmla="*/ 140 w 575"/>
                <a:gd name="T33" fmla="*/ 214 h 290"/>
                <a:gd name="T34" fmla="*/ 183 w 575"/>
                <a:gd name="T35" fmla="*/ 200 h 290"/>
                <a:gd name="T36" fmla="*/ 209 w 575"/>
                <a:gd name="T37" fmla="*/ 262 h 290"/>
                <a:gd name="T38" fmla="*/ 212 w 575"/>
                <a:gd name="T39" fmla="*/ 278 h 290"/>
                <a:gd name="T40" fmla="*/ 253 w 575"/>
                <a:gd name="T41" fmla="*/ 274 h 290"/>
                <a:gd name="T42" fmla="*/ 282 w 575"/>
                <a:gd name="T43" fmla="*/ 256 h 290"/>
                <a:gd name="T44" fmla="*/ 295 w 575"/>
                <a:gd name="T45" fmla="*/ 244 h 290"/>
                <a:gd name="T46" fmla="*/ 254 w 575"/>
                <a:gd name="T47" fmla="*/ 186 h 290"/>
                <a:gd name="T48" fmla="*/ 266 w 575"/>
                <a:gd name="T49" fmla="*/ 149 h 290"/>
                <a:gd name="T50" fmla="*/ 321 w 575"/>
                <a:gd name="T51" fmla="*/ 121 h 290"/>
                <a:gd name="T52" fmla="*/ 321 w 575"/>
                <a:gd name="T53" fmla="*/ 89 h 290"/>
                <a:gd name="T54" fmla="*/ 359 w 575"/>
                <a:gd name="T55" fmla="*/ 70 h 290"/>
                <a:gd name="T56" fmla="*/ 404 w 575"/>
                <a:gd name="T57" fmla="*/ 82 h 290"/>
                <a:gd name="T58" fmla="*/ 416 w 575"/>
                <a:gd name="T59" fmla="*/ 91 h 290"/>
                <a:gd name="T60" fmla="*/ 430 w 575"/>
                <a:gd name="T61" fmla="*/ 98 h 290"/>
                <a:gd name="T62" fmla="*/ 441 w 575"/>
                <a:gd name="T63" fmla="*/ 126 h 290"/>
                <a:gd name="T64" fmla="*/ 470 w 575"/>
                <a:gd name="T65" fmla="*/ 144 h 290"/>
                <a:gd name="T66" fmla="*/ 489 w 575"/>
                <a:gd name="T67" fmla="*/ 152 h 290"/>
                <a:gd name="T68" fmla="*/ 510 w 575"/>
                <a:gd name="T69" fmla="*/ 172 h 290"/>
                <a:gd name="T70" fmla="*/ 465 w 575"/>
                <a:gd name="T71" fmla="*/ 170 h 290"/>
                <a:gd name="T72" fmla="*/ 463 w 575"/>
                <a:gd name="T73" fmla="*/ 205 h 290"/>
                <a:gd name="T74" fmla="*/ 511 w 575"/>
                <a:gd name="T75" fmla="*/ 249 h 290"/>
                <a:gd name="T76" fmla="*/ 518 w 575"/>
                <a:gd name="T77" fmla="*/ 221 h 290"/>
                <a:gd name="T78" fmla="*/ 531 w 575"/>
                <a:gd name="T79" fmla="*/ 242 h 290"/>
                <a:gd name="T80" fmla="*/ 561 w 575"/>
                <a:gd name="T81" fmla="*/ 198 h 290"/>
                <a:gd name="T82" fmla="*/ 552 w 575"/>
                <a:gd name="T83" fmla="*/ 140 h 290"/>
                <a:gd name="T84" fmla="*/ 539 w 575"/>
                <a:gd name="T85" fmla="*/ 115 h 290"/>
                <a:gd name="T86" fmla="*/ 493 w 575"/>
                <a:gd name="T87" fmla="*/ 49 h 290"/>
                <a:gd name="T88" fmla="*/ 429 w 575"/>
                <a:gd name="T89" fmla="*/ 17 h 29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575"/>
                <a:gd name="T136" fmla="*/ 0 h 290"/>
                <a:gd name="T137" fmla="*/ 575 w 575"/>
                <a:gd name="T138" fmla="*/ 290 h 29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575" h="290">
                  <a:moveTo>
                    <a:pt x="393" y="19"/>
                  </a:moveTo>
                  <a:lnTo>
                    <a:pt x="391" y="10"/>
                  </a:lnTo>
                  <a:lnTo>
                    <a:pt x="358" y="7"/>
                  </a:lnTo>
                  <a:lnTo>
                    <a:pt x="342" y="0"/>
                  </a:lnTo>
                  <a:lnTo>
                    <a:pt x="281" y="47"/>
                  </a:lnTo>
                  <a:lnTo>
                    <a:pt x="258" y="51"/>
                  </a:lnTo>
                  <a:lnTo>
                    <a:pt x="198" y="91"/>
                  </a:lnTo>
                  <a:lnTo>
                    <a:pt x="179" y="96"/>
                  </a:lnTo>
                  <a:lnTo>
                    <a:pt x="146" y="91"/>
                  </a:lnTo>
                  <a:lnTo>
                    <a:pt x="129" y="67"/>
                  </a:lnTo>
                  <a:lnTo>
                    <a:pt x="118" y="77"/>
                  </a:lnTo>
                  <a:lnTo>
                    <a:pt x="90" y="77"/>
                  </a:lnTo>
                  <a:lnTo>
                    <a:pt x="74" y="68"/>
                  </a:lnTo>
                  <a:lnTo>
                    <a:pt x="73" y="49"/>
                  </a:lnTo>
                  <a:lnTo>
                    <a:pt x="65" y="23"/>
                  </a:lnTo>
                  <a:lnTo>
                    <a:pt x="42" y="5"/>
                  </a:lnTo>
                  <a:lnTo>
                    <a:pt x="39" y="12"/>
                  </a:lnTo>
                  <a:lnTo>
                    <a:pt x="17" y="1"/>
                  </a:lnTo>
                  <a:lnTo>
                    <a:pt x="8" y="14"/>
                  </a:lnTo>
                  <a:lnTo>
                    <a:pt x="7" y="30"/>
                  </a:lnTo>
                  <a:lnTo>
                    <a:pt x="8" y="61"/>
                  </a:lnTo>
                  <a:lnTo>
                    <a:pt x="31" y="77"/>
                  </a:lnTo>
                  <a:lnTo>
                    <a:pt x="12" y="98"/>
                  </a:lnTo>
                  <a:lnTo>
                    <a:pt x="19" y="126"/>
                  </a:lnTo>
                  <a:lnTo>
                    <a:pt x="0" y="145"/>
                  </a:lnTo>
                  <a:lnTo>
                    <a:pt x="12" y="154"/>
                  </a:lnTo>
                  <a:lnTo>
                    <a:pt x="4" y="188"/>
                  </a:lnTo>
                  <a:lnTo>
                    <a:pt x="19" y="161"/>
                  </a:lnTo>
                  <a:lnTo>
                    <a:pt x="33" y="154"/>
                  </a:lnTo>
                  <a:lnTo>
                    <a:pt x="58" y="154"/>
                  </a:lnTo>
                  <a:lnTo>
                    <a:pt x="78" y="168"/>
                  </a:lnTo>
                  <a:lnTo>
                    <a:pt x="121" y="175"/>
                  </a:lnTo>
                  <a:lnTo>
                    <a:pt x="130" y="174"/>
                  </a:lnTo>
                  <a:lnTo>
                    <a:pt x="140" y="214"/>
                  </a:lnTo>
                  <a:lnTo>
                    <a:pt x="175" y="235"/>
                  </a:lnTo>
                  <a:lnTo>
                    <a:pt x="183" y="200"/>
                  </a:lnTo>
                  <a:lnTo>
                    <a:pt x="195" y="218"/>
                  </a:lnTo>
                  <a:lnTo>
                    <a:pt x="209" y="262"/>
                  </a:lnTo>
                  <a:lnTo>
                    <a:pt x="205" y="271"/>
                  </a:lnTo>
                  <a:lnTo>
                    <a:pt x="212" y="278"/>
                  </a:lnTo>
                  <a:lnTo>
                    <a:pt x="228" y="281"/>
                  </a:lnTo>
                  <a:lnTo>
                    <a:pt x="253" y="274"/>
                  </a:lnTo>
                  <a:lnTo>
                    <a:pt x="272" y="255"/>
                  </a:lnTo>
                  <a:lnTo>
                    <a:pt x="282" y="256"/>
                  </a:lnTo>
                  <a:lnTo>
                    <a:pt x="295" y="253"/>
                  </a:lnTo>
                  <a:lnTo>
                    <a:pt x="295" y="244"/>
                  </a:lnTo>
                  <a:lnTo>
                    <a:pt x="289" y="225"/>
                  </a:lnTo>
                  <a:lnTo>
                    <a:pt x="254" y="186"/>
                  </a:lnTo>
                  <a:lnTo>
                    <a:pt x="252" y="170"/>
                  </a:lnTo>
                  <a:lnTo>
                    <a:pt x="266" y="149"/>
                  </a:lnTo>
                  <a:lnTo>
                    <a:pt x="281" y="147"/>
                  </a:lnTo>
                  <a:lnTo>
                    <a:pt x="321" y="121"/>
                  </a:lnTo>
                  <a:lnTo>
                    <a:pt x="318" y="108"/>
                  </a:lnTo>
                  <a:lnTo>
                    <a:pt x="321" y="89"/>
                  </a:lnTo>
                  <a:lnTo>
                    <a:pt x="338" y="84"/>
                  </a:lnTo>
                  <a:lnTo>
                    <a:pt x="359" y="70"/>
                  </a:lnTo>
                  <a:lnTo>
                    <a:pt x="384" y="70"/>
                  </a:lnTo>
                  <a:lnTo>
                    <a:pt x="404" y="82"/>
                  </a:lnTo>
                  <a:lnTo>
                    <a:pt x="409" y="96"/>
                  </a:lnTo>
                  <a:lnTo>
                    <a:pt x="416" y="91"/>
                  </a:lnTo>
                  <a:lnTo>
                    <a:pt x="425" y="105"/>
                  </a:lnTo>
                  <a:lnTo>
                    <a:pt x="430" y="98"/>
                  </a:lnTo>
                  <a:lnTo>
                    <a:pt x="440" y="112"/>
                  </a:lnTo>
                  <a:lnTo>
                    <a:pt x="441" y="126"/>
                  </a:lnTo>
                  <a:lnTo>
                    <a:pt x="452" y="147"/>
                  </a:lnTo>
                  <a:lnTo>
                    <a:pt x="470" y="144"/>
                  </a:lnTo>
                  <a:lnTo>
                    <a:pt x="483" y="128"/>
                  </a:lnTo>
                  <a:lnTo>
                    <a:pt x="489" y="152"/>
                  </a:lnTo>
                  <a:lnTo>
                    <a:pt x="494" y="161"/>
                  </a:lnTo>
                  <a:lnTo>
                    <a:pt x="510" y="172"/>
                  </a:lnTo>
                  <a:lnTo>
                    <a:pt x="475" y="165"/>
                  </a:lnTo>
                  <a:lnTo>
                    <a:pt x="465" y="170"/>
                  </a:lnTo>
                  <a:lnTo>
                    <a:pt x="457" y="182"/>
                  </a:lnTo>
                  <a:lnTo>
                    <a:pt x="463" y="205"/>
                  </a:lnTo>
                  <a:lnTo>
                    <a:pt x="499" y="290"/>
                  </a:lnTo>
                  <a:lnTo>
                    <a:pt x="511" y="249"/>
                  </a:lnTo>
                  <a:lnTo>
                    <a:pt x="521" y="246"/>
                  </a:lnTo>
                  <a:lnTo>
                    <a:pt x="518" y="221"/>
                  </a:lnTo>
                  <a:lnTo>
                    <a:pt x="527" y="226"/>
                  </a:lnTo>
                  <a:lnTo>
                    <a:pt x="531" y="242"/>
                  </a:lnTo>
                  <a:lnTo>
                    <a:pt x="556" y="221"/>
                  </a:lnTo>
                  <a:lnTo>
                    <a:pt x="561" y="198"/>
                  </a:lnTo>
                  <a:lnTo>
                    <a:pt x="575" y="195"/>
                  </a:lnTo>
                  <a:lnTo>
                    <a:pt x="552" y="140"/>
                  </a:lnTo>
                  <a:lnTo>
                    <a:pt x="542" y="133"/>
                  </a:lnTo>
                  <a:lnTo>
                    <a:pt x="539" y="115"/>
                  </a:lnTo>
                  <a:lnTo>
                    <a:pt x="521" y="79"/>
                  </a:lnTo>
                  <a:lnTo>
                    <a:pt x="493" y="49"/>
                  </a:lnTo>
                  <a:lnTo>
                    <a:pt x="463" y="28"/>
                  </a:lnTo>
                  <a:lnTo>
                    <a:pt x="429" y="17"/>
                  </a:lnTo>
                  <a:lnTo>
                    <a:pt x="393" y="19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04" name="Freeform 41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1097" y="2320"/>
              <a:ext cx="445" cy="332"/>
            </a:xfrm>
            <a:custGeom>
              <a:avLst/>
              <a:gdLst>
                <a:gd name="T0" fmla="*/ 2637 w 2969"/>
                <a:gd name="T1" fmla="*/ 1445 h 2241"/>
                <a:gd name="T2" fmla="*/ 2576 w 2969"/>
                <a:gd name="T3" fmla="*/ 1615 h 2241"/>
                <a:gd name="T4" fmla="*/ 2521 w 2969"/>
                <a:gd name="T5" fmla="*/ 1749 h 2241"/>
                <a:gd name="T6" fmla="*/ 2215 w 2969"/>
                <a:gd name="T7" fmla="*/ 1793 h 2241"/>
                <a:gd name="T8" fmla="*/ 2020 w 2969"/>
                <a:gd name="T9" fmla="*/ 1594 h 2241"/>
                <a:gd name="T10" fmla="*/ 1897 w 2969"/>
                <a:gd name="T11" fmla="*/ 1067 h 2241"/>
                <a:gd name="T12" fmla="*/ 1902 w 2969"/>
                <a:gd name="T13" fmla="*/ 842 h 2241"/>
                <a:gd name="T14" fmla="*/ 1773 w 2969"/>
                <a:gd name="T15" fmla="*/ 794 h 2241"/>
                <a:gd name="T16" fmla="*/ 1713 w 2969"/>
                <a:gd name="T17" fmla="*/ 647 h 2241"/>
                <a:gd name="T18" fmla="*/ 1549 w 2969"/>
                <a:gd name="T19" fmla="*/ 391 h 2241"/>
                <a:gd name="T20" fmla="*/ 1388 w 2969"/>
                <a:gd name="T21" fmla="*/ 456 h 2241"/>
                <a:gd name="T22" fmla="*/ 1237 w 2969"/>
                <a:gd name="T23" fmla="*/ 393 h 2241"/>
                <a:gd name="T24" fmla="*/ 1053 w 2969"/>
                <a:gd name="T25" fmla="*/ 128 h 2241"/>
                <a:gd name="T26" fmla="*/ 598 w 2969"/>
                <a:gd name="T27" fmla="*/ 172 h 2241"/>
                <a:gd name="T28" fmla="*/ 0 w 2969"/>
                <a:gd name="T29" fmla="*/ 14 h 2241"/>
                <a:gd name="T30" fmla="*/ 47 w 2969"/>
                <a:gd name="T31" fmla="*/ 135 h 2241"/>
                <a:gd name="T32" fmla="*/ 110 w 2969"/>
                <a:gd name="T33" fmla="*/ 296 h 2241"/>
                <a:gd name="T34" fmla="*/ 216 w 2969"/>
                <a:gd name="T35" fmla="*/ 428 h 2241"/>
                <a:gd name="T36" fmla="*/ 292 w 2969"/>
                <a:gd name="T37" fmla="*/ 606 h 2241"/>
                <a:gd name="T38" fmla="*/ 297 w 2969"/>
                <a:gd name="T39" fmla="*/ 707 h 2241"/>
                <a:gd name="T40" fmla="*/ 435 w 2969"/>
                <a:gd name="T41" fmla="*/ 799 h 2241"/>
                <a:gd name="T42" fmla="*/ 502 w 2969"/>
                <a:gd name="T43" fmla="*/ 914 h 2241"/>
                <a:gd name="T44" fmla="*/ 628 w 2969"/>
                <a:gd name="T45" fmla="*/ 1119 h 2241"/>
                <a:gd name="T46" fmla="*/ 715 w 2969"/>
                <a:gd name="T47" fmla="*/ 1233 h 2241"/>
                <a:gd name="T48" fmla="*/ 742 w 2969"/>
                <a:gd name="T49" fmla="*/ 1145 h 2241"/>
                <a:gd name="T50" fmla="*/ 657 w 2969"/>
                <a:gd name="T51" fmla="*/ 1076 h 2241"/>
                <a:gd name="T52" fmla="*/ 559 w 2969"/>
                <a:gd name="T53" fmla="*/ 775 h 2241"/>
                <a:gd name="T54" fmla="*/ 490 w 2969"/>
                <a:gd name="T55" fmla="*/ 680 h 2241"/>
                <a:gd name="T56" fmla="*/ 437 w 2969"/>
                <a:gd name="T57" fmla="*/ 631 h 2241"/>
                <a:gd name="T58" fmla="*/ 351 w 2969"/>
                <a:gd name="T59" fmla="*/ 454 h 2241"/>
                <a:gd name="T60" fmla="*/ 245 w 2969"/>
                <a:gd name="T61" fmla="*/ 322 h 2241"/>
                <a:gd name="T62" fmla="*/ 231 w 2969"/>
                <a:gd name="T63" fmla="*/ 107 h 2241"/>
                <a:gd name="T64" fmla="*/ 343 w 2969"/>
                <a:gd name="T65" fmla="*/ 142 h 2241"/>
                <a:gd name="T66" fmla="*/ 408 w 2969"/>
                <a:gd name="T67" fmla="*/ 267 h 2241"/>
                <a:gd name="T68" fmla="*/ 580 w 2969"/>
                <a:gd name="T69" fmla="*/ 580 h 2241"/>
                <a:gd name="T70" fmla="*/ 646 w 2969"/>
                <a:gd name="T71" fmla="*/ 661 h 2241"/>
                <a:gd name="T72" fmla="*/ 715 w 2969"/>
                <a:gd name="T73" fmla="*/ 733 h 2241"/>
                <a:gd name="T74" fmla="*/ 770 w 2969"/>
                <a:gd name="T75" fmla="*/ 850 h 2241"/>
                <a:gd name="T76" fmla="*/ 817 w 2969"/>
                <a:gd name="T77" fmla="*/ 893 h 2241"/>
                <a:gd name="T78" fmla="*/ 899 w 2969"/>
                <a:gd name="T79" fmla="*/ 972 h 2241"/>
                <a:gd name="T80" fmla="*/ 1047 w 2969"/>
                <a:gd name="T81" fmla="*/ 1173 h 2241"/>
                <a:gd name="T82" fmla="*/ 1133 w 2969"/>
                <a:gd name="T83" fmla="*/ 1346 h 2241"/>
                <a:gd name="T84" fmla="*/ 1165 w 2969"/>
                <a:gd name="T85" fmla="*/ 1502 h 2241"/>
                <a:gd name="T86" fmla="*/ 1128 w 2969"/>
                <a:gd name="T87" fmla="*/ 1541 h 2241"/>
                <a:gd name="T88" fmla="*/ 1341 w 2969"/>
                <a:gd name="T89" fmla="*/ 1785 h 2241"/>
                <a:gd name="T90" fmla="*/ 1644 w 2969"/>
                <a:gd name="T91" fmla="*/ 1940 h 2241"/>
                <a:gd name="T92" fmla="*/ 1892 w 2969"/>
                <a:gd name="T93" fmla="*/ 2060 h 2241"/>
                <a:gd name="T94" fmla="*/ 2162 w 2969"/>
                <a:gd name="T95" fmla="*/ 2031 h 2241"/>
                <a:gd name="T96" fmla="*/ 2292 w 2969"/>
                <a:gd name="T97" fmla="*/ 2076 h 2241"/>
                <a:gd name="T98" fmla="*/ 2493 w 2969"/>
                <a:gd name="T99" fmla="*/ 2054 h 2241"/>
                <a:gd name="T100" fmla="*/ 2560 w 2969"/>
                <a:gd name="T101" fmla="*/ 1956 h 2241"/>
                <a:gd name="T102" fmla="*/ 2748 w 2969"/>
                <a:gd name="T103" fmla="*/ 1846 h 2241"/>
                <a:gd name="T104" fmla="*/ 2811 w 2969"/>
                <a:gd name="T105" fmla="*/ 1767 h 2241"/>
                <a:gd name="T106" fmla="*/ 2858 w 2969"/>
                <a:gd name="T107" fmla="*/ 1751 h 2241"/>
                <a:gd name="T108" fmla="*/ 2883 w 2969"/>
                <a:gd name="T109" fmla="*/ 1615 h 2241"/>
                <a:gd name="T110" fmla="*/ 2965 w 2969"/>
                <a:gd name="T111" fmla="*/ 1464 h 2241"/>
                <a:gd name="T112" fmla="*/ 2902 w 2969"/>
                <a:gd name="T113" fmla="*/ 1403 h 2241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969"/>
                <a:gd name="T172" fmla="*/ 0 h 2241"/>
                <a:gd name="T173" fmla="*/ 2969 w 2969"/>
                <a:gd name="T174" fmla="*/ 2241 h 2241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969" h="2241">
                  <a:moveTo>
                    <a:pt x="2803" y="1394"/>
                  </a:moveTo>
                  <a:lnTo>
                    <a:pt x="2758" y="1413"/>
                  </a:lnTo>
                  <a:lnTo>
                    <a:pt x="2679" y="1431"/>
                  </a:lnTo>
                  <a:lnTo>
                    <a:pt x="2645" y="1443"/>
                  </a:lnTo>
                  <a:lnTo>
                    <a:pt x="2637" y="1445"/>
                  </a:lnTo>
                  <a:lnTo>
                    <a:pt x="2611" y="1463"/>
                  </a:lnTo>
                  <a:lnTo>
                    <a:pt x="2599" y="1502"/>
                  </a:lnTo>
                  <a:lnTo>
                    <a:pt x="2595" y="1566"/>
                  </a:lnTo>
                  <a:lnTo>
                    <a:pt x="2599" y="1591"/>
                  </a:lnTo>
                  <a:lnTo>
                    <a:pt x="2576" y="1615"/>
                  </a:lnTo>
                  <a:lnTo>
                    <a:pt x="2574" y="1659"/>
                  </a:lnTo>
                  <a:lnTo>
                    <a:pt x="2546" y="1693"/>
                  </a:lnTo>
                  <a:lnTo>
                    <a:pt x="2498" y="1726"/>
                  </a:lnTo>
                  <a:lnTo>
                    <a:pt x="2517" y="1737"/>
                  </a:lnTo>
                  <a:lnTo>
                    <a:pt x="2521" y="1749"/>
                  </a:lnTo>
                  <a:lnTo>
                    <a:pt x="2495" y="1776"/>
                  </a:lnTo>
                  <a:lnTo>
                    <a:pt x="2458" y="1763"/>
                  </a:lnTo>
                  <a:lnTo>
                    <a:pt x="2460" y="1735"/>
                  </a:lnTo>
                  <a:lnTo>
                    <a:pt x="2249" y="1797"/>
                  </a:lnTo>
                  <a:lnTo>
                    <a:pt x="2215" y="1793"/>
                  </a:lnTo>
                  <a:lnTo>
                    <a:pt x="2167" y="1742"/>
                  </a:lnTo>
                  <a:lnTo>
                    <a:pt x="2141" y="1733"/>
                  </a:lnTo>
                  <a:lnTo>
                    <a:pt x="2092" y="1730"/>
                  </a:lnTo>
                  <a:lnTo>
                    <a:pt x="2076" y="1714"/>
                  </a:lnTo>
                  <a:lnTo>
                    <a:pt x="2020" y="1594"/>
                  </a:lnTo>
                  <a:lnTo>
                    <a:pt x="1999" y="1566"/>
                  </a:lnTo>
                  <a:lnTo>
                    <a:pt x="1991" y="1541"/>
                  </a:lnTo>
                  <a:lnTo>
                    <a:pt x="1929" y="1440"/>
                  </a:lnTo>
                  <a:lnTo>
                    <a:pt x="1892" y="1298"/>
                  </a:lnTo>
                  <a:lnTo>
                    <a:pt x="1897" y="1067"/>
                  </a:lnTo>
                  <a:lnTo>
                    <a:pt x="1914" y="962"/>
                  </a:lnTo>
                  <a:lnTo>
                    <a:pt x="1938" y="916"/>
                  </a:lnTo>
                  <a:lnTo>
                    <a:pt x="1954" y="870"/>
                  </a:lnTo>
                  <a:lnTo>
                    <a:pt x="1938" y="863"/>
                  </a:lnTo>
                  <a:lnTo>
                    <a:pt x="1902" y="842"/>
                  </a:lnTo>
                  <a:lnTo>
                    <a:pt x="1889" y="842"/>
                  </a:lnTo>
                  <a:lnTo>
                    <a:pt x="1871" y="849"/>
                  </a:lnTo>
                  <a:lnTo>
                    <a:pt x="1859" y="843"/>
                  </a:lnTo>
                  <a:lnTo>
                    <a:pt x="1814" y="812"/>
                  </a:lnTo>
                  <a:lnTo>
                    <a:pt x="1773" y="794"/>
                  </a:lnTo>
                  <a:lnTo>
                    <a:pt x="1757" y="774"/>
                  </a:lnTo>
                  <a:lnTo>
                    <a:pt x="1742" y="740"/>
                  </a:lnTo>
                  <a:lnTo>
                    <a:pt x="1728" y="687"/>
                  </a:lnTo>
                  <a:lnTo>
                    <a:pt x="1723" y="661"/>
                  </a:lnTo>
                  <a:lnTo>
                    <a:pt x="1713" y="647"/>
                  </a:lnTo>
                  <a:lnTo>
                    <a:pt x="1683" y="613"/>
                  </a:lnTo>
                  <a:lnTo>
                    <a:pt x="1646" y="555"/>
                  </a:lnTo>
                  <a:lnTo>
                    <a:pt x="1584" y="426"/>
                  </a:lnTo>
                  <a:lnTo>
                    <a:pt x="1568" y="405"/>
                  </a:lnTo>
                  <a:lnTo>
                    <a:pt x="1549" y="391"/>
                  </a:lnTo>
                  <a:lnTo>
                    <a:pt x="1516" y="371"/>
                  </a:lnTo>
                  <a:lnTo>
                    <a:pt x="1493" y="366"/>
                  </a:lnTo>
                  <a:lnTo>
                    <a:pt x="1466" y="368"/>
                  </a:lnTo>
                  <a:lnTo>
                    <a:pt x="1444" y="380"/>
                  </a:lnTo>
                  <a:lnTo>
                    <a:pt x="1388" y="456"/>
                  </a:lnTo>
                  <a:lnTo>
                    <a:pt x="1370" y="465"/>
                  </a:lnTo>
                  <a:lnTo>
                    <a:pt x="1348" y="463"/>
                  </a:lnTo>
                  <a:lnTo>
                    <a:pt x="1333" y="460"/>
                  </a:lnTo>
                  <a:lnTo>
                    <a:pt x="1284" y="431"/>
                  </a:lnTo>
                  <a:lnTo>
                    <a:pt x="1237" y="393"/>
                  </a:lnTo>
                  <a:lnTo>
                    <a:pt x="1216" y="363"/>
                  </a:lnTo>
                  <a:lnTo>
                    <a:pt x="1191" y="274"/>
                  </a:lnTo>
                  <a:lnTo>
                    <a:pt x="1182" y="260"/>
                  </a:lnTo>
                  <a:lnTo>
                    <a:pt x="1079" y="167"/>
                  </a:lnTo>
                  <a:lnTo>
                    <a:pt x="1053" y="128"/>
                  </a:lnTo>
                  <a:lnTo>
                    <a:pt x="1042" y="121"/>
                  </a:lnTo>
                  <a:lnTo>
                    <a:pt x="878" y="117"/>
                  </a:lnTo>
                  <a:lnTo>
                    <a:pt x="874" y="170"/>
                  </a:lnTo>
                  <a:lnTo>
                    <a:pt x="865" y="176"/>
                  </a:lnTo>
                  <a:lnTo>
                    <a:pt x="598" y="172"/>
                  </a:lnTo>
                  <a:lnTo>
                    <a:pt x="583" y="169"/>
                  </a:lnTo>
                  <a:lnTo>
                    <a:pt x="251" y="26"/>
                  </a:lnTo>
                  <a:lnTo>
                    <a:pt x="239" y="18"/>
                  </a:lnTo>
                  <a:lnTo>
                    <a:pt x="226" y="0"/>
                  </a:lnTo>
                  <a:lnTo>
                    <a:pt x="0" y="14"/>
                  </a:lnTo>
                  <a:lnTo>
                    <a:pt x="11" y="42"/>
                  </a:lnTo>
                  <a:lnTo>
                    <a:pt x="23" y="62"/>
                  </a:lnTo>
                  <a:lnTo>
                    <a:pt x="56" y="98"/>
                  </a:lnTo>
                  <a:lnTo>
                    <a:pt x="47" y="121"/>
                  </a:lnTo>
                  <a:lnTo>
                    <a:pt x="47" y="135"/>
                  </a:lnTo>
                  <a:lnTo>
                    <a:pt x="65" y="176"/>
                  </a:lnTo>
                  <a:lnTo>
                    <a:pt x="93" y="220"/>
                  </a:lnTo>
                  <a:lnTo>
                    <a:pt x="102" y="241"/>
                  </a:lnTo>
                  <a:lnTo>
                    <a:pt x="104" y="276"/>
                  </a:lnTo>
                  <a:lnTo>
                    <a:pt x="110" y="296"/>
                  </a:lnTo>
                  <a:lnTo>
                    <a:pt x="129" y="304"/>
                  </a:lnTo>
                  <a:lnTo>
                    <a:pt x="134" y="313"/>
                  </a:lnTo>
                  <a:lnTo>
                    <a:pt x="154" y="380"/>
                  </a:lnTo>
                  <a:lnTo>
                    <a:pt x="173" y="400"/>
                  </a:lnTo>
                  <a:lnTo>
                    <a:pt x="216" y="428"/>
                  </a:lnTo>
                  <a:lnTo>
                    <a:pt x="285" y="504"/>
                  </a:lnTo>
                  <a:lnTo>
                    <a:pt x="306" y="541"/>
                  </a:lnTo>
                  <a:lnTo>
                    <a:pt x="306" y="551"/>
                  </a:lnTo>
                  <a:lnTo>
                    <a:pt x="301" y="587"/>
                  </a:lnTo>
                  <a:lnTo>
                    <a:pt x="292" y="606"/>
                  </a:lnTo>
                  <a:lnTo>
                    <a:pt x="265" y="622"/>
                  </a:lnTo>
                  <a:lnTo>
                    <a:pt x="239" y="620"/>
                  </a:lnTo>
                  <a:lnTo>
                    <a:pt x="210" y="611"/>
                  </a:lnTo>
                  <a:lnTo>
                    <a:pt x="265" y="689"/>
                  </a:lnTo>
                  <a:lnTo>
                    <a:pt x="297" y="707"/>
                  </a:lnTo>
                  <a:lnTo>
                    <a:pt x="354" y="749"/>
                  </a:lnTo>
                  <a:lnTo>
                    <a:pt x="370" y="751"/>
                  </a:lnTo>
                  <a:lnTo>
                    <a:pt x="383" y="744"/>
                  </a:lnTo>
                  <a:lnTo>
                    <a:pt x="412" y="782"/>
                  </a:lnTo>
                  <a:lnTo>
                    <a:pt x="435" y="799"/>
                  </a:lnTo>
                  <a:lnTo>
                    <a:pt x="454" y="806"/>
                  </a:lnTo>
                  <a:lnTo>
                    <a:pt x="468" y="822"/>
                  </a:lnTo>
                  <a:lnTo>
                    <a:pt x="480" y="843"/>
                  </a:lnTo>
                  <a:lnTo>
                    <a:pt x="500" y="900"/>
                  </a:lnTo>
                  <a:lnTo>
                    <a:pt x="502" y="914"/>
                  </a:lnTo>
                  <a:lnTo>
                    <a:pt x="493" y="969"/>
                  </a:lnTo>
                  <a:lnTo>
                    <a:pt x="498" y="985"/>
                  </a:lnTo>
                  <a:lnTo>
                    <a:pt x="568" y="1064"/>
                  </a:lnTo>
                  <a:lnTo>
                    <a:pt x="605" y="1092"/>
                  </a:lnTo>
                  <a:lnTo>
                    <a:pt x="628" y="1119"/>
                  </a:lnTo>
                  <a:lnTo>
                    <a:pt x="656" y="1136"/>
                  </a:lnTo>
                  <a:lnTo>
                    <a:pt x="682" y="1168"/>
                  </a:lnTo>
                  <a:lnTo>
                    <a:pt x="693" y="1209"/>
                  </a:lnTo>
                  <a:lnTo>
                    <a:pt x="705" y="1231"/>
                  </a:lnTo>
                  <a:lnTo>
                    <a:pt x="715" y="1233"/>
                  </a:lnTo>
                  <a:lnTo>
                    <a:pt x="746" y="1201"/>
                  </a:lnTo>
                  <a:lnTo>
                    <a:pt x="752" y="1194"/>
                  </a:lnTo>
                  <a:lnTo>
                    <a:pt x="760" y="1164"/>
                  </a:lnTo>
                  <a:lnTo>
                    <a:pt x="755" y="1147"/>
                  </a:lnTo>
                  <a:lnTo>
                    <a:pt x="742" y="1145"/>
                  </a:lnTo>
                  <a:lnTo>
                    <a:pt x="722" y="1131"/>
                  </a:lnTo>
                  <a:lnTo>
                    <a:pt x="710" y="1099"/>
                  </a:lnTo>
                  <a:lnTo>
                    <a:pt x="684" y="1055"/>
                  </a:lnTo>
                  <a:lnTo>
                    <a:pt x="673" y="1066"/>
                  </a:lnTo>
                  <a:lnTo>
                    <a:pt x="657" y="1076"/>
                  </a:lnTo>
                  <a:lnTo>
                    <a:pt x="641" y="1067"/>
                  </a:lnTo>
                  <a:lnTo>
                    <a:pt x="629" y="1048"/>
                  </a:lnTo>
                  <a:lnTo>
                    <a:pt x="626" y="985"/>
                  </a:lnTo>
                  <a:lnTo>
                    <a:pt x="574" y="859"/>
                  </a:lnTo>
                  <a:lnTo>
                    <a:pt x="559" y="775"/>
                  </a:lnTo>
                  <a:lnTo>
                    <a:pt x="547" y="749"/>
                  </a:lnTo>
                  <a:lnTo>
                    <a:pt x="538" y="758"/>
                  </a:lnTo>
                  <a:lnTo>
                    <a:pt x="517" y="761"/>
                  </a:lnTo>
                  <a:lnTo>
                    <a:pt x="497" y="717"/>
                  </a:lnTo>
                  <a:lnTo>
                    <a:pt x="490" y="680"/>
                  </a:lnTo>
                  <a:lnTo>
                    <a:pt x="481" y="655"/>
                  </a:lnTo>
                  <a:lnTo>
                    <a:pt x="474" y="652"/>
                  </a:lnTo>
                  <a:lnTo>
                    <a:pt x="453" y="648"/>
                  </a:lnTo>
                  <a:lnTo>
                    <a:pt x="442" y="640"/>
                  </a:lnTo>
                  <a:lnTo>
                    <a:pt x="437" y="631"/>
                  </a:lnTo>
                  <a:lnTo>
                    <a:pt x="423" y="551"/>
                  </a:lnTo>
                  <a:lnTo>
                    <a:pt x="412" y="543"/>
                  </a:lnTo>
                  <a:lnTo>
                    <a:pt x="398" y="539"/>
                  </a:lnTo>
                  <a:lnTo>
                    <a:pt x="379" y="523"/>
                  </a:lnTo>
                  <a:lnTo>
                    <a:pt x="351" y="454"/>
                  </a:lnTo>
                  <a:lnTo>
                    <a:pt x="330" y="416"/>
                  </a:lnTo>
                  <a:lnTo>
                    <a:pt x="302" y="386"/>
                  </a:lnTo>
                  <a:lnTo>
                    <a:pt x="275" y="370"/>
                  </a:lnTo>
                  <a:lnTo>
                    <a:pt x="268" y="361"/>
                  </a:lnTo>
                  <a:lnTo>
                    <a:pt x="245" y="322"/>
                  </a:lnTo>
                  <a:lnTo>
                    <a:pt x="240" y="232"/>
                  </a:lnTo>
                  <a:lnTo>
                    <a:pt x="216" y="195"/>
                  </a:lnTo>
                  <a:lnTo>
                    <a:pt x="215" y="190"/>
                  </a:lnTo>
                  <a:lnTo>
                    <a:pt x="216" y="165"/>
                  </a:lnTo>
                  <a:lnTo>
                    <a:pt x="231" y="107"/>
                  </a:lnTo>
                  <a:lnTo>
                    <a:pt x="293" y="144"/>
                  </a:lnTo>
                  <a:lnTo>
                    <a:pt x="305" y="142"/>
                  </a:lnTo>
                  <a:lnTo>
                    <a:pt x="317" y="123"/>
                  </a:lnTo>
                  <a:lnTo>
                    <a:pt x="337" y="133"/>
                  </a:lnTo>
                  <a:lnTo>
                    <a:pt x="343" y="142"/>
                  </a:lnTo>
                  <a:lnTo>
                    <a:pt x="346" y="169"/>
                  </a:lnTo>
                  <a:lnTo>
                    <a:pt x="380" y="179"/>
                  </a:lnTo>
                  <a:lnTo>
                    <a:pt x="405" y="193"/>
                  </a:lnTo>
                  <a:lnTo>
                    <a:pt x="402" y="241"/>
                  </a:lnTo>
                  <a:lnTo>
                    <a:pt x="408" y="267"/>
                  </a:lnTo>
                  <a:lnTo>
                    <a:pt x="420" y="287"/>
                  </a:lnTo>
                  <a:lnTo>
                    <a:pt x="436" y="326"/>
                  </a:lnTo>
                  <a:lnTo>
                    <a:pt x="444" y="350"/>
                  </a:lnTo>
                  <a:lnTo>
                    <a:pt x="538" y="530"/>
                  </a:lnTo>
                  <a:lnTo>
                    <a:pt x="580" y="580"/>
                  </a:lnTo>
                  <a:lnTo>
                    <a:pt x="601" y="594"/>
                  </a:lnTo>
                  <a:lnTo>
                    <a:pt x="620" y="599"/>
                  </a:lnTo>
                  <a:lnTo>
                    <a:pt x="645" y="611"/>
                  </a:lnTo>
                  <a:lnTo>
                    <a:pt x="653" y="624"/>
                  </a:lnTo>
                  <a:lnTo>
                    <a:pt x="646" y="661"/>
                  </a:lnTo>
                  <a:lnTo>
                    <a:pt x="653" y="677"/>
                  </a:lnTo>
                  <a:lnTo>
                    <a:pt x="668" y="692"/>
                  </a:lnTo>
                  <a:lnTo>
                    <a:pt x="694" y="701"/>
                  </a:lnTo>
                  <a:lnTo>
                    <a:pt x="709" y="714"/>
                  </a:lnTo>
                  <a:lnTo>
                    <a:pt x="715" y="733"/>
                  </a:lnTo>
                  <a:lnTo>
                    <a:pt x="731" y="768"/>
                  </a:lnTo>
                  <a:lnTo>
                    <a:pt x="751" y="754"/>
                  </a:lnTo>
                  <a:lnTo>
                    <a:pt x="784" y="790"/>
                  </a:lnTo>
                  <a:lnTo>
                    <a:pt x="789" y="810"/>
                  </a:lnTo>
                  <a:lnTo>
                    <a:pt x="770" y="850"/>
                  </a:lnTo>
                  <a:lnTo>
                    <a:pt x="770" y="870"/>
                  </a:lnTo>
                  <a:lnTo>
                    <a:pt x="777" y="889"/>
                  </a:lnTo>
                  <a:lnTo>
                    <a:pt x="788" y="898"/>
                  </a:lnTo>
                  <a:lnTo>
                    <a:pt x="805" y="893"/>
                  </a:lnTo>
                  <a:lnTo>
                    <a:pt x="817" y="893"/>
                  </a:lnTo>
                  <a:lnTo>
                    <a:pt x="833" y="923"/>
                  </a:lnTo>
                  <a:lnTo>
                    <a:pt x="852" y="940"/>
                  </a:lnTo>
                  <a:lnTo>
                    <a:pt x="878" y="951"/>
                  </a:lnTo>
                  <a:lnTo>
                    <a:pt x="893" y="962"/>
                  </a:lnTo>
                  <a:lnTo>
                    <a:pt x="899" y="972"/>
                  </a:lnTo>
                  <a:lnTo>
                    <a:pt x="902" y="999"/>
                  </a:lnTo>
                  <a:lnTo>
                    <a:pt x="910" y="1014"/>
                  </a:lnTo>
                  <a:lnTo>
                    <a:pt x="960" y="1057"/>
                  </a:lnTo>
                  <a:lnTo>
                    <a:pt x="1022" y="1145"/>
                  </a:lnTo>
                  <a:lnTo>
                    <a:pt x="1047" y="1173"/>
                  </a:lnTo>
                  <a:lnTo>
                    <a:pt x="1112" y="1270"/>
                  </a:lnTo>
                  <a:lnTo>
                    <a:pt x="1142" y="1306"/>
                  </a:lnTo>
                  <a:lnTo>
                    <a:pt x="1145" y="1320"/>
                  </a:lnTo>
                  <a:lnTo>
                    <a:pt x="1139" y="1328"/>
                  </a:lnTo>
                  <a:lnTo>
                    <a:pt x="1133" y="1346"/>
                  </a:lnTo>
                  <a:lnTo>
                    <a:pt x="1165" y="1399"/>
                  </a:lnTo>
                  <a:lnTo>
                    <a:pt x="1173" y="1424"/>
                  </a:lnTo>
                  <a:lnTo>
                    <a:pt x="1172" y="1445"/>
                  </a:lnTo>
                  <a:lnTo>
                    <a:pt x="1152" y="1482"/>
                  </a:lnTo>
                  <a:lnTo>
                    <a:pt x="1165" y="1502"/>
                  </a:lnTo>
                  <a:lnTo>
                    <a:pt x="1164" y="1513"/>
                  </a:lnTo>
                  <a:lnTo>
                    <a:pt x="1157" y="1522"/>
                  </a:lnTo>
                  <a:lnTo>
                    <a:pt x="1135" y="1527"/>
                  </a:lnTo>
                  <a:lnTo>
                    <a:pt x="1127" y="1536"/>
                  </a:lnTo>
                  <a:lnTo>
                    <a:pt x="1128" y="1541"/>
                  </a:lnTo>
                  <a:lnTo>
                    <a:pt x="1177" y="1626"/>
                  </a:lnTo>
                  <a:lnTo>
                    <a:pt x="1200" y="1652"/>
                  </a:lnTo>
                  <a:lnTo>
                    <a:pt x="1274" y="1698"/>
                  </a:lnTo>
                  <a:lnTo>
                    <a:pt x="1295" y="1721"/>
                  </a:lnTo>
                  <a:lnTo>
                    <a:pt x="1341" y="1785"/>
                  </a:lnTo>
                  <a:lnTo>
                    <a:pt x="1454" y="1823"/>
                  </a:lnTo>
                  <a:lnTo>
                    <a:pt x="1480" y="1820"/>
                  </a:lnTo>
                  <a:lnTo>
                    <a:pt x="1491" y="1823"/>
                  </a:lnTo>
                  <a:lnTo>
                    <a:pt x="1540" y="1878"/>
                  </a:lnTo>
                  <a:lnTo>
                    <a:pt x="1644" y="1940"/>
                  </a:lnTo>
                  <a:lnTo>
                    <a:pt x="1687" y="1959"/>
                  </a:lnTo>
                  <a:lnTo>
                    <a:pt x="1763" y="1980"/>
                  </a:lnTo>
                  <a:lnTo>
                    <a:pt x="1797" y="1994"/>
                  </a:lnTo>
                  <a:lnTo>
                    <a:pt x="1867" y="2046"/>
                  </a:lnTo>
                  <a:lnTo>
                    <a:pt x="1892" y="2060"/>
                  </a:lnTo>
                  <a:lnTo>
                    <a:pt x="1950" y="2070"/>
                  </a:lnTo>
                  <a:lnTo>
                    <a:pt x="2003" y="2093"/>
                  </a:lnTo>
                  <a:lnTo>
                    <a:pt x="2044" y="2097"/>
                  </a:lnTo>
                  <a:lnTo>
                    <a:pt x="2077" y="2083"/>
                  </a:lnTo>
                  <a:lnTo>
                    <a:pt x="2162" y="2031"/>
                  </a:lnTo>
                  <a:lnTo>
                    <a:pt x="2191" y="2028"/>
                  </a:lnTo>
                  <a:lnTo>
                    <a:pt x="2237" y="2040"/>
                  </a:lnTo>
                  <a:lnTo>
                    <a:pt x="2265" y="2053"/>
                  </a:lnTo>
                  <a:lnTo>
                    <a:pt x="2269" y="2056"/>
                  </a:lnTo>
                  <a:lnTo>
                    <a:pt x="2292" y="2076"/>
                  </a:lnTo>
                  <a:lnTo>
                    <a:pt x="2453" y="2241"/>
                  </a:lnTo>
                  <a:lnTo>
                    <a:pt x="2449" y="2187"/>
                  </a:lnTo>
                  <a:lnTo>
                    <a:pt x="2458" y="2174"/>
                  </a:lnTo>
                  <a:lnTo>
                    <a:pt x="2445" y="2151"/>
                  </a:lnTo>
                  <a:lnTo>
                    <a:pt x="2493" y="2054"/>
                  </a:lnTo>
                  <a:lnTo>
                    <a:pt x="2617" y="2054"/>
                  </a:lnTo>
                  <a:lnTo>
                    <a:pt x="2628" y="2017"/>
                  </a:lnTo>
                  <a:lnTo>
                    <a:pt x="2604" y="2007"/>
                  </a:lnTo>
                  <a:lnTo>
                    <a:pt x="2587" y="1968"/>
                  </a:lnTo>
                  <a:lnTo>
                    <a:pt x="2560" y="1956"/>
                  </a:lnTo>
                  <a:lnTo>
                    <a:pt x="2538" y="1927"/>
                  </a:lnTo>
                  <a:lnTo>
                    <a:pt x="2521" y="1915"/>
                  </a:lnTo>
                  <a:lnTo>
                    <a:pt x="2566" y="1913"/>
                  </a:lnTo>
                  <a:lnTo>
                    <a:pt x="2567" y="1846"/>
                  </a:lnTo>
                  <a:lnTo>
                    <a:pt x="2748" y="1846"/>
                  </a:lnTo>
                  <a:lnTo>
                    <a:pt x="2747" y="1829"/>
                  </a:lnTo>
                  <a:lnTo>
                    <a:pt x="2759" y="1823"/>
                  </a:lnTo>
                  <a:lnTo>
                    <a:pt x="2777" y="1839"/>
                  </a:lnTo>
                  <a:lnTo>
                    <a:pt x="2804" y="1792"/>
                  </a:lnTo>
                  <a:lnTo>
                    <a:pt x="2811" y="1767"/>
                  </a:lnTo>
                  <a:lnTo>
                    <a:pt x="2830" y="1767"/>
                  </a:lnTo>
                  <a:lnTo>
                    <a:pt x="2830" y="1737"/>
                  </a:lnTo>
                  <a:lnTo>
                    <a:pt x="2848" y="1719"/>
                  </a:lnTo>
                  <a:lnTo>
                    <a:pt x="2851" y="1726"/>
                  </a:lnTo>
                  <a:lnTo>
                    <a:pt x="2858" y="1751"/>
                  </a:lnTo>
                  <a:lnTo>
                    <a:pt x="2873" y="1781"/>
                  </a:lnTo>
                  <a:lnTo>
                    <a:pt x="2897" y="1636"/>
                  </a:lnTo>
                  <a:lnTo>
                    <a:pt x="2882" y="1643"/>
                  </a:lnTo>
                  <a:lnTo>
                    <a:pt x="2875" y="1635"/>
                  </a:lnTo>
                  <a:lnTo>
                    <a:pt x="2883" y="1615"/>
                  </a:lnTo>
                  <a:lnTo>
                    <a:pt x="2895" y="1599"/>
                  </a:lnTo>
                  <a:lnTo>
                    <a:pt x="2895" y="1562"/>
                  </a:lnTo>
                  <a:lnTo>
                    <a:pt x="2910" y="1538"/>
                  </a:lnTo>
                  <a:lnTo>
                    <a:pt x="2953" y="1485"/>
                  </a:lnTo>
                  <a:lnTo>
                    <a:pt x="2965" y="1464"/>
                  </a:lnTo>
                  <a:lnTo>
                    <a:pt x="2969" y="1441"/>
                  </a:lnTo>
                  <a:lnTo>
                    <a:pt x="2967" y="1425"/>
                  </a:lnTo>
                  <a:lnTo>
                    <a:pt x="2940" y="1397"/>
                  </a:lnTo>
                  <a:lnTo>
                    <a:pt x="2924" y="1392"/>
                  </a:lnTo>
                  <a:lnTo>
                    <a:pt x="2902" y="1403"/>
                  </a:lnTo>
                  <a:lnTo>
                    <a:pt x="2829" y="1390"/>
                  </a:lnTo>
                  <a:lnTo>
                    <a:pt x="2803" y="1394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05" name="Freeform 42"/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1507" y="2582"/>
              <a:ext cx="16" cy="47"/>
            </a:xfrm>
            <a:custGeom>
              <a:avLst/>
              <a:gdLst>
                <a:gd name="T0" fmla="*/ 112 w 112"/>
                <a:gd name="T1" fmla="*/ 35 h 312"/>
                <a:gd name="T2" fmla="*/ 111 w 112"/>
                <a:gd name="T3" fmla="*/ 12 h 312"/>
                <a:gd name="T4" fmla="*/ 84 w 112"/>
                <a:gd name="T5" fmla="*/ 23 h 312"/>
                <a:gd name="T6" fmla="*/ 91 w 112"/>
                <a:gd name="T7" fmla="*/ 0 h 312"/>
                <a:gd name="T8" fmla="*/ 72 w 112"/>
                <a:gd name="T9" fmla="*/ 0 h 312"/>
                <a:gd name="T10" fmla="*/ 65 w 112"/>
                <a:gd name="T11" fmla="*/ 25 h 312"/>
                <a:gd name="T12" fmla="*/ 38 w 112"/>
                <a:gd name="T13" fmla="*/ 72 h 312"/>
                <a:gd name="T14" fmla="*/ 20 w 112"/>
                <a:gd name="T15" fmla="*/ 56 h 312"/>
                <a:gd name="T16" fmla="*/ 8 w 112"/>
                <a:gd name="T17" fmla="*/ 62 h 312"/>
                <a:gd name="T18" fmla="*/ 9 w 112"/>
                <a:gd name="T19" fmla="*/ 79 h 312"/>
                <a:gd name="T20" fmla="*/ 0 w 112"/>
                <a:gd name="T21" fmla="*/ 312 h 312"/>
                <a:gd name="T22" fmla="*/ 31 w 112"/>
                <a:gd name="T23" fmla="*/ 310 h 312"/>
                <a:gd name="T24" fmla="*/ 31 w 112"/>
                <a:gd name="T25" fmla="*/ 296 h 312"/>
                <a:gd name="T26" fmla="*/ 47 w 112"/>
                <a:gd name="T27" fmla="*/ 282 h 312"/>
                <a:gd name="T28" fmla="*/ 50 w 112"/>
                <a:gd name="T29" fmla="*/ 268 h 312"/>
                <a:gd name="T30" fmla="*/ 66 w 112"/>
                <a:gd name="T31" fmla="*/ 266 h 312"/>
                <a:gd name="T32" fmla="*/ 79 w 112"/>
                <a:gd name="T33" fmla="*/ 247 h 312"/>
                <a:gd name="T34" fmla="*/ 94 w 112"/>
                <a:gd name="T35" fmla="*/ 199 h 312"/>
                <a:gd name="T36" fmla="*/ 99 w 112"/>
                <a:gd name="T37" fmla="*/ 178 h 312"/>
                <a:gd name="T38" fmla="*/ 90 w 112"/>
                <a:gd name="T39" fmla="*/ 160 h 312"/>
                <a:gd name="T40" fmla="*/ 101 w 112"/>
                <a:gd name="T41" fmla="*/ 118 h 312"/>
                <a:gd name="T42" fmla="*/ 93 w 112"/>
                <a:gd name="T43" fmla="*/ 104 h 312"/>
                <a:gd name="T44" fmla="*/ 112 w 112"/>
                <a:gd name="T45" fmla="*/ 35 h 312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12"/>
                <a:gd name="T70" fmla="*/ 0 h 312"/>
                <a:gd name="T71" fmla="*/ 112 w 112"/>
                <a:gd name="T72" fmla="*/ 312 h 312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12" h="312">
                  <a:moveTo>
                    <a:pt x="112" y="35"/>
                  </a:moveTo>
                  <a:lnTo>
                    <a:pt x="111" y="12"/>
                  </a:lnTo>
                  <a:lnTo>
                    <a:pt x="84" y="23"/>
                  </a:lnTo>
                  <a:lnTo>
                    <a:pt x="91" y="0"/>
                  </a:lnTo>
                  <a:lnTo>
                    <a:pt x="72" y="0"/>
                  </a:lnTo>
                  <a:lnTo>
                    <a:pt x="65" y="25"/>
                  </a:lnTo>
                  <a:lnTo>
                    <a:pt x="38" y="72"/>
                  </a:lnTo>
                  <a:lnTo>
                    <a:pt x="20" y="56"/>
                  </a:lnTo>
                  <a:lnTo>
                    <a:pt x="8" y="62"/>
                  </a:lnTo>
                  <a:lnTo>
                    <a:pt x="9" y="79"/>
                  </a:lnTo>
                  <a:lnTo>
                    <a:pt x="0" y="312"/>
                  </a:lnTo>
                  <a:lnTo>
                    <a:pt x="31" y="310"/>
                  </a:lnTo>
                  <a:lnTo>
                    <a:pt x="31" y="296"/>
                  </a:lnTo>
                  <a:lnTo>
                    <a:pt x="47" y="282"/>
                  </a:lnTo>
                  <a:lnTo>
                    <a:pt x="50" y="268"/>
                  </a:lnTo>
                  <a:lnTo>
                    <a:pt x="66" y="266"/>
                  </a:lnTo>
                  <a:lnTo>
                    <a:pt x="79" y="247"/>
                  </a:lnTo>
                  <a:lnTo>
                    <a:pt x="94" y="199"/>
                  </a:lnTo>
                  <a:lnTo>
                    <a:pt x="99" y="178"/>
                  </a:lnTo>
                  <a:lnTo>
                    <a:pt x="90" y="160"/>
                  </a:lnTo>
                  <a:lnTo>
                    <a:pt x="101" y="118"/>
                  </a:lnTo>
                  <a:lnTo>
                    <a:pt x="93" y="104"/>
                  </a:lnTo>
                  <a:lnTo>
                    <a:pt x="112" y="35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06" name="Freeform 43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1463" y="2594"/>
              <a:ext cx="60" cy="72"/>
            </a:xfrm>
            <a:custGeom>
              <a:avLst/>
              <a:gdLst>
                <a:gd name="T0" fmla="*/ 303 w 389"/>
                <a:gd name="T1" fmla="*/ 0 h 486"/>
                <a:gd name="T2" fmla="*/ 122 w 389"/>
                <a:gd name="T3" fmla="*/ 0 h 486"/>
                <a:gd name="T4" fmla="*/ 121 w 389"/>
                <a:gd name="T5" fmla="*/ 67 h 486"/>
                <a:gd name="T6" fmla="*/ 76 w 389"/>
                <a:gd name="T7" fmla="*/ 69 h 486"/>
                <a:gd name="T8" fmla="*/ 93 w 389"/>
                <a:gd name="T9" fmla="*/ 81 h 486"/>
                <a:gd name="T10" fmla="*/ 115 w 389"/>
                <a:gd name="T11" fmla="*/ 110 h 486"/>
                <a:gd name="T12" fmla="*/ 142 w 389"/>
                <a:gd name="T13" fmla="*/ 122 h 486"/>
                <a:gd name="T14" fmla="*/ 159 w 389"/>
                <a:gd name="T15" fmla="*/ 161 h 486"/>
                <a:gd name="T16" fmla="*/ 183 w 389"/>
                <a:gd name="T17" fmla="*/ 171 h 486"/>
                <a:gd name="T18" fmla="*/ 172 w 389"/>
                <a:gd name="T19" fmla="*/ 208 h 486"/>
                <a:gd name="T20" fmla="*/ 48 w 389"/>
                <a:gd name="T21" fmla="*/ 208 h 486"/>
                <a:gd name="T22" fmla="*/ 0 w 389"/>
                <a:gd name="T23" fmla="*/ 305 h 486"/>
                <a:gd name="T24" fmla="*/ 13 w 389"/>
                <a:gd name="T25" fmla="*/ 328 h 486"/>
                <a:gd name="T26" fmla="*/ 4 w 389"/>
                <a:gd name="T27" fmla="*/ 341 h 486"/>
                <a:gd name="T28" fmla="*/ 8 w 389"/>
                <a:gd name="T29" fmla="*/ 395 h 486"/>
                <a:gd name="T30" fmla="*/ 72 w 389"/>
                <a:gd name="T31" fmla="*/ 453 h 486"/>
                <a:gd name="T32" fmla="*/ 99 w 389"/>
                <a:gd name="T33" fmla="*/ 465 h 486"/>
                <a:gd name="T34" fmla="*/ 160 w 389"/>
                <a:gd name="T35" fmla="*/ 465 h 486"/>
                <a:gd name="T36" fmla="*/ 200 w 389"/>
                <a:gd name="T37" fmla="*/ 485 h 486"/>
                <a:gd name="T38" fmla="*/ 208 w 389"/>
                <a:gd name="T39" fmla="*/ 486 h 486"/>
                <a:gd name="T40" fmla="*/ 208 w 389"/>
                <a:gd name="T41" fmla="*/ 476 h 486"/>
                <a:gd name="T42" fmla="*/ 233 w 389"/>
                <a:gd name="T43" fmla="*/ 451 h 486"/>
                <a:gd name="T44" fmla="*/ 241 w 389"/>
                <a:gd name="T45" fmla="*/ 451 h 486"/>
                <a:gd name="T46" fmla="*/ 250 w 389"/>
                <a:gd name="T47" fmla="*/ 435 h 486"/>
                <a:gd name="T48" fmla="*/ 265 w 389"/>
                <a:gd name="T49" fmla="*/ 430 h 486"/>
                <a:gd name="T50" fmla="*/ 260 w 389"/>
                <a:gd name="T51" fmla="*/ 421 h 486"/>
                <a:gd name="T52" fmla="*/ 261 w 389"/>
                <a:gd name="T53" fmla="*/ 407 h 486"/>
                <a:gd name="T54" fmla="*/ 282 w 389"/>
                <a:gd name="T55" fmla="*/ 405 h 486"/>
                <a:gd name="T56" fmla="*/ 301 w 389"/>
                <a:gd name="T57" fmla="*/ 388 h 486"/>
                <a:gd name="T58" fmla="*/ 294 w 389"/>
                <a:gd name="T59" fmla="*/ 356 h 486"/>
                <a:gd name="T60" fmla="*/ 301 w 389"/>
                <a:gd name="T61" fmla="*/ 328 h 486"/>
                <a:gd name="T62" fmla="*/ 323 w 389"/>
                <a:gd name="T63" fmla="*/ 316 h 486"/>
                <a:gd name="T64" fmla="*/ 389 w 389"/>
                <a:gd name="T65" fmla="*/ 251 h 486"/>
                <a:gd name="T66" fmla="*/ 369 w 389"/>
                <a:gd name="T67" fmla="*/ 231 h 486"/>
                <a:gd name="T68" fmla="*/ 354 w 389"/>
                <a:gd name="T69" fmla="*/ 223 h 486"/>
                <a:gd name="T70" fmla="*/ 358 w 389"/>
                <a:gd name="T71" fmla="*/ 244 h 486"/>
                <a:gd name="T72" fmla="*/ 351 w 389"/>
                <a:gd name="T73" fmla="*/ 253 h 486"/>
                <a:gd name="T74" fmla="*/ 338 w 389"/>
                <a:gd name="T75" fmla="*/ 237 h 486"/>
                <a:gd name="T76" fmla="*/ 325 w 389"/>
                <a:gd name="T77" fmla="*/ 231 h 486"/>
                <a:gd name="T78" fmla="*/ 294 w 389"/>
                <a:gd name="T79" fmla="*/ 233 h 486"/>
                <a:gd name="T80" fmla="*/ 303 w 389"/>
                <a:gd name="T81" fmla="*/ 0 h 48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89"/>
                <a:gd name="T124" fmla="*/ 0 h 486"/>
                <a:gd name="T125" fmla="*/ 389 w 389"/>
                <a:gd name="T126" fmla="*/ 486 h 48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89" h="486">
                  <a:moveTo>
                    <a:pt x="303" y="0"/>
                  </a:moveTo>
                  <a:lnTo>
                    <a:pt x="122" y="0"/>
                  </a:lnTo>
                  <a:lnTo>
                    <a:pt x="121" y="67"/>
                  </a:lnTo>
                  <a:lnTo>
                    <a:pt x="76" y="69"/>
                  </a:lnTo>
                  <a:lnTo>
                    <a:pt x="93" y="81"/>
                  </a:lnTo>
                  <a:lnTo>
                    <a:pt x="115" y="110"/>
                  </a:lnTo>
                  <a:lnTo>
                    <a:pt x="142" y="122"/>
                  </a:lnTo>
                  <a:lnTo>
                    <a:pt x="159" y="161"/>
                  </a:lnTo>
                  <a:lnTo>
                    <a:pt x="183" y="171"/>
                  </a:lnTo>
                  <a:lnTo>
                    <a:pt x="172" y="208"/>
                  </a:lnTo>
                  <a:lnTo>
                    <a:pt x="48" y="208"/>
                  </a:lnTo>
                  <a:lnTo>
                    <a:pt x="0" y="305"/>
                  </a:lnTo>
                  <a:lnTo>
                    <a:pt x="13" y="328"/>
                  </a:lnTo>
                  <a:lnTo>
                    <a:pt x="4" y="341"/>
                  </a:lnTo>
                  <a:lnTo>
                    <a:pt x="8" y="395"/>
                  </a:lnTo>
                  <a:lnTo>
                    <a:pt x="72" y="453"/>
                  </a:lnTo>
                  <a:lnTo>
                    <a:pt x="99" y="465"/>
                  </a:lnTo>
                  <a:lnTo>
                    <a:pt x="160" y="465"/>
                  </a:lnTo>
                  <a:lnTo>
                    <a:pt x="200" y="485"/>
                  </a:lnTo>
                  <a:lnTo>
                    <a:pt x="208" y="486"/>
                  </a:lnTo>
                  <a:lnTo>
                    <a:pt x="208" y="476"/>
                  </a:lnTo>
                  <a:lnTo>
                    <a:pt x="233" y="451"/>
                  </a:lnTo>
                  <a:lnTo>
                    <a:pt x="241" y="451"/>
                  </a:lnTo>
                  <a:lnTo>
                    <a:pt x="250" y="435"/>
                  </a:lnTo>
                  <a:lnTo>
                    <a:pt x="265" y="430"/>
                  </a:lnTo>
                  <a:lnTo>
                    <a:pt x="260" y="421"/>
                  </a:lnTo>
                  <a:lnTo>
                    <a:pt x="261" y="407"/>
                  </a:lnTo>
                  <a:lnTo>
                    <a:pt x="282" y="405"/>
                  </a:lnTo>
                  <a:lnTo>
                    <a:pt x="301" y="388"/>
                  </a:lnTo>
                  <a:lnTo>
                    <a:pt x="294" y="356"/>
                  </a:lnTo>
                  <a:lnTo>
                    <a:pt x="301" y="328"/>
                  </a:lnTo>
                  <a:lnTo>
                    <a:pt x="323" y="316"/>
                  </a:lnTo>
                  <a:lnTo>
                    <a:pt x="389" y="251"/>
                  </a:lnTo>
                  <a:lnTo>
                    <a:pt x="369" y="231"/>
                  </a:lnTo>
                  <a:lnTo>
                    <a:pt x="354" y="223"/>
                  </a:lnTo>
                  <a:lnTo>
                    <a:pt x="358" y="244"/>
                  </a:lnTo>
                  <a:lnTo>
                    <a:pt x="351" y="253"/>
                  </a:lnTo>
                  <a:lnTo>
                    <a:pt x="338" y="237"/>
                  </a:lnTo>
                  <a:lnTo>
                    <a:pt x="325" y="231"/>
                  </a:lnTo>
                  <a:lnTo>
                    <a:pt x="294" y="233"/>
                  </a:lnTo>
                  <a:lnTo>
                    <a:pt x="303" y="0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07" name="Freeform 44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1504" y="2626"/>
              <a:ext cx="90" cy="53"/>
            </a:xfrm>
            <a:custGeom>
              <a:avLst/>
              <a:gdLst>
                <a:gd name="T0" fmla="*/ 584 w 584"/>
                <a:gd name="T1" fmla="*/ 120 h 354"/>
                <a:gd name="T2" fmla="*/ 573 w 584"/>
                <a:gd name="T3" fmla="*/ 91 h 354"/>
                <a:gd name="T4" fmla="*/ 548 w 584"/>
                <a:gd name="T5" fmla="*/ 86 h 354"/>
                <a:gd name="T6" fmla="*/ 514 w 584"/>
                <a:gd name="T7" fmla="*/ 74 h 354"/>
                <a:gd name="T8" fmla="*/ 503 w 584"/>
                <a:gd name="T9" fmla="*/ 60 h 354"/>
                <a:gd name="T10" fmla="*/ 508 w 584"/>
                <a:gd name="T11" fmla="*/ 47 h 354"/>
                <a:gd name="T12" fmla="*/ 510 w 584"/>
                <a:gd name="T13" fmla="*/ 28 h 354"/>
                <a:gd name="T14" fmla="*/ 485 w 584"/>
                <a:gd name="T15" fmla="*/ 14 h 354"/>
                <a:gd name="T16" fmla="*/ 463 w 584"/>
                <a:gd name="T17" fmla="*/ 7 h 354"/>
                <a:gd name="T18" fmla="*/ 367 w 584"/>
                <a:gd name="T19" fmla="*/ 14 h 354"/>
                <a:gd name="T20" fmla="*/ 342 w 584"/>
                <a:gd name="T21" fmla="*/ 0 h 354"/>
                <a:gd name="T22" fmla="*/ 324 w 584"/>
                <a:gd name="T23" fmla="*/ 10 h 354"/>
                <a:gd name="T24" fmla="*/ 294 w 584"/>
                <a:gd name="T25" fmla="*/ 23 h 354"/>
                <a:gd name="T26" fmla="*/ 231 w 584"/>
                <a:gd name="T27" fmla="*/ 21 h 354"/>
                <a:gd name="T28" fmla="*/ 176 w 584"/>
                <a:gd name="T29" fmla="*/ 10 h 354"/>
                <a:gd name="T30" fmla="*/ 148 w 584"/>
                <a:gd name="T31" fmla="*/ 14 h 354"/>
                <a:gd name="T32" fmla="*/ 121 w 584"/>
                <a:gd name="T33" fmla="*/ 28 h 354"/>
                <a:gd name="T34" fmla="*/ 107 w 584"/>
                <a:gd name="T35" fmla="*/ 30 h 354"/>
                <a:gd name="T36" fmla="*/ 41 w 584"/>
                <a:gd name="T37" fmla="*/ 95 h 354"/>
                <a:gd name="T38" fmla="*/ 19 w 584"/>
                <a:gd name="T39" fmla="*/ 107 h 354"/>
                <a:gd name="T40" fmla="*/ 12 w 584"/>
                <a:gd name="T41" fmla="*/ 135 h 354"/>
                <a:gd name="T42" fmla="*/ 19 w 584"/>
                <a:gd name="T43" fmla="*/ 167 h 354"/>
                <a:gd name="T44" fmla="*/ 0 w 584"/>
                <a:gd name="T45" fmla="*/ 184 h 354"/>
                <a:gd name="T46" fmla="*/ 29 w 584"/>
                <a:gd name="T47" fmla="*/ 193 h 354"/>
                <a:gd name="T48" fmla="*/ 38 w 584"/>
                <a:gd name="T49" fmla="*/ 214 h 354"/>
                <a:gd name="T50" fmla="*/ 56 w 584"/>
                <a:gd name="T51" fmla="*/ 219 h 354"/>
                <a:gd name="T52" fmla="*/ 81 w 584"/>
                <a:gd name="T53" fmla="*/ 239 h 354"/>
                <a:gd name="T54" fmla="*/ 84 w 584"/>
                <a:gd name="T55" fmla="*/ 253 h 354"/>
                <a:gd name="T56" fmla="*/ 101 w 584"/>
                <a:gd name="T57" fmla="*/ 253 h 354"/>
                <a:gd name="T58" fmla="*/ 119 w 584"/>
                <a:gd name="T59" fmla="*/ 235 h 354"/>
                <a:gd name="T60" fmla="*/ 143 w 584"/>
                <a:gd name="T61" fmla="*/ 249 h 354"/>
                <a:gd name="T62" fmla="*/ 155 w 584"/>
                <a:gd name="T63" fmla="*/ 249 h 354"/>
                <a:gd name="T64" fmla="*/ 162 w 584"/>
                <a:gd name="T65" fmla="*/ 260 h 354"/>
                <a:gd name="T66" fmla="*/ 156 w 584"/>
                <a:gd name="T67" fmla="*/ 299 h 354"/>
                <a:gd name="T68" fmla="*/ 178 w 584"/>
                <a:gd name="T69" fmla="*/ 315 h 354"/>
                <a:gd name="T70" fmla="*/ 192 w 584"/>
                <a:gd name="T71" fmla="*/ 354 h 354"/>
                <a:gd name="T72" fmla="*/ 237 w 584"/>
                <a:gd name="T73" fmla="*/ 348 h 354"/>
                <a:gd name="T74" fmla="*/ 250 w 584"/>
                <a:gd name="T75" fmla="*/ 339 h 354"/>
                <a:gd name="T76" fmla="*/ 264 w 584"/>
                <a:gd name="T77" fmla="*/ 318 h 354"/>
                <a:gd name="T78" fmla="*/ 264 w 584"/>
                <a:gd name="T79" fmla="*/ 267 h 354"/>
                <a:gd name="T80" fmla="*/ 302 w 584"/>
                <a:gd name="T81" fmla="*/ 265 h 354"/>
                <a:gd name="T82" fmla="*/ 324 w 584"/>
                <a:gd name="T83" fmla="*/ 234 h 354"/>
                <a:gd name="T84" fmla="*/ 356 w 584"/>
                <a:gd name="T85" fmla="*/ 257 h 354"/>
                <a:gd name="T86" fmla="*/ 410 w 584"/>
                <a:gd name="T87" fmla="*/ 204 h 354"/>
                <a:gd name="T88" fmla="*/ 433 w 584"/>
                <a:gd name="T89" fmla="*/ 160 h 354"/>
                <a:gd name="T90" fmla="*/ 445 w 584"/>
                <a:gd name="T91" fmla="*/ 147 h 354"/>
                <a:gd name="T92" fmla="*/ 457 w 584"/>
                <a:gd name="T93" fmla="*/ 147 h 354"/>
                <a:gd name="T94" fmla="*/ 471 w 584"/>
                <a:gd name="T95" fmla="*/ 158 h 354"/>
                <a:gd name="T96" fmla="*/ 491 w 584"/>
                <a:gd name="T97" fmla="*/ 163 h 354"/>
                <a:gd name="T98" fmla="*/ 522 w 584"/>
                <a:gd name="T99" fmla="*/ 145 h 354"/>
                <a:gd name="T100" fmla="*/ 584 w 584"/>
                <a:gd name="T101" fmla="*/ 120 h 35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84"/>
                <a:gd name="T154" fmla="*/ 0 h 354"/>
                <a:gd name="T155" fmla="*/ 584 w 584"/>
                <a:gd name="T156" fmla="*/ 354 h 35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84" h="354">
                  <a:moveTo>
                    <a:pt x="584" y="120"/>
                  </a:moveTo>
                  <a:lnTo>
                    <a:pt x="573" y="91"/>
                  </a:lnTo>
                  <a:lnTo>
                    <a:pt x="548" y="86"/>
                  </a:lnTo>
                  <a:lnTo>
                    <a:pt x="514" y="74"/>
                  </a:lnTo>
                  <a:lnTo>
                    <a:pt x="503" y="60"/>
                  </a:lnTo>
                  <a:lnTo>
                    <a:pt x="508" y="47"/>
                  </a:lnTo>
                  <a:lnTo>
                    <a:pt x="510" y="28"/>
                  </a:lnTo>
                  <a:lnTo>
                    <a:pt x="485" y="14"/>
                  </a:lnTo>
                  <a:lnTo>
                    <a:pt x="463" y="7"/>
                  </a:lnTo>
                  <a:lnTo>
                    <a:pt x="367" y="14"/>
                  </a:lnTo>
                  <a:lnTo>
                    <a:pt x="342" y="0"/>
                  </a:lnTo>
                  <a:lnTo>
                    <a:pt x="324" y="10"/>
                  </a:lnTo>
                  <a:lnTo>
                    <a:pt x="294" y="23"/>
                  </a:lnTo>
                  <a:lnTo>
                    <a:pt x="231" y="21"/>
                  </a:lnTo>
                  <a:lnTo>
                    <a:pt x="176" y="10"/>
                  </a:lnTo>
                  <a:lnTo>
                    <a:pt x="148" y="14"/>
                  </a:lnTo>
                  <a:lnTo>
                    <a:pt x="121" y="28"/>
                  </a:lnTo>
                  <a:lnTo>
                    <a:pt x="107" y="30"/>
                  </a:lnTo>
                  <a:lnTo>
                    <a:pt x="41" y="95"/>
                  </a:lnTo>
                  <a:lnTo>
                    <a:pt x="19" y="107"/>
                  </a:lnTo>
                  <a:lnTo>
                    <a:pt x="12" y="135"/>
                  </a:lnTo>
                  <a:lnTo>
                    <a:pt x="19" y="167"/>
                  </a:lnTo>
                  <a:lnTo>
                    <a:pt x="0" y="184"/>
                  </a:lnTo>
                  <a:lnTo>
                    <a:pt x="29" y="193"/>
                  </a:lnTo>
                  <a:lnTo>
                    <a:pt x="38" y="214"/>
                  </a:lnTo>
                  <a:lnTo>
                    <a:pt x="56" y="219"/>
                  </a:lnTo>
                  <a:lnTo>
                    <a:pt x="81" y="239"/>
                  </a:lnTo>
                  <a:lnTo>
                    <a:pt x="84" y="253"/>
                  </a:lnTo>
                  <a:lnTo>
                    <a:pt x="101" y="253"/>
                  </a:lnTo>
                  <a:lnTo>
                    <a:pt x="119" y="235"/>
                  </a:lnTo>
                  <a:lnTo>
                    <a:pt x="143" y="249"/>
                  </a:lnTo>
                  <a:lnTo>
                    <a:pt x="155" y="249"/>
                  </a:lnTo>
                  <a:lnTo>
                    <a:pt x="162" y="260"/>
                  </a:lnTo>
                  <a:lnTo>
                    <a:pt x="156" y="299"/>
                  </a:lnTo>
                  <a:lnTo>
                    <a:pt x="178" y="315"/>
                  </a:lnTo>
                  <a:lnTo>
                    <a:pt x="192" y="354"/>
                  </a:lnTo>
                  <a:lnTo>
                    <a:pt x="237" y="348"/>
                  </a:lnTo>
                  <a:lnTo>
                    <a:pt x="250" y="339"/>
                  </a:lnTo>
                  <a:lnTo>
                    <a:pt x="264" y="318"/>
                  </a:lnTo>
                  <a:lnTo>
                    <a:pt x="264" y="267"/>
                  </a:lnTo>
                  <a:lnTo>
                    <a:pt x="302" y="265"/>
                  </a:lnTo>
                  <a:lnTo>
                    <a:pt x="324" y="234"/>
                  </a:lnTo>
                  <a:lnTo>
                    <a:pt x="356" y="257"/>
                  </a:lnTo>
                  <a:lnTo>
                    <a:pt x="410" y="204"/>
                  </a:lnTo>
                  <a:lnTo>
                    <a:pt x="433" y="160"/>
                  </a:lnTo>
                  <a:lnTo>
                    <a:pt x="445" y="147"/>
                  </a:lnTo>
                  <a:lnTo>
                    <a:pt x="457" y="147"/>
                  </a:lnTo>
                  <a:lnTo>
                    <a:pt x="471" y="158"/>
                  </a:lnTo>
                  <a:lnTo>
                    <a:pt x="491" y="163"/>
                  </a:lnTo>
                  <a:lnTo>
                    <a:pt x="522" y="145"/>
                  </a:lnTo>
                  <a:lnTo>
                    <a:pt x="584" y="120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08" name="Freeform 45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1494" y="2653"/>
              <a:ext cx="35" cy="23"/>
            </a:xfrm>
            <a:custGeom>
              <a:avLst/>
              <a:gdLst>
                <a:gd name="T0" fmla="*/ 0 w 236"/>
                <a:gd name="T1" fmla="*/ 81 h 154"/>
                <a:gd name="T2" fmla="*/ 13 w 236"/>
                <a:gd name="T3" fmla="*/ 94 h 154"/>
                <a:gd name="T4" fmla="*/ 146 w 236"/>
                <a:gd name="T5" fmla="*/ 143 h 154"/>
                <a:gd name="T6" fmla="*/ 213 w 236"/>
                <a:gd name="T7" fmla="*/ 154 h 154"/>
                <a:gd name="T8" fmla="*/ 224 w 236"/>
                <a:gd name="T9" fmla="*/ 136 h 154"/>
                <a:gd name="T10" fmla="*/ 224 w 236"/>
                <a:gd name="T11" fmla="*/ 122 h 154"/>
                <a:gd name="T12" fmla="*/ 232 w 236"/>
                <a:gd name="T13" fmla="*/ 118 h 154"/>
                <a:gd name="T14" fmla="*/ 230 w 236"/>
                <a:gd name="T15" fmla="*/ 115 h 154"/>
                <a:gd name="T16" fmla="*/ 236 w 236"/>
                <a:gd name="T17" fmla="*/ 76 h 154"/>
                <a:gd name="T18" fmla="*/ 229 w 236"/>
                <a:gd name="T19" fmla="*/ 65 h 154"/>
                <a:gd name="T20" fmla="*/ 217 w 236"/>
                <a:gd name="T21" fmla="*/ 65 h 154"/>
                <a:gd name="T22" fmla="*/ 193 w 236"/>
                <a:gd name="T23" fmla="*/ 51 h 154"/>
                <a:gd name="T24" fmla="*/ 175 w 236"/>
                <a:gd name="T25" fmla="*/ 69 h 154"/>
                <a:gd name="T26" fmla="*/ 158 w 236"/>
                <a:gd name="T27" fmla="*/ 69 h 154"/>
                <a:gd name="T28" fmla="*/ 155 w 236"/>
                <a:gd name="T29" fmla="*/ 55 h 154"/>
                <a:gd name="T30" fmla="*/ 130 w 236"/>
                <a:gd name="T31" fmla="*/ 35 h 154"/>
                <a:gd name="T32" fmla="*/ 112 w 236"/>
                <a:gd name="T33" fmla="*/ 30 h 154"/>
                <a:gd name="T34" fmla="*/ 103 w 236"/>
                <a:gd name="T35" fmla="*/ 9 h 154"/>
                <a:gd name="T36" fmla="*/ 74 w 236"/>
                <a:gd name="T37" fmla="*/ 0 h 154"/>
                <a:gd name="T38" fmla="*/ 53 w 236"/>
                <a:gd name="T39" fmla="*/ 2 h 154"/>
                <a:gd name="T40" fmla="*/ 52 w 236"/>
                <a:gd name="T41" fmla="*/ 16 h 154"/>
                <a:gd name="T42" fmla="*/ 57 w 236"/>
                <a:gd name="T43" fmla="*/ 25 h 154"/>
                <a:gd name="T44" fmla="*/ 42 w 236"/>
                <a:gd name="T45" fmla="*/ 30 h 154"/>
                <a:gd name="T46" fmla="*/ 33 w 236"/>
                <a:gd name="T47" fmla="*/ 46 h 154"/>
                <a:gd name="T48" fmla="*/ 25 w 236"/>
                <a:gd name="T49" fmla="*/ 46 h 154"/>
                <a:gd name="T50" fmla="*/ 0 w 236"/>
                <a:gd name="T51" fmla="*/ 71 h 154"/>
                <a:gd name="T52" fmla="*/ 0 w 236"/>
                <a:gd name="T53" fmla="*/ 81 h 15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36"/>
                <a:gd name="T82" fmla="*/ 0 h 154"/>
                <a:gd name="T83" fmla="*/ 236 w 236"/>
                <a:gd name="T84" fmla="*/ 154 h 15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36" h="154">
                  <a:moveTo>
                    <a:pt x="0" y="81"/>
                  </a:moveTo>
                  <a:lnTo>
                    <a:pt x="13" y="94"/>
                  </a:lnTo>
                  <a:lnTo>
                    <a:pt x="146" y="143"/>
                  </a:lnTo>
                  <a:lnTo>
                    <a:pt x="213" y="154"/>
                  </a:lnTo>
                  <a:lnTo>
                    <a:pt x="224" y="136"/>
                  </a:lnTo>
                  <a:lnTo>
                    <a:pt x="224" y="122"/>
                  </a:lnTo>
                  <a:lnTo>
                    <a:pt x="232" y="118"/>
                  </a:lnTo>
                  <a:lnTo>
                    <a:pt x="230" y="115"/>
                  </a:lnTo>
                  <a:lnTo>
                    <a:pt x="236" y="76"/>
                  </a:lnTo>
                  <a:lnTo>
                    <a:pt x="229" y="65"/>
                  </a:lnTo>
                  <a:lnTo>
                    <a:pt x="217" y="65"/>
                  </a:lnTo>
                  <a:lnTo>
                    <a:pt x="193" y="51"/>
                  </a:lnTo>
                  <a:lnTo>
                    <a:pt x="175" y="69"/>
                  </a:lnTo>
                  <a:lnTo>
                    <a:pt x="158" y="69"/>
                  </a:lnTo>
                  <a:lnTo>
                    <a:pt x="155" y="55"/>
                  </a:lnTo>
                  <a:lnTo>
                    <a:pt x="130" y="35"/>
                  </a:lnTo>
                  <a:lnTo>
                    <a:pt x="112" y="30"/>
                  </a:lnTo>
                  <a:lnTo>
                    <a:pt x="103" y="9"/>
                  </a:lnTo>
                  <a:lnTo>
                    <a:pt x="74" y="0"/>
                  </a:lnTo>
                  <a:lnTo>
                    <a:pt x="53" y="2"/>
                  </a:lnTo>
                  <a:lnTo>
                    <a:pt x="52" y="16"/>
                  </a:lnTo>
                  <a:lnTo>
                    <a:pt x="57" y="25"/>
                  </a:lnTo>
                  <a:lnTo>
                    <a:pt x="42" y="30"/>
                  </a:lnTo>
                  <a:lnTo>
                    <a:pt x="33" y="46"/>
                  </a:lnTo>
                  <a:lnTo>
                    <a:pt x="25" y="46"/>
                  </a:lnTo>
                  <a:lnTo>
                    <a:pt x="0" y="71"/>
                  </a:lnTo>
                  <a:lnTo>
                    <a:pt x="0" y="81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09" name="Freeform 46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349" y="1394"/>
              <a:ext cx="561" cy="451"/>
            </a:xfrm>
            <a:custGeom>
              <a:avLst/>
              <a:gdLst>
                <a:gd name="T0" fmla="*/ 402 w 3743"/>
                <a:gd name="T1" fmla="*/ 480 h 3049"/>
                <a:gd name="T2" fmla="*/ 358 w 3743"/>
                <a:gd name="T3" fmla="*/ 738 h 3049"/>
                <a:gd name="T4" fmla="*/ 624 w 3743"/>
                <a:gd name="T5" fmla="*/ 945 h 3049"/>
                <a:gd name="T6" fmla="*/ 743 w 3743"/>
                <a:gd name="T7" fmla="*/ 1029 h 3049"/>
                <a:gd name="T8" fmla="*/ 578 w 3743"/>
                <a:gd name="T9" fmla="*/ 1077 h 3049"/>
                <a:gd name="T10" fmla="*/ 364 w 3743"/>
                <a:gd name="T11" fmla="*/ 975 h 3049"/>
                <a:gd name="T12" fmla="*/ 0 w 3743"/>
                <a:gd name="T13" fmla="*/ 1149 h 3049"/>
                <a:gd name="T14" fmla="*/ 155 w 3743"/>
                <a:gd name="T15" fmla="*/ 1333 h 3049"/>
                <a:gd name="T16" fmla="*/ 505 w 3743"/>
                <a:gd name="T17" fmla="*/ 1387 h 3049"/>
                <a:gd name="T18" fmla="*/ 724 w 3743"/>
                <a:gd name="T19" fmla="*/ 1349 h 3049"/>
                <a:gd name="T20" fmla="*/ 705 w 3743"/>
                <a:gd name="T21" fmla="*/ 1537 h 3049"/>
                <a:gd name="T22" fmla="*/ 476 w 3743"/>
                <a:gd name="T23" fmla="*/ 1648 h 3049"/>
                <a:gd name="T24" fmla="*/ 323 w 3743"/>
                <a:gd name="T25" fmla="*/ 1688 h 3049"/>
                <a:gd name="T26" fmla="*/ 229 w 3743"/>
                <a:gd name="T27" fmla="*/ 1866 h 3049"/>
                <a:gd name="T28" fmla="*/ 357 w 3743"/>
                <a:gd name="T29" fmla="*/ 2023 h 3049"/>
                <a:gd name="T30" fmla="*/ 446 w 3743"/>
                <a:gd name="T31" fmla="*/ 2085 h 3049"/>
                <a:gd name="T32" fmla="*/ 350 w 3743"/>
                <a:gd name="T33" fmla="*/ 2155 h 3049"/>
                <a:gd name="T34" fmla="*/ 569 w 3743"/>
                <a:gd name="T35" fmla="*/ 2164 h 3049"/>
                <a:gd name="T36" fmla="*/ 611 w 3743"/>
                <a:gd name="T37" fmla="*/ 2413 h 3049"/>
                <a:gd name="T38" fmla="*/ 819 w 3743"/>
                <a:gd name="T39" fmla="*/ 2375 h 3049"/>
                <a:gd name="T40" fmla="*/ 913 w 3743"/>
                <a:gd name="T41" fmla="*/ 2432 h 3049"/>
                <a:gd name="T42" fmla="*/ 999 w 3743"/>
                <a:gd name="T43" fmla="*/ 2414 h 3049"/>
                <a:gd name="T44" fmla="*/ 1029 w 3743"/>
                <a:gd name="T45" fmla="*/ 2603 h 3049"/>
                <a:gd name="T46" fmla="*/ 874 w 3743"/>
                <a:gd name="T47" fmla="*/ 2741 h 3049"/>
                <a:gd name="T48" fmla="*/ 785 w 3743"/>
                <a:gd name="T49" fmla="*/ 2902 h 3049"/>
                <a:gd name="T50" fmla="*/ 1023 w 3743"/>
                <a:gd name="T51" fmla="*/ 2742 h 3049"/>
                <a:gd name="T52" fmla="*/ 1203 w 3743"/>
                <a:gd name="T53" fmla="*/ 2584 h 3049"/>
                <a:gd name="T54" fmla="*/ 1393 w 3743"/>
                <a:gd name="T55" fmla="*/ 2441 h 3049"/>
                <a:gd name="T56" fmla="*/ 1376 w 3743"/>
                <a:gd name="T57" fmla="*/ 2358 h 3049"/>
                <a:gd name="T58" fmla="*/ 1497 w 3743"/>
                <a:gd name="T59" fmla="*/ 2210 h 3049"/>
                <a:gd name="T60" fmla="*/ 1612 w 3743"/>
                <a:gd name="T61" fmla="*/ 2053 h 3049"/>
                <a:gd name="T62" fmla="*/ 1848 w 3743"/>
                <a:gd name="T63" fmla="*/ 2027 h 3049"/>
                <a:gd name="T64" fmla="*/ 1661 w 3743"/>
                <a:gd name="T65" fmla="*/ 2108 h 3049"/>
                <a:gd name="T66" fmla="*/ 1608 w 3743"/>
                <a:gd name="T67" fmla="*/ 2303 h 3049"/>
                <a:gd name="T68" fmla="*/ 1848 w 3743"/>
                <a:gd name="T69" fmla="*/ 2187 h 3049"/>
                <a:gd name="T70" fmla="*/ 1944 w 3743"/>
                <a:gd name="T71" fmla="*/ 2120 h 3049"/>
                <a:gd name="T72" fmla="*/ 1959 w 3743"/>
                <a:gd name="T73" fmla="*/ 1997 h 3049"/>
                <a:gd name="T74" fmla="*/ 2185 w 3743"/>
                <a:gd name="T75" fmla="*/ 2101 h 3049"/>
                <a:gd name="T76" fmla="*/ 2329 w 3743"/>
                <a:gd name="T77" fmla="*/ 2176 h 3049"/>
                <a:gd name="T78" fmla="*/ 2607 w 3743"/>
                <a:gd name="T79" fmla="*/ 2167 h 3049"/>
                <a:gd name="T80" fmla="*/ 2749 w 3743"/>
                <a:gd name="T81" fmla="*/ 2233 h 3049"/>
                <a:gd name="T82" fmla="*/ 2783 w 3743"/>
                <a:gd name="T83" fmla="*/ 2275 h 3049"/>
                <a:gd name="T84" fmla="*/ 3000 w 3743"/>
                <a:gd name="T85" fmla="*/ 2432 h 3049"/>
                <a:gd name="T86" fmla="*/ 3139 w 3743"/>
                <a:gd name="T87" fmla="*/ 2381 h 3049"/>
                <a:gd name="T88" fmla="*/ 3221 w 3743"/>
                <a:gd name="T89" fmla="*/ 2437 h 3049"/>
                <a:gd name="T90" fmla="*/ 3269 w 3743"/>
                <a:gd name="T91" fmla="*/ 2441 h 3049"/>
                <a:gd name="T92" fmla="*/ 3401 w 3743"/>
                <a:gd name="T93" fmla="*/ 2562 h 3049"/>
                <a:gd name="T94" fmla="*/ 3461 w 3743"/>
                <a:gd name="T95" fmla="*/ 2700 h 3049"/>
                <a:gd name="T96" fmla="*/ 3544 w 3743"/>
                <a:gd name="T97" fmla="*/ 2888 h 3049"/>
                <a:gd name="T98" fmla="*/ 3674 w 3743"/>
                <a:gd name="T99" fmla="*/ 2957 h 3049"/>
                <a:gd name="T100" fmla="*/ 3736 w 3743"/>
                <a:gd name="T101" fmla="*/ 3017 h 3049"/>
                <a:gd name="T102" fmla="*/ 3573 w 3743"/>
                <a:gd name="T103" fmla="*/ 2769 h 3049"/>
                <a:gd name="T104" fmla="*/ 3241 w 3743"/>
                <a:gd name="T105" fmla="*/ 2264 h 3049"/>
                <a:gd name="T106" fmla="*/ 3044 w 3743"/>
                <a:gd name="T107" fmla="*/ 2360 h 3049"/>
                <a:gd name="T108" fmla="*/ 2827 w 3743"/>
                <a:gd name="T109" fmla="*/ 2143 h 3049"/>
                <a:gd name="T110" fmla="*/ 2648 w 3743"/>
                <a:gd name="T111" fmla="*/ 370 h 3049"/>
                <a:gd name="T112" fmla="*/ 2156 w 3743"/>
                <a:gd name="T113" fmla="*/ 231 h 3049"/>
                <a:gd name="T114" fmla="*/ 1612 w 3743"/>
                <a:gd name="T115" fmla="*/ 175 h 3049"/>
                <a:gd name="T116" fmla="*/ 1344 w 3743"/>
                <a:gd name="T117" fmla="*/ 78 h 3049"/>
                <a:gd name="T118" fmla="*/ 1190 w 3743"/>
                <a:gd name="T119" fmla="*/ 28 h 3049"/>
                <a:gd name="T120" fmla="*/ 864 w 3743"/>
                <a:gd name="T121" fmla="*/ 97 h 3049"/>
                <a:gd name="T122" fmla="*/ 730 w 3743"/>
                <a:gd name="T123" fmla="*/ 191 h 304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743"/>
                <a:gd name="T187" fmla="*/ 0 h 3049"/>
                <a:gd name="T188" fmla="*/ 3743 w 3743"/>
                <a:gd name="T189" fmla="*/ 3049 h 3049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743" h="3049">
                  <a:moveTo>
                    <a:pt x="587" y="228"/>
                  </a:moveTo>
                  <a:lnTo>
                    <a:pt x="555" y="249"/>
                  </a:lnTo>
                  <a:lnTo>
                    <a:pt x="518" y="288"/>
                  </a:lnTo>
                  <a:lnTo>
                    <a:pt x="458" y="390"/>
                  </a:lnTo>
                  <a:lnTo>
                    <a:pt x="436" y="448"/>
                  </a:lnTo>
                  <a:lnTo>
                    <a:pt x="402" y="480"/>
                  </a:lnTo>
                  <a:lnTo>
                    <a:pt x="321" y="506"/>
                  </a:lnTo>
                  <a:lnTo>
                    <a:pt x="183" y="519"/>
                  </a:lnTo>
                  <a:lnTo>
                    <a:pt x="180" y="563"/>
                  </a:lnTo>
                  <a:lnTo>
                    <a:pt x="129" y="614"/>
                  </a:lnTo>
                  <a:lnTo>
                    <a:pt x="336" y="724"/>
                  </a:lnTo>
                  <a:lnTo>
                    <a:pt x="358" y="738"/>
                  </a:lnTo>
                  <a:lnTo>
                    <a:pt x="404" y="779"/>
                  </a:lnTo>
                  <a:lnTo>
                    <a:pt x="426" y="807"/>
                  </a:lnTo>
                  <a:lnTo>
                    <a:pt x="435" y="853"/>
                  </a:lnTo>
                  <a:lnTo>
                    <a:pt x="546" y="864"/>
                  </a:lnTo>
                  <a:lnTo>
                    <a:pt x="611" y="878"/>
                  </a:lnTo>
                  <a:lnTo>
                    <a:pt x="624" y="945"/>
                  </a:lnTo>
                  <a:lnTo>
                    <a:pt x="681" y="948"/>
                  </a:lnTo>
                  <a:lnTo>
                    <a:pt x="767" y="975"/>
                  </a:lnTo>
                  <a:lnTo>
                    <a:pt x="798" y="980"/>
                  </a:lnTo>
                  <a:lnTo>
                    <a:pt x="797" y="996"/>
                  </a:lnTo>
                  <a:lnTo>
                    <a:pt x="790" y="1024"/>
                  </a:lnTo>
                  <a:lnTo>
                    <a:pt x="743" y="1029"/>
                  </a:lnTo>
                  <a:lnTo>
                    <a:pt x="711" y="1019"/>
                  </a:lnTo>
                  <a:lnTo>
                    <a:pt x="677" y="1014"/>
                  </a:lnTo>
                  <a:lnTo>
                    <a:pt x="667" y="1021"/>
                  </a:lnTo>
                  <a:lnTo>
                    <a:pt x="641" y="1047"/>
                  </a:lnTo>
                  <a:lnTo>
                    <a:pt x="607" y="1068"/>
                  </a:lnTo>
                  <a:lnTo>
                    <a:pt x="578" y="1077"/>
                  </a:lnTo>
                  <a:lnTo>
                    <a:pt x="530" y="1079"/>
                  </a:lnTo>
                  <a:lnTo>
                    <a:pt x="471" y="1070"/>
                  </a:lnTo>
                  <a:lnTo>
                    <a:pt x="425" y="1056"/>
                  </a:lnTo>
                  <a:lnTo>
                    <a:pt x="423" y="1031"/>
                  </a:lnTo>
                  <a:lnTo>
                    <a:pt x="431" y="985"/>
                  </a:lnTo>
                  <a:lnTo>
                    <a:pt x="364" y="975"/>
                  </a:lnTo>
                  <a:lnTo>
                    <a:pt x="260" y="1019"/>
                  </a:lnTo>
                  <a:lnTo>
                    <a:pt x="213" y="1051"/>
                  </a:lnTo>
                  <a:lnTo>
                    <a:pt x="112" y="1098"/>
                  </a:lnTo>
                  <a:lnTo>
                    <a:pt x="43" y="1116"/>
                  </a:lnTo>
                  <a:lnTo>
                    <a:pt x="9" y="1139"/>
                  </a:lnTo>
                  <a:lnTo>
                    <a:pt x="0" y="1149"/>
                  </a:lnTo>
                  <a:lnTo>
                    <a:pt x="246" y="1234"/>
                  </a:lnTo>
                  <a:lnTo>
                    <a:pt x="226" y="1250"/>
                  </a:lnTo>
                  <a:lnTo>
                    <a:pt x="182" y="1250"/>
                  </a:lnTo>
                  <a:lnTo>
                    <a:pt x="153" y="1253"/>
                  </a:lnTo>
                  <a:lnTo>
                    <a:pt x="148" y="1266"/>
                  </a:lnTo>
                  <a:lnTo>
                    <a:pt x="155" y="1333"/>
                  </a:lnTo>
                  <a:lnTo>
                    <a:pt x="178" y="1350"/>
                  </a:lnTo>
                  <a:lnTo>
                    <a:pt x="238" y="1365"/>
                  </a:lnTo>
                  <a:lnTo>
                    <a:pt x="295" y="1368"/>
                  </a:lnTo>
                  <a:lnTo>
                    <a:pt x="350" y="1354"/>
                  </a:lnTo>
                  <a:lnTo>
                    <a:pt x="420" y="1359"/>
                  </a:lnTo>
                  <a:lnTo>
                    <a:pt x="505" y="1387"/>
                  </a:lnTo>
                  <a:lnTo>
                    <a:pt x="525" y="1380"/>
                  </a:lnTo>
                  <a:lnTo>
                    <a:pt x="591" y="1322"/>
                  </a:lnTo>
                  <a:lnTo>
                    <a:pt x="673" y="1289"/>
                  </a:lnTo>
                  <a:lnTo>
                    <a:pt x="690" y="1296"/>
                  </a:lnTo>
                  <a:lnTo>
                    <a:pt x="713" y="1317"/>
                  </a:lnTo>
                  <a:lnTo>
                    <a:pt x="724" y="1349"/>
                  </a:lnTo>
                  <a:lnTo>
                    <a:pt x="708" y="1372"/>
                  </a:lnTo>
                  <a:lnTo>
                    <a:pt x="668" y="1373"/>
                  </a:lnTo>
                  <a:lnTo>
                    <a:pt x="667" y="1382"/>
                  </a:lnTo>
                  <a:lnTo>
                    <a:pt x="702" y="1441"/>
                  </a:lnTo>
                  <a:lnTo>
                    <a:pt x="714" y="1498"/>
                  </a:lnTo>
                  <a:lnTo>
                    <a:pt x="705" y="1537"/>
                  </a:lnTo>
                  <a:lnTo>
                    <a:pt x="690" y="1551"/>
                  </a:lnTo>
                  <a:lnTo>
                    <a:pt x="614" y="1558"/>
                  </a:lnTo>
                  <a:lnTo>
                    <a:pt x="558" y="1579"/>
                  </a:lnTo>
                  <a:lnTo>
                    <a:pt x="529" y="1616"/>
                  </a:lnTo>
                  <a:lnTo>
                    <a:pt x="509" y="1635"/>
                  </a:lnTo>
                  <a:lnTo>
                    <a:pt x="476" y="1648"/>
                  </a:lnTo>
                  <a:lnTo>
                    <a:pt x="456" y="1641"/>
                  </a:lnTo>
                  <a:lnTo>
                    <a:pt x="411" y="1618"/>
                  </a:lnTo>
                  <a:lnTo>
                    <a:pt x="381" y="1609"/>
                  </a:lnTo>
                  <a:lnTo>
                    <a:pt x="362" y="1623"/>
                  </a:lnTo>
                  <a:lnTo>
                    <a:pt x="340" y="1664"/>
                  </a:lnTo>
                  <a:lnTo>
                    <a:pt x="323" y="1688"/>
                  </a:lnTo>
                  <a:lnTo>
                    <a:pt x="308" y="1718"/>
                  </a:lnTo>
                  <a:lnTo>
                    <a:pt x="269" y="1759"/>
                  </a:lnTo>
                  <a:lnTo>
                    <a:pt x="259" y="1787"/>
                  </a:lnTo>
                  <a:lnTo>
                    <a:pt x="254" y="1812"/>
                  </a:lnTo>
                  <a:lnTo>
                    <a:pt x="232" y="1829"/>
                  </a:lnTo>
                  <a:lnTo>
                    <a:pt x="229" y="1866"/>
                  </a:lnTo>
                  <a:lnTo>
                    <a:pt x="194" y="1882"/>
                  </a:lnTo>
                  <a:lnTo>
                    <a:pt x="222" y="1962"/>
                  </a:lnTo>
                  <a:lnTo>
                    <a:pt x="223" y="1967"/>
                  </a:lnTo>
                  <a:lnTo>
                    <a:pt x="269" y="1969"/>
                  </a:lnTo>
                  <a:lnTo>
                    <a:pt x="297" y="1983"/>
                  </a:lnTo>
                  <a:lnTo>
                    <a:pt x="357" y="2023"/>
                  </a:lnTo>
                  <a:lnTo>
                    <a:pt x="378" y="2025"/>
                  </a:lnTo>
                  <a:lnTo>
                    <a:pt x="402" y="2008"/>
                  </a:lnTo>
                  <a:lnTo>
                    <a:pt x="419" y="2008"/>
                  </a:lnTo>
                  <a:lnTo>
                    <a:pt x="439" y="2029"/>
                  </a:lnTo>
                  <a:lnTo>
                    <a:pt x="456" y="2068"/>
                  </a:lnTo>
                  <a:lnTo>
                    <a:pt x="446" y="2085"/>
                  </a:lnTo>
                  <a:lnTo>
                    <a:pt x="414" y="2083"/>
                  </a:lnTo>
                  <a:lnTo>
                    <a:pt x="325" y="2048"/>
                  </a:lnTo>
                  <a:lnTo>
                    <a:pt x="311" y="2082"/>
                  </a:lnTo>
                  <a:lnTo>
                    <a:pt x="299" y="2096"/>
                  </a:lnTo>
                  <a:lnTo>
                    <a:pt x="307" y="2120"/>
                  </a:lnTo>
                  <a:lnTo>
                    <a:pt x="350" y="2155"/>
                  </a:lnTo>
                  <a:lnTo>
                    <a:pt x="389" y="2210"/>
                  </a:lnTo>
                  <a:lnTo>
                    <a:pt x="406" y="2227"/>
                  </a:lnTo>
                  <a:lnTo>
                    <a:pt x="455" y="2220"/>
                  </a:lnTo>
                  <a:lnTo>
                    <a:pt x="472" y="2204"/>
                  </a:lnTo>
                  <a:lnTo>
                    <a:pt x="505" y="2197"/>
                  </a:lnTo>
                  <a:lnTo>
                    <a:pt x="569" y="2164"/>
                  </a:lnTo>
                  <a:lnTo>
                    <a:pt x="606" y="2241"/>
                  </a:lnTo>
                  <a:lnTo>
                    <a:pt x="611" y="2275"/>
                  </a:lnTo>
                  <a:lnTo>
                    <a:pt x="599" y="2316"/>
                  </a:lnTo>
                  <a:lnTo>
                    <a:pt x="604" y="2395"/>
                  </a:lnTo>
                  <a:lnTo>
                    <a:pt x="609" y="2404"/>
                  </a:lnTo>
                  <a:lnTo>
                    <a:pt x="611" y="2413"/>
                  </a:lnTo>
                  <a:lnTo>
                    <a:pt x="640" y="2420"/>
                  </a:lnTo>
                  <a:lnTo>
                    <a:pt x="692" y="2409"/>
                  </a:lnTo>
                  <a:lnTo>
                    <a:pt x="720" y="2383"/>
                  </a:lnTo>
                  <a:lnTo>
                    <a:pt x="718" y="2372"/>
                  </a:lnTo>
                  <a:lnTo>
                    <a:pt x="758" y="2365"/>
                  </a:lnTo>
                  <a:lnTo>
                    <a:pt x="819" y="2375"/>
                  </a:lnTo>
                  <a:lnTo>
                    <a:pt x="841" y="2397"/>
                  </a:lnTo>
                  <a:lnTo>
                    <a:pt x="864" y="2428"/>
                  </a:lnTo>
                  <a:lnTo>
                    <a:pt x="889" y="2453"/>
                  </a:lnTo>
                  <a:lnTo>
                    <a:pt x="905" y="2462"/>
                  </a:lnTo>
                  <a:lnTo>
                    <a:pt x="913" y="2458"/>
                  </a:lnTo>
                  <a:lnTo>
                    <a:pt x="913" y="2432"/>
                  </a:lnTo>
                  <a:lnTo>
                    <a:pt x="902" y="2404"/>
                  </a:lnTo>
                  <a:lnTo>
                    <a:pt x="908" y="2386"/>
                  </a:lnTo>
                  <a:lnTo>
                    <a:pt x="934" y="2370"/>
                  </a:lnTo>
                  <a:lnTo>
                    <a:pt x="946" y="2365"/>
                  </a:lnTo>
                  <a:lnTo>
                    <a:pt x="969" y="2411"/>
                  </a:lnTo>
                  <a:lnTo>
                    <a:pt x="999" y="2414"/>
                  </a:lnTo>
                  <a:lnTo>
                    <a:pt x="1081" y="2390"/>
                  </a:lnTo>
                  <a:lnTo>
                    <a:pt x="1080" y="2421"/>
                  </a:lnTo>
                  <a:lnTo>
                    <a:pt x="1072" y="2451"/>
                  </a:lnTo>
                  <a:lnTo>
                    <a:pt x="1041" y="2490"/>
                  </a:lnTo>
                  <a:lnTo>
                    <a:pt x="1029" y="2547"/>
                  </a:lnTo>
                  <a:lnTo>
                    <a:pt x="1029" y="2603"/>
                  </a:lnTo>
                  <a:lnTo>
                    <a:pt x="1018" y="2619"/>
                  </a:lnTo>
                  <a:lnTo>
                    <a:pt x="953" y="2668"/>
                  </a:lnTo>
                  <a:lnTo>
                    <a:pt x="932" y="2691"/>
                  </a:lnTo>
                  <a:lnTo>
                    <a:pt x="932" y="2730"/>
                  </a:lnTo>
                  <a:lnTo>
                    <a:pt x="937" y="2746"/>
                  </a:lnTo>
                  <a:lnTo>
                    <a:pt x="874" y="2741"/>
                  </a:lnTo>
                  <a:lnTo>
                    <a:pt x="824" y="2772"/>
                  </a:lnTo>
                  <a:lnTo>
                    <a:pt x="790" y="2817"/>
                  </a:lnTo>
                  <a:lnTo>
                    <a:pt x="757" y="2837"/>
                  </a:lnTo>
                  <a:lnTo>
                    <a:pt x="742" y="2863"/>
                  </a:lnTo>
                  <a:lnTo>
                    <a:pt x="742" y="2876"/>
                  </a:lnTo>
                  <a:lnTo>
                    <a:pt x="785" y="2902"/>
                  </a:lnTo>
                  <a:lnTo>
                    <a:pt x="892" y="2872"/>
                  </a:lnTo>
                  <a:lnTo>
                    <a:pt x="925" y="2839"/>
                  </a:lnTo>
                  <a:lnTo>
                    <a:pt x="937" y="2809"/>
                  </a:lnTo>
                  <a:lnTo>
                    <a:pt x="945" y="2795"/>
                  </a:lnTo>
                  <a:lnTo>
                    <a:pt x="999" y="2762"/>
                  </a:lnTo>
                  <a:lnTo>
                    <a:pt x="1023" y="2742"/>
                  </a:lnTo>
                  <a:lnTo>
                    <a:pt x="1097" y="2718"/>
                  </a:lnTo>
                  <a:lnTo>
                    <a:pt x="1146" y="2686"/>
                  </a:lnTo>
                  <a:lnTo>
                    <a:pt x="1150" y="2674"/>
                  </a:lnTo>
                  <a:lnTo>
                    <a:pt x="1126" y="2637"/>
                  </a:lnTo>
                  <a:lnTo>
                    <a:pt x="1158" y="2608"/>
                  </a:lnTo>
                  <a:lnTo>
                    <a:pt x="1203" y="2584"/>
                  </a:lnTo>
                  <a:lnTo>
                    <a:pt x="1233" y="2554"/>
                  </a:lnTo>
                  <a:lnTo>
                    <a:pt x="1297" y="2529"/>
                  </a:lnTo>
                  <a:lnTo>
                    <a:pt x="1326" y="2522"/>
                  </a:lnTo>
                  <a:lnTo>
                    <a:pt x="1350" y="2494"/>
                  </a:lnTo>
                  <a:lnTo>
                    <a:pt x="1369" y="2464"/>
                  </a:lnTo>
                  <a:lnTo>
                    <a:pt x="1393" y="2441"/>
                  </a:lnTo>
                  <a:lnTo>
                    <a:pt x="1421" y="2427"/>
                  </a:lnTo>
                  <a:lnTo>
                    <a:pt x="1438" y="2400"/>
                  </a:lnTo>
                  <a:lnTo>
                    <a:pt x="1444" y="2386"/>
                  </a:lnTo>
                  <a:lnTo>
                    <a:pt x="1422" y="2368"/>
                  </a:lnTo>
                  <a:lnTo>
                    <a:pt x="1393" y="2360"/>
                  </a:lnTo>
                  <a:lnTo>
                    <a:pt x="1376" y="2358"/>
                  </a:lnTo>
                  <a:lnTo>
                    <a:pt x="1360" y="2345"/>
                  </a:lnTo>
                  <a:lnTo>
                    <a:pt x="1362" y="2323"/>
                  </a:lnTo>
                  <a:lnTo>
                    <a:pt x="1391" y="2275"/>
                  </a:lnTo>
                  <a:lnTo>
                    <a:pt x="1418" y="2254"/>
                  </a:lnTo>
                  <a:lnTo>
                    <a:pt x="1473" y="2236"/>
                  </a:lnTo>
                  <a:lnTo>
                    <a:pt x="1497" y="2210"/>
                  </a:lnTo>
                  <a:lnTo>
                    <a:pt x="1506" y="2169"/>
                  </a:lnTo>
                  <a:lnTo>
                    <a:pt x="1499" y="2143"/>
                  </a:lnTo>
                  <a:lnTo>
                    <a:pt x="1513" y="2132"/>
                  </a:lnTo>
                  <a:lnTo>
                    <a:pt x="1531" y="2125"/>
                  </a:lnTo>
                  <a:lnTo>
                    <a:pt x="1567" y="2076"/>
                  </a:lnTo>
                  <a:lnTo>
                    <a:pt x="1612" y="2053"/>
                  </a:lnTo>
                  <a:lnTo>
                    <a:pt x="1649" y="2023"/>
                  </a:lnTo>
                  <a:lnTo>
                    <a:pt x="1675" y="1988"/>
                  </a:lnTo>
                  <a:lnTo>
                    <a:pt x="1695" y="1981"/>
                  </a:lnTo>
                  <a:lnTo>
                    <a:pt x="1706" y="1963"/>
                  </a:lnTo>
                  <a:lnTo>
                    <a:pt x="1752" y="1960"/>
                  </a:lnTo>
                  <a:lnTo>
                    <a:pt x="1848" y="2027"/>
                  </a:lnTo>
                  <a:lnTo>
                    <a:pt x="1838" y="2039"/>
                  </a:lnTo>
                  <a:lnTo>
                    <a:pt x="1790" y="2031"/>
                  </a:lnTo>
                  <a:lnTo>
                    <a:pt x="1739" y="2032"/>
                  </a:lnTo>
                  <a:lnTo>
                    <a:pt x="1699" y="2050"/>
                  </a:lnTo>
                  <a:lnTo>
                    <a:pt x="1669" y="2075"/>
                  </a:lnTo>
                  <a:lnTo>
                    <a:pt x="1661" y="2108"/>
                  </a:lnTo>
                  <a:lnTo>
                    <a:pt x="1643" y="2148"/>
                  </a:lnTo>
                  <a:lnTo>
                    <a:pt x="1606" y="2192"/>
                  </a:lnTo>
                  <a:lnTo>
                    <a:pt x="1606" y="2201"/>
                  </a:lnTo>
                  <a:lnTo>
                    <a:pt x="1636" y="2241"/>
                  </a:lnTo>
                  <a:lnTo>
                    <a:pt x="1638" y="2271"/>
                  </a:lnTo>
                  <a:lnTo>
                    <a:pt x="1608" y="2303"/>
                  </a:lnTo>
                  <a:lnTo>
                    <a:pt x="1597" y="2337"/>
                  </a:lnTo>
                  <a:lnTo>
                    <a:pt x="1645" y="2328"/>
                  </a:lnTo>
                  <a:lnTo>
                    <a:pt x="1732" y="2259"/>
                  </a:lnTo>
                  <a:lnTo>
                    <a:pt x="1780" y="2241"/>
                  </a:lnTo>
                  <a:lnTo>
                    <a:pt x="1822" y="2194"/>
                  </a:lnTo>
                  <a:lnTo>
                    <a:pt x="1848" y="2187"/>
                  </a:lnTo>
                  <a:lnTo>
                    <a:pt x="1873" y="2192"/>
                  </a:lnTo>
                  <a:lnTo>
                    <a:pt x="1908" y="2208"/>
                  </a:lnTo>
                  <a:lnTo>
                    <a:pt x="1929" y="2208"/>
                  </a:lnTo>
                  <a:lnTo>
                    <a:pt x="1949" y="2173"/>
                  </a:lnTo>
                  <a:lnTo>
                    <a:pt x="1952" y="2143"/>
                  </a:lnTo>
                  <a:lnTo>
                    <a:pt x="1944" y="2120"/>
                  </a:lnTo>
                  <a:lnTo>
                    <a:pt x="1895" y="2096"/>
                  </a:lnTo>
                  <a:lnTo>
                    <a:pt x="1906" y="2064"/>
                  </a:lnTo>
                  <a:lnTo>
                    <a:pt x="1924" y="2043"/>
                  </a:lnTo>
                  <a:lnTo>
                    <a:pt x="1932" y="2039"/>
                  </a:lnTo>
                  <a:lnTo>
                    <a:pt x="1929" y="2004"/>
                  </a:lnTo>
                  <a:lnTo>
                    <a:pt x="1959" y="1997"/>
                  </a:lnTo>
                  <a:lnTo>
                    <a:pt x="1983" y="1979"/>
                  </a:lnTo>
                  <a:lnTo>
                    <a:pt x="2013" y="2006"/>
                  </a:lnTo>
                  <a:lnTo>
                    <a:pt x="2050" y="2025"/>
                  </a:lnTo>
                  <a:lnTo>
                    <a:pt x="2117" y="2045"/>
                  </a:lnTo>
                  <a:lnTo>
                    <a:pt x="2174" y="2075"/>
                  </a:lnTo>
                  <a:lnTo>
                    <a:pt x="2185" y="2101"/>
                  </a:lnTo>
                  <a:lnTo>
                    <a:pt x="2223" y="2125"/>
                  </a:lnTo>
                  <a:lnTo>
                    <a:pt x="2259" y="2113"/>
                  </a:lnTo>
                  <a:lnTo>
                    <a:pt x="2272" y="2094"/>
                  </a:lnTo>
                  <a:lnTo>
                    <a:pt x="2290" y="2137"/>
                  </a:lnTo>
                  <a:lnTo>
                    <a:pt x="2320" y="2167"/>
                  </a:lnTo>
                  <a:lnTo>
                    <a:pt x="2329" y="2176"/>
                  </a:lnTo>
                  <a:lnTo>
                    <a:pt x="2365" y="2183"/>
                  </a:lnTo>
                  <a:lnTo>
                    <a:pt x="2460" y="2180"/>
                  </a:lnTo>
                  <a:lnTo>
                    <a:pt x="2524" y="2189"/>
                  </a:lnTo>
                  <a:lnTo>
                    <a:pt x="2570" y="2185"/>
                  </a:lnTo>
                  <a:lnTo>
                    <a:pt x="2591" y="2169"/>
                  </a:lnTo>
                  <a:lnTo>
                    <a:pt x="2607" y="2167"/>
                  </a:lnTo>
                  <a:lnTo>
                    <a:pt x="2620" y="2176"/>
                  </a:lnTo>
                  <a:lnTo>
                    <a:pt x="2628" y="2190"/>
                  </a:lnTo>
                  <a:lnTo>
                    <a:pt x="2626" y="2210"/>
                  </a:lnTo>
                  <a:lnTo>
                    <a:pt x="2673" y="2229"/>
                  </a:lnTo>
                  <a:lnTo>
                    <a:pt x="2720" y="2234"/>
                  </a:lnTo>
                  <a:lnTo>
                    <a:pt x="2749" y="2233"/>
                  </a:lnTo>
                  <a:lnTo>
                    <a:pt x="2769" y="2222"/>
                  </a:lnTo>
                  <a:lnTo>
                    <a:pt x="2804" y="2210"/>
                  </a:lnTo>
                  <a:lnTo>
                    <a:pt x="2820" y="2222"/>
                  </a:lnTo>
                  <a:lnTo>
                    <a:pt x="2831" y="2243"/>
                  </a:lnTo>
                  <a:lnTo>
                    <a:pt x="2823" y="2256"/>
                  </a:lnTo>
                  <a:lnTo>
                    <a:pt x="2783" y="2275"/>
                  </a:lnTo>
                  <a:lnTo>
                    <a:pt x="2841" y="2317"/>
                  </a:lnTo>
                  <a:lnTo>
                    <a:pt x="2881" y="2333"/>
                  </a:lnTo>
                  <a:lnTo>
                    <a:pt x="2885" y="2333"/>
                  </a:lnTo>
                  <a:lnTo>
                    <a:pt x="2914" y="2337"/>
                  </a:lnTo>
                  <a:lnTo>
                    <a:pt x="2939" y="2360"/>
                  </a:lnTo>
                  <a:lnTo>
                    <a:pt x="3000" y="2432"/>
                  </a:lnTo>
                  <a:lnTo>
                    <a:pt x="3048" y="2460"/>
                  </a:lnTo>
                  <a:lnTo>
                    <a:pt x="3120" y="2446"/>
                  </a:lnTo>
                  <a:lnTo>
                    <a:pt x="3118" y="2430"/>
                  </a:lnTo>
                  <a:lnTo>
                    <a:pt x="3062" y="2375"/>
                  </a:lnTo>
                  <a:lnTo>
                    <a:pt x="3115" y="2393"/>
                  </a:lnTo>
                  <a:lnTo>
                    <a:pt x="3139" y="2381"/>
                  </a:lnTo>
                  <a:lnTo>
                    <a:pt x="3157" y="2418"/>
                  </a:lnTo>
                  <a:lnTo>
                    <a:pt x="3180" y="2455"/>
                  </a:lnTo>
                  <a:lnTo>
                    <a:pt x="3192" y="2462"/>
                  </a:lnTo>
                  <a:lnTo>
                    <a:pt x="3223" y="2472"/>
                  </a:lnTo>
                  <a:lnTo>
                    <a:pt x="3225" y="2460"/>
                  </a:lnTo>
                  <a:lnTo>
                    <a:pt x="3221" y="2437"/>
                  </a:lnTo>
                  <a:lnTo>
                    <a:pt x="3201" y="2370"/>
                  </a:lnTo>
                  <a:lnTo>
                    <a:pt x="3206" y="2307"/>
                  </a:lnTo>
                  <a:lnTo>
                    <a:pt x="3223" y="2305"/>
                  </a:lnTo>
                  <a:lnTo>
                    <a:pt x="3239" y="2337"/>
                  </a:lnTo>
                  <a:lnTo>
                    <a:pt x="3248" y="2381"/>
                  </a:lnTo>
                  <a:lnTo>
                    <a:pt x="3269" y="2441"/>
                  </a:lnTo>
                  <a:lnTo>
                    <a:pt x="3338" y="2495"/>
                  </a:lnTo>
                  <a:lnTo>
                    <a:pt x="3348" y="2515"/>
                  </a:lnTo>
                  <a:lnTo>
                    <a:pt x="3366" y="2536"/>
                  </a:lnTo>
                  <a:lnTo>
                    <a:pt x="3385" y="2541"/>
                  </a:lnTo>
                  <a:lnTo>
                    <a:pt x="3399" y="2554"/>
                  </a:lnTo>
                  <a:lnTo>
                    <a:pt x="3401" y="2562"/>
                  </a:lnTo>
                  <a:lnTo>
                    <a:pt x="3385" y="2580"/>
                  </a:lnTo>
                  <a:lnTo>
                    <a:pt x="3389" y="2596"/>
                  </a:lnTo>
                  <a:lnTo>
                    <a:pt x="3415" y="2640"/>
                  </a:lnTo>
                  <a:lnTo>
                    <a:pt x="3409" y="2667"/>
                  </a:lnTo>
                  <a:lnTo>
                    <a:pt x="3429" y="2677"/>
                  </a:lnTo>
                  <a:lnTo>
                    <a:pt x="3461" y="2700"/>
                  </a:lnTo>
                  <a:lnTo>
                    <a:pt x="3491" y="2753"/>
                  </a:lnTo>
                  <a:lnTo>
                    <a:pt x="3520" y="2786"/>
                  </a:lnTo>
                  <a:lnTo>
                    <a:pt x="3536" y="2811"/>
                  </a:lnTo>
                  <a:lnTo>
                    <a:pt x="3519" y="2849"/>
                  </a:lnTo>
                  <a:lnTo>
                    <a:pt x="3522" y="2895"/>
                  </a:lnTo>
                  <a:lnTo>
                    <a:pt x="3544" y="2888"/>
                  </a:lnTo>
                  <a:lnTo>
                    <a:pt x="3550" y="2876"/>
                  </a:lnTo>
                  <a:lnTo>
                    <a:pt x="3569" y="2869"/>
                  </a:lnTo>
                  <a:lnTo>
                    <a:pt x="3625" y="2865"/>
                  </a:lnTo>
                  <a:lnTo>
                    <a:pt x="3634" y="2884"/>
                  </a:lnTo>
                  <a:lnTo>
                    <a:pt x="3655" y="2907"/>
                  </a:lnTo>
                  <a:lnTo>
                    <a:pt x="3674" y="2957"/>
                  </a:lnTo>
                  <a:lnTo>
                    <a:pt x="3667" y="3022"/>
                  </a:lnTo>
                  <a:lnTo>
                    <a:pt x="3674" y="3038"/>
                  </a:lnTo>
                  <a:lnTo>
                    <a:pt x="3689" y="3049"/>
                  </a:lnTo>
                  <a:lnTo>
                    <a:pt x="3703" y="3031"/>
                  </a:lnTo>
                  <a:lnTo>
                    <a:pt x="3716" y="3022"/>
                  </a:lnTo>
                  <a:lnTo>
                    <a:pt x="3736" y="3017"/>
                  </a:lnTo>
                  <a:lnTo>
                    <a:pt x="3743" y="2987"/>
                  </a:lnTo>
                  <a:lnTo>
                    <a:pt x="3724" y="2929"/>
                  </a:lnTo>
                  <a:lnTo>
                    <a:pt x="3732" y="2872"/>
                  </a:lnTo>
                  <a:lnTo>
                    <a:pt x="3714" y="2853"/>
                  </a:lnTo>
                  <a:lnTo>
                    <a:pt x="3583" y="2771"/>
                  </a:lnTo>
                  <a:lnTo>
                    <a:pt x="3573" y="2769"/>
                  </a:lnTo>
                  <a:lnTo>
                    <a:pt x="3551" y="2741"/>
                  </a:lnTo>
                  <a:lnTo>
                    <a:pt x="3399" y="2464"/>
                  </a:lnTo>
                  <a:lnTo>
                    <a:pt x="3363" y="2420"/>
                  </a:lnTo>
                  <a:lnTo>
                    <a:pt x="3273" y="2328"/>
                  </a:lnTo>
                  <a:lnTo>
                    <a:pt x="3258" y="2303"/>
                  </a:lnTo>
                  <a:lnTo>
                    <a:pt x="3241" y="2264"/>
                  </a:lnTo>
                  <a:lnTo>
                    <a:pt x="3227" y="2248"/>
                  </a:lnTo>
                  <a:lnTo>
                    <a:pt x="3191" y="2243"/>
                  </a:lnTo>
                  <a:lnTo>
                    <a:pt x="3168" y="2254"/>
                  </a:lnTo>
                  <a:lnTo>
                    <a:pt x="3136" y="2293"/>
                  </a:lnTo>
                  <a:lnTo>
                    <a:pt x="3082" y="2344"/>
                  </a:lnTo>
                  <a:lnTo>
                    <a:pt x="3044" y="2360"/>
                  </a:lnTo>
                  <a:lnTo>
                    <a:pt x="3033" y="2386"/>
                  </a:lnTo>
                  <a:lnTo>
                    <a:pt x="2897" y="2231"/>
                  </a:lnTo>
                  <a:lnTo>
                    <a:pt x="2881" y="2208"/>
                  </a:lnTo>
                  <a:lnTo>
                    <a:pt x="2873" y="2178"/>
                  </a:lnTo>
                  <a:lnTo>
                    <a:pt x="2859" y="2146"/>
                  </a:lnTo>
                  <a:lnTo>
                    <a:pt x="2827" y="2143"/>
                  </a:lnTo>
                  <a:lnTo>
                    <a:pt x="2720" y="2151"/>
                  </a:lnTo>
                  <a:lnTo>
                    <a:pt x="2683" y="2146"/>
                  </a:lnTo>
                  <a:lnTo>
                    <a:pt x="2673" y="2123"/>
                  </a:lnTo>
                  <a:lnTo>
                    <a:pt x="2663" y="416"/>
                  </a:lnTo>
                  <a:lnTo>
                    <a:pt x="2659" y="370"/>
                  </a:lnTo>
                  <a:lnTo>
                    <a:pt x="2648" y="370"/>
                  </a:lnTo>
                  <a:lnTo>
                    <a:pt x="2595" y="342"/>
                  </a:lnTo>
                  <a:lnTo>
                    <a:pt x="2487" y="268"/>
                  </a:lnTo>
                  <a:lnTo>
                    <a:pt x="2438" y="245"/>
                  </a:lnTo>
                  <a:lnTo>
                    <a:pt x="2246" y="263"/>
                  </a:lnTo>
                  <a:lnTo>
                    <a:pt x="2213" y="247"/>
                  </a:lnTo>
                  <a:lnTo>
                    <a:pt x="2156" y="231"/>
                  </a:lnTo>
                  <a:lnTo>
                    <a:pt x="2005" y="219"/>
                  </a:lnTo>
                  <a:lnTo>
                    <a:pt x="1906" y="184"/>
                  </a:lnTo>
                  <a:lnTo>
                    <a:pt x="1851" y="173"/>
                  </a:lnTo>
                  <a:lnTo>
                    <a:pt x="1719" y="187"/>
                  </a:lnTo>
                  <a:lnTo>
                    <a:pt x="1670" y="185"/>
                  </a:lnTo>
                  <a:lnTo>
                    <a:pt x="1612" y="175"/>
                  </a:lnTo>
                  <a:lnTo>
                    <a:pt x="1595" y="184"/>
                  </a:lnTo>
                  <a:lnTo>
                    <a:pt x="1572" y="175"/>
                  </a:lnTo>
                  <a:lnTo>
                    <a:pt x="1538" y="141"/>
                  </a:lnTo>
                  <a:lnTo>
                    <a:pt x="1522" y="115"/>
                  </a:lnTo>
                  <a:lnTo>
                    <a:pt x="1490" y="90"/>
                  </a:lnTo>
                  <a:lnTo>
                    <a:pt x="1344" y="78"/>
                  </a:lnTo>
                  <a:lnTo>
                    <a:pt x="1282" y="60"/>
                  </a:lnTo>
                  <a:lnTo>
                    <a:pt x="1245" y="108"/>
                  </a:lnTo>
                  <a:lnTo>
                    <a:pt x="1179" y="92"/>
                  </a:lnTo>
                  <a:lnTo>
                    <a:pt x="1179" y="58"/>
                  </a:lnTo>
                  <a:lnTo>
                    <a:pt x="1196" y="44"/>
                  </a:lnTo>
                  <a:lnTo>
                    <a:pt x="1190" y="28"/>
                  </a:lnTo>
                  <a:lnTo>
                    <a:pt x="1159" y="5"/>
                  </a:lnTo>
                  <a:lnTo>
                    <a:pt x="1147" y="0"/>
                  </a:lnTo>
                  <a:lnTo>
                    <a:pt x="1105" y="2"/>
                  </a:lnTo>
                  <a:lnTo>
                    <a:pt x="1016" y="81"/>
                  </a:lnTo>
                  <a:lnTo>
                    <a:pt x="914" y="101"/>
                  </a:lnTo>
                  <a:lnTo>
                    <a:pt x="864" y="97"/>
                  </a:lnTo>
                  <a:lnTo>
                    <a:pt x="778" y="106"/>
                  </a:lnTo>
                  <a:lnTo>
                    <a:pt x="776" y="125"/>
                  </a:lnTo>
                  <a:lnTo>
                    <a:pt x="810" y="161"/>
                  </a:lnTo>
                  <a:lnTo>
                    <a:pt x="816" y="180"/>
                  </a:lnTo>
                  <a:lnTo>
                    <a:pt x="810" y="198"/>
                  </a:lnTo>
                  <a:lnTo>
                    <a:pt x="730" y="191"/>
                  </a:lnTo>
                  <a:lnTo>
                    <a:pt x="684" y="194"/>
                  </a:lnTo>
                  <a:lnTo>
                    <a:pt x="635" y="217"/>
                  </a:lnTo>
                  <a:lnTo>
                    <a:pt x="587" y="228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10" name="Freeform 47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292" y="1618"/>
              <a:ext cx="43" cy="18"/>
            </a:xfrm>
            <a:custGeom>
              <a:avLst/>
              <a:gdLst>
                <a:gd name="T0" fmla="*/ 29 w 287"/>
                <a:gd name="T1" fmla="*/ 0 h 124"/>
                <a:gd name="T2" fmla="*/ 8 w 287"/>
                <a:gd name="T3" fmla="*/ 4 h 124"/>
                <a:gd name="T4" fmla="*/ 0 w 287"/>
                <a:gd name="T5" fmla="*/ 28 h 124"/>
                <a:gd name="T6" fmla="*/ 18 w 287"/>
                <a:gd name="T7" fmla="*/ 46 h 124"/>
                <a:gd name="T8" fmla="*/ 31 w 287"/>
                <a:gd name="T9" fmla="*/ 53 h 124"/>
                <a:gd name="T10" fmla="*/ 71 w 287"/>
                <a:gd name="T11" fmla="*/ 48 h 124"/>
                <a:gd name="T12" fmla="*/ 105 w 287"/>
                <a:gd name="T13" fmla="*/ 53 h 124"/>
                <a:gd name="T14" fmla="*/ 139 w 287"/>
                <a:gd name="T15" fmla="*/ 71 h 124"/>
                <a:gd name="T16" fmla="*/ 210 w 287"/>
                <a:gd name="T17" fmla="*/ 124 h 124"/>
                <a:gd name="T18" fmla="*/ 233 w 287"/>
                <a:gd name="T19" fmla="*/ 94 h 124"/>
                <a:gd name="T20" fmla="*/ 287 w 287"/>
                <a:gd name="T21" fmla="*/ 94 h 124"/>
                <a:gd name="T22" fmla="*/ 284 w 287"/>
                <a:gd name="T23" fmla="*/ 85 h 124"/>
                <a:gd name="T24" fmla="*/ 267 w 287"/>
                <a:gd name="T25" fmla="*/ 65 h 124"/>
                <a:gd name="T26" fmla="*/ 189 w 287"/>
                <a:gd name="T27" fmla="*/ 36 h 124"/>
                <a:gd name="T28" fmla="*/ 154 w 287"/>
                <a:gd name="T29" fmla="*/ 11 h 124"/>
                <a:gd name="T30" fmla="*/ 131 w 287"/>
                <a:gd name="T31" fmla="*/ 11 h 124"/>
                <a:gd name="T32" fmla="*/ 105 w 287"/>
                <a:gd name="T33" fmla="*/ 18 h 124"/>
                <a:gd name="T34" fmla="*/ 80 w 287"/>
                <a:gd name="T35" fmla="*/ 18 h 124"/>
                <a:gd name="T36" fmla="*/ 29 w 287"/>
                <a:gd name="T37" fmla="*/ 0 h 12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87"/>
                <a:gd name="T58" fmla="*/ 0 h 124"/>
                <a:gd name="T59" fmla="*/ 287 w 287"/>
                <a:gd name="T60" fmla="*/ 124 h 12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87" h="124">
                  <a:moveTo>
                    <a:pt x="29" y="0"/>
                  </a:moveTo>
                  <a:lnTo>
                    <a:pt x="8" y="4"/>
                  </a:lnTo>
                  <a:lnTo>
                    <a:pt x="0" y="28"/>
                  </a:lnTo>
                  <a:lnTo>
                    <a:pt x="18" y="46"/>
                  </a:lnTo>
                  <a:lnTo>
                    <a:pt x="31" y="53"/>
                  </a:lnTo>
                  <a:lnTo>
                    <a:pt x="71" y="48"/>
                  </a:lnTo>
                  <a:lnTo>
                    <a:pt x="105" y="53"/>
                  </a:lnTo>
                  <a:lnTo>
                    <a:pt x="139" y="71"/>
                  </a:lnTo>
                  <a:lnTo>
                    <a:pt x="210" y="124"/>
                  </a:lnTo>
                  <a:lnTo>
                    <a:pt x="233" y="94"/>
                  </a:lnTo>
                  <a:lnTo>
                    <a:pt x="287" y="94"/>
                  </a:lnTo>
                  <a:lnTo>
                    <a:pt x="284" y="85"/>
                  </a:lnTo>
                  <a:lnTo>
                    <a:pt x="267" y="65"/>
                  </a:lnTo>
                  <a:lnTo>
                    <a:pt x="189" y="36"/>
                  </a:lnTo>
                  <a:lnTo>
                    <a:pt x="154" y="11"/>
                  </a:lnTo>
                  <a:lnTo>
                    <a:pt x="131" y="11"/>
                  </a:lnTo>
                  <a:lnTo>
                    <a:pt x="105" y="18"/>
                  </a:lnTo>
                  <a:lnTo>
                    <a:pt x="80" y="18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11" name="Freeform 48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814" y="1765"/>
              <a:ext cx="21" cy="17"/>
            </a:xfrm>
            <a:custGeom>
              <a:avLst/>
              <a:gdLst>
                <a:gd name="T0" fmla="*/ 56 w 145"/>
                <a:gd name="T1" fmla="*/ 0 h 129"/>
                <a:gd name="T2" fmla="*/ 29 w 145"/>
                <a:gd name="T3" fmla="*/ 5 h 129"/>
                <a:gd name="T4" fmla="*/ 18 w 145"/>
                <a:gd name="T5" fmla="*/ 18 h 129"/>
                <a:gd name="T6" fmla="*/ 0 w 145"/>
                <a:gd name="T7" fmla="*/ 53 h 129"/>
                <a:gd name="T8" fmla="*/ 35 w 145"/>
                <a:gd name="T9" fmla="*/ 83 h 129"/>
                <a:gd name="T10" fmla="*/ 76 w 145"/>
                <a:gd name="T11" fmla="*/ 129 h 129"/>
                <a:gd name="T12" fmla="*/ 79 w 145"/>
                <a:gd name="T13" fmla="*/ 111 h 129"/>
                <a:gd name="T14" fmla="*/ 76 w 145"/>
                <a:gd name="T15" fmla="*/ 78 h 129"/>
                <a:gd name="T16" fmla="*/ 103 w 145"/>
                <a:gd name="T17" fmla="*/ 83 h 129"/>
                <a:gd name="T18" fmla="*/ 143 w 145"/>
                <a:gd name="T19" fmla="*/ 104 h 129"/>
                <a:gd name="T20" fmla="*/ 145 w 145"/>
                <a:gd name="T21" fmla="*/ 92 h 129"/>
                <a:gd name="T22" fmla="*/ 125 w 145"/>
                <a:gd name="T23" fmla="*/ 21 h 129"/>
                <a:gd name="T24" fmla="*/ 91 w 145"/>
                <a:gd name="T25" fmla="*/ 28 h 129"/>
                <a:gd name="T26" fmla="*/ 56 w 145"/>
                <a:gd name="T27" fmla="*/ 0 h 12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45"/>
                <a:gd name="T43" fmla="*/ 0 h 129"/>
                <a:gd name="T44" fmla="*/ 145 w 145"/>
                <a:gd name="T45" fmla="*/ 129 h 12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45" h="129">
                  <a:moveTo>
                    <a:pt x="56" y="0"/>
                  </a:moveTo>
                  <a:lnTo>
                    <a:pt x="29" y="5"/>
                  </a:lnTo>
                  <a:lnTo>
                    <a:pt x="18" y="18"/>
                  </a:lnTo>
                  <a:lnTo>
                    <a:pt x="0" y="53"/>
                  </a:lnTo>
                  <a:lnTo>
                    <a:pt x="35" y="83"/>
                  </a:lnTo>
                  <a:lnTo>
                    <a:pt x="76" y="129"/>
                  </a:lnTo>
                  <a:lnTo>
                    <a:pt x="79" y="111"/>
                  </a:lnTo>
                  <a:lnTo>
                    <a:pt x="76" y="78"/>
                  </a:lnTo>
                  <a:lnTo>
                    <a:pt x="103" y="83"/>
                  </a:lnTo>
                  <a:lnTo>
                    <a:pt x="143" y="104"/>
                  </a:lnTo>
                  <a:lnTo>
                    <a:pt x="145" y="92"/>
                  </a:lnTo>
                  <a:lnTo>
                    <a:pt x="125" y="21"/>
                  </a:lnTo>
                  <a:lnTo>
                    <a:pt x="91" y="28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12" name="Freeform 49"/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987" y="1969"/>
              <a:ext cx="850" cy="494"/>
            </a:xfrm>
            <a:custGeom>
              <a:avLst/>
              <a:gdLst>
                <a:gd name="T0" fmla="*/ 152 w 5667"/>
                <a:gd name="T1" fmla="*/ 300 h 3325"/>
                <a:gd name="T2" fmla="*/ 41 w 5667"/>
                <a:gd name="T3" fmla="*/ 303 h 3325"/>
                <a:gd name="T4" fmla="*/ 84 w 5667"/>
                <a:gd name="T5" fmla="*/ 475 h 3325"/>
                <a:gd name="T6" fmla="*/ 72 w 5667"/>
                <a:gd name="T7" fmla="*/ 565 h 3325"/>
                <a:gd name="T8" fmla="*/ 54 w 5667"/>
                <a:gd name="T9" fmla="*/ 1203 h 3325"/>
                <a:gd name="T10" fmla="*/ 171 w 5667"/>
                <a:gd name="T11" fmla="*/ 1623 h 3325"/>
                <a:gd name="T12" fmla="*/ 247 w 5667"/>
                <a:gd name="T13" fmla="*/ 1702 h 3325"/>
                <a:gd name="T14" fmla="*/ 220 w 5667"/>
                <a:gd name="T15" fmla="*/ 1737 h 3325"/>
                <a:gd name="T16" fmla="*/ 302 w 5667"/>
                <a:gd name="T17" fmla="*/ 1897 h 3325"/>
                <a:gd name="T18" fmla="*/ 392 w 5667"/>
                <a:gd name="T19" fmla="*/ 2045 h 3325"/>
                <a:gd name="T20" fmla="*/ 588 w 5667"/>
                <a:gd name="T21" fmla="*/ 2162 h 3325"/>
                <a:gd name="T22" fmla="*/ 688 w 5667"/>
                <a:gd name="T23" fmla="*/ 2238 h 3325"/>
                <a:gd name="T24" fmla="*/ 1324 w 5667"/>
                <a:gd name="T25" fmla="*/ 2523 h 3325"/>
                <a:gd name="T26" fmla="*/ 2024 w 5667"/>
                <a:gd name="T27" fmla="*/ 2786 h 3325"/>
                <a:gd name="T28" fmla="*/ 2386 w 5667"/>
                <a:gd name="T29" fmla="*/ 2909 h 3325"/>
                <a:gd name="T30" fmla="*/ 2642 w 5667"/>
                <a:gd name="T31" fmla="*/ 3196 h 3325"/>
                <a:gd name="T32" fmla="*/ 2736 w 5667"/>
                <a:gd name="T33" fmla="*/ 2928 h 3325"/>
                <a:gd name="T34" fmla="*/ 2929 w 5667"/>
                <a:gd name="T35" fmla="*/ 2722 h 3325"/>
                <a:gd name="T36" fmla="*/ 3329 w 5667"/>
                <a:gd name="T37" fmla="*/ 2807 h 3325"/>
                <a:gd name="T38" fmla="*/ 3455 w 5667"/>
                <a:gd name="T39" fmla="*/ 2808 h 3325"/>
                <a:gd name="T40" fmla="*/ 3363 w 5667"/>
                <a:gd name="T41" fmla="*/ 2676 h 3325"/>
                <a:gd name="T42" fmla="*/ 3663 w 5667"/>
                <a:gd name="T43" fmla="*/ 2637 h 3325"/>
                <a:gd name="T44" fmla="*/ 3939 w 5667"/>
                <a:gd name="T45" fmla="*/ 2699 h 3325"/>
                <a:gd name="T46" fmla="*/ 4146 w 5667"/>
                <a:gd name="T47" fmla="*/ 2983 h 3325"/>
                <a:gd name="T48" fmla="*/ 4273 w 5667"/>
                <a:gd name="T49" fmla="*/ 3291 h 3325"/>
                <a:gd name="T50" fmla="*/ 4365 w 5667"/>
                <a:gd name="T51" fmla="*/ 3233 h 3325"/>
                <a:gd name="T52" fmla="*/ 4314 w 5667"/>
                <a:gd name="T53" fmla="*/ 2405 h 3325"/>
                <a:gd name="T54" fmla="*/ 4728 w 5667"/>
                <a:gd name="T55" fmla="*/ 2070 h 3325"/>
                <a:gd name="T56" fmla="*/ 4702 w 5667"/>
                <a:gd name="T57" fmla="*/ 2038 h 3325"/>
                <a:gd name="T58" fmla="*/ 4723 w 5667"/>
                <a:gd name="T59" fmla="*/ 1968 h 3325"/>
                <a:gd name="T60" fmla="*/ 4785 w 5667"/>
                <a:gd name="T61" fmla="*/ 1915 h 3325"/>
                <a:gd name="T62" fmla="*/ 4712 w 5667"/>
                <a:gd name="T63" fmla="*/ 1867 h 3325"/>
                <a:gd name="T64" fmla="*/ 4784 w 5667"/>
                <a:gd name="T65" fmla="*/ 1867 h 3325"/>
                <a:gd name="T66" fmla="*/ 4819 w 5667"/>
                <a:gd name="T67" fmla="*/ 1924 h 3325"/>
                <a:gd name="T68" fmla="*/ 4715 w 5667"/>
                <a:gd name="T69" fmla="*/ 1740 h 3325"/>
                <a:gd name="T70" fmla="*/ 4739 w 5667"/>
                <a:gd name="T71" fmla="*/ 1715 h 3325"/>
                <a:gd name="T72" fmla="*/ 4751 w 5667"/>
                <a:gd name="T73" fmla="*/ 1641 h 3325"/>
                <a:gd name="T74" fmla="*/ 4695 w 5667"/>
                <a:gd name="T75" fmla="*/ 1596 h 3325"/>
                <a:gd name="T76" fmla="*/ 4740 w 5667"/>
                <a:gd name="T77" fmla="*/ 1579 h 3325"/>
                <a:gd name="T78" fmla="*/ 4758 w 5667"/>
                <a:gd name="T79" fmla="*/ 1448 h 3325"/>
                <a:gd name="T80" fmla="*/ 4749 w 5667"/>
                <a:gd name="T81" fmla="*/ 1496 h 3325"/>
                <a:gd name="T82" fmla="*/ 4777 w 5667"/>
                <a:gd name="T83" fmla="*/ 1554 h 3325"/>
                <a:gd name="T84" fmla="*/ 4794 w 5667"/>
                <a:gd name="T85" fmla="*/ 1644 h 3325"/>
                <a:gd name="T86" fmla="*/ 4819 w 5667"/>
                <a:gd name="T87" fmla="*/ 1693 h 3325"/>
                <a:gd name="T88" fmla="*/ 4831 w 5667"/>
                <a:gd name="T89" fmla="*/ 1390 h 3325"/>
                <a:gd name="T90" fmla="*/ 4924 w 5667"/>
                <a:gd name="T91" fmla="*/ 1457 h 3325"/>
                <a:gd name="T92" fmla="*/ 4988 w 5667"/>
                <a:gd name="T93" fmla="*/ 1205 h 3325"/>
                <a:gd name="T94" fmla="*/ 5239 w 5667"/>
                <a:gd name="T95" fmla="*/ 1124 h 3325"/>
                <a:gd name="T96" fmla="*/ 5304 w 5667"/>
                <a:gd name="T97" fmla="*/ 1148 h 3325"/>
                <a:gd name="T98" fmla="*/ 5320 w 5667"/>
                <a:gd name="T99" fmla="*/ 1118 h 3325"/>
                <a:gd name="T100" fmla="*/ 5292 w 5667"/>
                <a:gd name="T101" fmla="*/ 990 h 3325"/>
                <a:gd name="T102" fmla="*/ 5398 w 5667"/>
                <a:gd name="T103" fmla="*/ 825 h 3325"/>
                <a:gd name="T104" fmla="*/ 5508 w 5667"/>
                <a:gd name="T105" fmla="*/ 738 h 3325"/>
                <a:gd name="T106" fmla="*/ 5623 w 5667"/>
                <a:gd name="T107" fmla="*/ 712 h 3325"/>
                <a:gd name="T108" fmla="*/ 5639 w 5667"/>
                <a:gd name="T109" fmla="*/ 581 h 3325"/>
                <a:gd name="T110" fmla="*/ 5432 w 5667"/>
                <a:gd name="T111" fmla="*/ 338 h 3325"/>
                <a:gd name="T112" fmla="*/ 4716 w 5667"/>
                <a:gd name="T113" fmla="*/ 839 h 3325"/>
                <a:gd name="T114" fmla="*/ 4294 w 5667"/>
                <a:gd name="T115" fmla="*/ 1048 h 3325"/>
                <a:gd name="T116" fmla="*/ 4177 w 5667"/>
                <a:gd name="T117" fmla="*/ 823 h 3325"/>
                <a:gd name="T118" fmla="*/ 3803 w 5667"/>
                <a:gd name="T119" fmla="*/ 323 h 3325"/>
                <a:gd name="T120" fmla="*/ 3276 w 5667"/>
                <a:gd name="T121" fmla="*/ 205 h 3325"/>
                <a:gd name="T122" fmla="*/ 3042 w 5667"/>
                <a:gd name="T123" fmla="*/ 138 h 332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667"/>
                <a:gd name="T187" fmla="*/ 0 h 3325"/>
                <a:gd name="T188" fmla="*/ 5667 w 5667"/>
                <a:gd name="T189" fmla="*/ 3325 h 332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667" h="3325">
                  <a:moveTo>
                    <a:pt x="180" y="63"/>
                  </a:moveTo>
                  <a:lnTo>
                    <a:pt x="208" y="99"/>
                  </a:lnTo>
                  <a:lnTo>
                    <a:pt x="216" y="118"/>
                  </a:lnTo>
                  <a:lnTo>
                    <a:pt x="230" y="183"/>
                  </a:lnTo>
                  <a:lnTo>
                    <a:pt x="233" y="212"/>
                  </a:lnTo>
                  <a:lnTo>
                    <a:pt x="220" y="282"/>
                  </a:lnTo>
                  <a:lnTo>
                    <a:pt x="203" y="302"/>
                  </a:lnTo>
                  <a:lnTo>
                    <a:pt x="196" y="317"/>
                  </a:lnTo>
                  <a:lnTo>
                    <a:pt x="195" y="334"/>
                  </a:lnTo>
                  <a:lnTo>
                    <a:pt x="183" y="321"/>
                  </a:lnTo>
                  <a:lnTo>
                    <a:pt x="176" y="309"/>
                  </a:lnTo>
                  <a:lnTo>
                    <a:pt x="152" y="300"/>
                  </a:lnTo>
                  <a:lnTo>
                    <a:pt x="189" y="249"/>
                  </a:lnTo>
                  <a:lnTo>
                    <a:pt x="188" y="220"/>
                  </a:lnTo>
                  <a:lnTo>
                    <a:pt x="163" y="197"/>
                  </a:lnTo>
                  <a:lnTo>
                    <a:pt x="144" y="192"/>
                  </a:lnTo>
                  <a:lnTo>
                    <a:pt x="121" y="196"/>
                  </a:lnTo>
                  <a:lnTo>
                    <a:pt x="93" y="194"/>
                  </a:lnTo>
                  <a:lnTo>
                    <a:pt x="57" y="185"/>
                  </a:lnTo>
                  <a:lnTo>
                    <a:pt x="29" y="171"/>
                  </a:lnTo>
                  <a:lnTo>
                    <a:pt x="5" y="166"/>
                  </a:lnTo>
                  <a:lnTo>
                    <a:pt x="0" y="175"/>
                  </a:lnTo>
                  <a:lnTo>
                    <a:pt x="1" y="206"/>
                  </a:lnTo>
                  <a:lnTo>
                    <a:pt x="41" y="303"/>
                  </a:lnTo>
                  <a:lnTo>
                    <a:pt x="46" y="370"/>
                  </a:lnTo>
                  <a:lnTo>
                    <a:pt x="53" y="366"/>
                  </a:lnTo>
                  <a:lnTo>
                    <a:pt x="52" y="359"/>
                  </a:lnTo>
                  <a:lnTo>
                    <a:pt x="53" y="355"/>
                  </a:lnTo>
                  <a:lnTo>
                    <a:pt x="58" y="355"/>
                  </a:lnTo>
                  <a:lnTo>
                    <a:pt x="66" y="364"/>
                  </a:lnTo>
                  <a:lnTo>
                    <a:pt x="81" y="366"/>
                  </a:lnTo>
                  <a:lnTo>
                    <a:pt x="56" y="380"/>
                  </a:lnTo>
                  <a:lnTo>
                    <a:pt x="54" y="400"/>
                  </a:lnTo>
                  <a:lnTo>
                    <a:pt x="58" y="421"/>
                  </a:lnTo>
                  <a:lnTo>
                    <a:pt x="56" y="468"/>
                  </a:lnTo>
                  <a:lnTo>
                    <a:pt x="84" y="475"/>
                  </a:lnTo>
                  <a:lnTo>
                    <a:pt x="93" y="475"/>
                  </a:lnTo>
                  <a:lnTo>
                    <a:pt x="90" y="481"/>
                  </a:lnTo>
                  <a:lnTo>
                    <a:pt x="81" y="482"/>
                  </a:lnTo>
                  <a:lnTo>
                    <a:pt x="66" y="477"/>
                  </a:lnTo>
                  <a:lnTo>
                    <a:pt x="66" y="481"/>
                  </a:lnTo>
                  <a:lnTo>
                    <a:pt x="70" y="498"/>
                  </a:lnTo>
                  <a:lnTo>
                    <a:pt x="72" y="511"/>
                  </a:lnTo>
                  <a:lnTo>
                    <a:pt x="65" y="516"/>
                  </a:lnTo>
                  <a:lnTo>
                    <a:pt x="69" y="527"/>
                  </a:lnTo>
                  <a:lnTo>
                    <a:pt x="66" y="542"/>
                  </a:lnTo>
                  <a:lnTo>
                    <a:pt x="72" y="553"/>
                  </a:lnTo>
                  <a:lnTo>
                    <a:pt x="72" y="565"/>
                  </a:lnTo>
                  <a:lnTo>
                    <a:pt x="65" y="657"/>
                  </a:lnTo>
                  <a:lnTo>
                    <a:pt x="40" y="796"/>
                  </a:lnTo>
                  <a:lnTo>
                    <a:pt x="42" y="818"/>
                  </a:lnTo>
                  <a:lnTo>
                    <a:pt x="58" y="855"/>
                  </a:lnTo>
                  <a:lnTo>
                    <a:pt x="42" y="901"/>
                  </a:lnTo>
                  <a:lnTo>
                    <a:pt x="25" y="913"/>
                  </a:lnTo>
                  <a:lnTo>
                    <a:pt x="14" y="929"/>
                  </a:lnTo>
                  <a:lnTo>
                    <a:pt x="9" y="948"/>
                  </a:lnTo>
                  <a:lnTo>
                    <a:pt x="17" y="1005"/>
                  </a:lnTo>
                  <a:lnTo>
                    <a:pt x="46" y="1101"/>
                  </a:lnTo>
                  <a:lnTo>
                    <a:pt x="57" y="1150"/>
                  </a:lnTo>
                  <a:lnTo>
                    <a:pt x="54" y="1203"/>
                  </a:lnTo>
                  <a:lnTo>
                    <a:pt x="37" y="1265"/>
                  </a:lnTo>
                  <a:lnTo>
                    <a:pt x="32" y="1304"/>
                  </a:lnTo>
                  <a:lnTo>
                    <a:pt x="37" y="1323"/>
                  </a:lnTo>
                  <a:lnTo>
                    <a:pt x="69" y="1371"/>
                  </a:lnTo>
                  <a:lnTo>
                    <a:pt x="90" y="1422"/>
                  </a:lnTo>
                  <a:lnTo>
                    <a:pt x="82" y="1448"/>
                  </a:lnTo>
                  <a:lnTo>
                    <a:pt x="97" y="1496"/>
                  </a:lnTo>
                  <a:lnTo>
                    <a:pt x="91" y="1501"/>
                  </a:lnTo>
                  <a:lnTo>
                    <a:pt x="97" y="1510"/>
                  </a:lnTo>
                  <a:lnTo>
                    <a:pt x="147" y="1570"/>
                  </a:lnTo>
                  <a:lnTo>
                    <a:pt x="165" y="1600"/>
                  </a:lnTo>
                  <a:lnTo>
                    <a:pt x="171" y="1623"/>
                  </a:lnTo>
                  <a:lnTo>
                    <a:pt x="193" y="1648"/>
                  </a:lnTo>
                  <a:lnTo>
                    <a:pt x="200" y="1644"/>
                  </a:lnTo>
                  <a:lnTo>
                    <a:pt x="212" y="1656"/>
                  </a:lnTo>
                  <a:lnTo>
                    <a:pt x="216" y="1655"/>
                  </a:lnTo>
                  <a:lnTo>
                    <a:pt x="214" y="1619"/>
                  </a:lnTo>
                  <a:lnTo>
                    <a:pt x="220" y="1619"/>
                  </a:lnTo>
                  <a:lnTo>
                    <a:pt x="221" y="1641"/>
                  </a:lnTo>
                  <a:lnTo>
                    <a:pt x="230" y="1648"/>
                  </a:lnTo>
                  <a:lnTo>
                    <a:pt x="230" y="1662"/>
                  </a:lnTo>
                  <a:lnTo>
                    <a:pt x="240" y="1671"/>
                  </a:lnTo>
                  <a:lnTo>
                    <a:pt x="256" y="1704"/>
                  </a:lnTo>
                  <a:lnTo>
                    <a:pt x="247" y="1702"/>
                  </a:lnTo>
                  <a:lnTo>
                    <a:pt x="242" y="1695"/>
                  </a:lnTo>
                  <a:lnTo>
                    <a:pt x="229" y="1688"/>
                  </a:lnTo>
                  <a:lnTo>
                    <a:pt x="224" y="1676"/>
                  </a:lnTo>
                  <a:lnTo>
                    <a:pt x="226" y="1671"/>
                  </a:lnTo>
                  <a:lnTo>
                    <a:pt x="224" y="1665"/>
                  </a:lnTo>
                  <a:lnTo>
                    <a:pt x="219" y="1662"/>
                  </a:lnTo>
                  <a:lnTo>
                    <a:pt x="214" y="1663"/>
                  </a:lnTo>
                  <a:lnTo>
                    <a:pt x="212" y="1672"/>
                  </a:lnTo>
                  <a:lnTo>
                    <a:pt x="213" y="1701"/>
                  </a:lnTo>
                  <a:lnTo>
                    <a:pt x="219" y="1704"/>
                  </a:lnTo>
                  <a:lnTo>
                    <a:pt x="224" y="1723"/>
                  </a:lnTo>
                  <a:lnTo>
                    <a:pt x="220" y="1737"/>
                  </a:lnTo>
                  <a:lnTo>
                    <a:pt x="242" y="1769"/>
                  </a:lnTo>
                  <a:lnTo>
                    <a:pt x="256" y="1776"/>
                  </a:lnTo>
                  <a:lnTo>
                    <a:pt x="266" y="1774"/>
                  </a:lnTo>
                  <a:lnTo>
                    <a:pt x="275" y="1776"/>
                  </a:lnTo>
                  <a:lnTo>
                    <a:pt x="284" y="1791"/>
                  </a:lnTo>
                  <a:lnTo>
                    <a:pt x="282" y="1811"/>
                  </a:lnTo>
                  <a:lnTo>
                    <a:pt x="277" y="1821"/>
                  </a:lnTo>
                  <a:lnTo>
                    <a:pt x="267" y="1820"/>
                  </a:lnTo>
                  <a:lnTo>
                    <a:pt x="267" y="1834"/>
                  </a:lnTo>
                  <a:lnTo>
                    <a:pt x="275" y="1866"/>
                  </a:lnTo>
                  <a:lnTo>
                    <a:pt x="293" y="1880"/>
                  </a:lnTo>
                  <a:lnTo>
                    <a:pt x="302" y="1897"/>
                  </a:lnTo>
                  <a:lnTo>
                    <a:pt x="311" y="1903"/>
                  </a:lnTo>
                  <a:lnTo>
                    <a:pt x="328" y="1940"/>
                  </a:lnTo>
                  <a:lnTo>
                    <a:pt x="347" y="1952"/>
                  </a:lnTo>
                  <a:lnTo>
                    <a:pt x="359" y="1970"/>
                  </a:lnTo>
                  <a:lnTo>
                    <a:pt x="373" y="1980"/>
                  </a:lnTo>
                  <a:lnTo>
                    <a:pt x="375" y="1994"/>
                  </a:lnTo>
                  <a:lnTo>
                    <a:pt x="372" y="2000"/>
                  </a:lnTo>
                  <a:lnTo>
                    <a:pt x="372" y="2005"/>
                  </a:lnTo>
                  <a:lnTo>
                    <a:pt x="381" y="2014"/>
                  </a:lnTo>
                  <a:lnTo>
                    <a:pt x="388" y="2012"/>
                  </a:lnTo>
                  <a:lnTo>
                    <a:pt x="398" y="2019"/>
                  </a:lnTo>
                  <a:lnTo>
                    <a:pt x="392" y="2045"/>
                  </a:lnTo>
                  <a:lnTo>
                    <a:pt x="398" y="2075"/>
                  </a:lnTo>
                  <a:lnTo>
                    <a:pt x="396" y="2083"/>
                  </a:lnTo>
                  <a:lnTo>
                    <a:pt x="397" y="2093"/>
                  </a:lnTo>
                  <a:lnTo>
                    <a:pt x="408" y="2097"/>
                  </a:lnTo>
                  <a:lnTo>
                    <a:pt x="413" y="2109"/>
                  </a:lnTo>
                  <a:lnTo>
                    <a:pt x="445" y="2105"/>
                  </a:lnTo>
                  <a:lnTo>
                    <a:pt x="486" y="2114"/>
                  </a:lnTo>
                  <a:lnTo>
                    <a:pt x="502" y="2113"/>
                  </a:lnTo>
                  <a:lnTo>
                    <a:pt x="521" y="2127"/>
                  </a:lnTo>
                  <a:lnTo>
                    <a:pt x="533" y="2146"/>
                  </a:lnTo>
                  <a:lnTo>
                    <a:pt x="575" y="2165"/>
                  </a:lnTo>
                  <a:lnTo>
                    <a:pt x="588" y="2162"/>
                  </a:lnTo>
                  <a:lnTo>
                    <a:pt x="601" y="2162"/>
                  </a:lnTo>
                  <a:lnTo>
                    <a:pt x="612" y="2178"/>
                  </a:lnTo>
                  <a:lnTo>
                    <a:pt x="614" y="2190"/>
                  </a:lnTo>
                  <a:lnTo>
                    <a:pt x="610" y="2194"/>
                  </a:lnTo>
                  <a:lnTo>
                    <a:pt x="618" y="2202"/>
                  </a:lnTo>
                  <a:lnTo>
                    <a:pt x="622" y="2204"/>
                  </a:lnTo>
                  <a:lnTo>
                    <a:pt x="625" y="2202"/>
                  </a:lnTo>
                  <a:lnTo>
                    <a:pt x="625" y="2197"/>
                  </a:lnTo>
                  <a:lnTo>
                    <a:pt x="633" y="2195"/>
                  </a:lnTo>
                  <a:lnTo>
                    <a:pt x="637" y="2199"/>
                  </a:lnTo>
                  <a:lnTo>
                    <a:pt x="659" y="2210"/>
                  </a:lnTo>
                  <a:lnTo>
                    <a:pt x="688" y="2238"/>
                  </a:lnTo>
                  <a:lnTo>
                    <a:pt x="709" y="2264"/>
                  </a:lnTo>
                  <a:lnTo>
                    <a:pt x="724" y="2299"/>
                  </a:lnTo>
                  <a:lnTo>
                    <a:pt x="724" y="2338"/>
                  </a:lnTo>
                  <a:lnTo>
                    <a:pt x="725" y="2344"/>
                  </a:lnTo>
                  <a:lnTo>
                    <a:pt x="727" y="2340"/>
                  </a:lnTo>
                  <a:lnTo>
                    <a:pt x="729" y="2338"/>
                  </a:lnTo>
                  <a:lnTo>
                    <a:pt x="739" y="2363"/>
                  </a:lnTo>
                  <a:lnTo>
                    <a:pt x="740" y="2368"/>
                  </a:lnTo>
                  <a:lnTo>
                    <a:pt x="966" y="2354"/>
                  </a:lnTo>
                  <a:lnTo>
                    <a:pt x="979" y="2372"/>
                  </a:lnTo>
                  <a:lnTo>
                    <a:pt x="991" y="2381"/>
                  </a:lnTo>
                  <a:lnTo>
                    <a:pt x="1324" y="2523"/>
                  </a:lnTo>
                  <a:lnTo>
                    <a:pt x="1338" y="2526"/>
                  </a:lnTo>
                  <a:lnTo>
                    <a:pt x="1604" y="2530"/>
                  </a:lnTo>
                  <a:lnTo>
                    <a:pt x="1614" y="2525"/>
                  </a:lnTo>
                  <a:lnTo>
                    <a:pt x="1619" y="2472"/>
                  </a:lnTo>
                  <a:lnTo>
                    <a:pt x="1783" y="2475"/>
                  </a:lnTo>
                  <a:lnTo>
                    <a:pt x="1793" y="2482"/>
                  </a:lnTo>
                  <a:lnTo>
                    <a:pt x="1820" y="2521"/>
                  </a:lnTo>
                  <a:lnTo>
                    <a:pt x="1922" y="2614"/>
                  </a:lnTo>
                  <a:lnTo>
                    <a:pt x="1931" y="2629"/>
                  </a:lnTo>
                  <a:lnTo>
                    <a:pt x="1956" y="2717"/>
                  </a:lnTo>
                  <a:lnTo>
                    <a:pt x="1977" y="2747"/>
                  </a:lnTo>
                  <a:lnTo>
                    <a:pt x="2024" y="2786"/>
                  </a:lnTo>
                  <a:lnTo>
                    <a:pt x="2073" y="2814"/>
                  </a:lnTo>
                  <a:lnTo>
                    <a:pt x="2089" y="2817"/>
                  </a:lnTo>
                  <a:lnTo>
                    <a:pt x="2110" y="2819"/>
                  </a:lnTo>
                  <a:lnTo>
                    <a:pt x="2128" y="2810"/>
                  </a:lnTo>
                  <a:lnTo>
                    <a:pt x="2184" y="2734"/>
                  </a:lnTo>
                  <a:lnTo>
                    <a:pt x="2205" y="2722"/>
                  </a:lnTo>
                  <a:lnTo>
                    <a:pt x="2233" y="2720"/>
                  </a:lnTo>
                  <a:lnTo>
                    <a:pt x="2256" y="2726"/>
                  </a:lnTo>
                  <a:lnTo>
                    <a:pt x="2290" y="2745"/>
                  </a:lnTo>
                  <a:lnTo>
                    <a:pt x="2307" y="2759"/>
                  </a:lnTo>
                  <a:lnTo>
                    <a:pt x="2324" y="2780"/>
                  </a:lnTo>
                  <a:lnTo>
                    <a:pt x="2386" y="2909"/>
                  </a:lnTo>
                  <a:lnTo>
                    <a:pt x="2423" y="2967"/>
                  </a:lnTo>
                  <a:lnTo>
                    <a:pt x="2453" y="3001"/>
                  </a:lnTo>
                  <a:lnTo>
                    <a:pt x="2463" y="3015"/>
                  </a:lnTo>
                  <a:lnTo>
                    <a:pt x="2467" y="3041"/>
                  </a:lnTo>
                  <a:lnTo>
                    <a:pt x="2482" y="3094"/>
                  </a:lnTo>
                  <a:lnTo>
                    <a:pt x="2498" y="3128"/>
                  </a:lnTo>
                  <a:lnTo>
                    <a:pt x="2514" y="3148"/>
                  </a:lnTo>
                  <a:lnTo>
                    <a:pt x="2553" y="3166"/>
                  </a:lnTo>
                  <a:lnTo>
                    <a:pt x="2600" y="3198"/>
                  </a:lnTo>
                  <a:lnTo>
                    <a:pt x="2612" y="3203"/>
                  </a:lnTo>
                  <a:lnTo>
                    <a:pt x="2629" y="3196"/>
                  </a:lnTo>
                  <a:lnTo>
                    <a:pt x="2642" y="3196"/>
                  </a:lnTo>
                  <a:lnTo>
                    <a:pt x="2678" y="3217"/>
                  </a:lnTo>
                  <a:lnTo>
                    <a:pt x="2695" y="3224"/>
                  </a:lnTo>
                  <a:lnTo>
                    <a:pt x="2663" y="3128"/>
                  </a:lnTo>
                  <a:lnTo>
                    <a:pt x="2658" y="3092"/>
                  </a:lnTo>
                  <a:lnTo>
                    <a:pt x="2658" y="3045"/>
                  </a:lnTo>
                  <a:lnTo>
                    <a:pt x="2663" y="3027"/>
                  </a:lnTo>
                  <a:lnTo>
                    <a:pt x="2692" y="2988"/>
                  </a:lnTo>
                  <a:lnTo>
                    <a:pt x="2688" y="2980"/>
                  </a:lnTo>
                  <a:lnTo>
                    <a:pt x="2663" y="2958"/>
                  </a:lnTo>
                  <a:lnTo>
                    <a:pt x="2675" y="2950"/>
                  </a:lnTo>
                  <a:lnTo>
                    <a:pt x="2708" y="2934"/>
                  </a:lnTo>
                  <a:lnTo>
                    <a:pt x="2736" y="2928"/>
                  </a:lnTo>
                  <a:lnTo>
                    <a:pt x="2751" y="2916"/>
                  </a:lnTo>
                  <a:lnTo>
                    <a:pt x="2761" y="2893"/>
                  </a:lnTo>
                  <a:lnTo>
                    <a:pt x="2741" y="2868"/>
                  </a:lnTo>
                  <a:lnTo>
                    <a:pt x="2747" y="2858"/>
                  </a:lnTo>
                  <a:lnTo>
                    <a:pt x="2778" y="2865"/>
                  </a:lnTo>
                  <a:lnTo>
                    <a:pt x="2797" y="2867"/>
                  </a:lnTo>
                  <a:lnTo>
                    <a:pt x="2817" y="2865"/>
                  </a:lnTo>
                  <a:lnTo>
                    <a:pt x="2856" y="2847"/>
                  </a:lnTo>
                  <a:lnTo>
                    <a:pt x="2930" y="2777"/>
                  </a:lnTo>
                  <a:lnTo>
                    <a:pt x="2909" y="2734"/>
                  </a:lnTo>
                  <a:lnTo>
                    <a:pt x="2916" y="2724"/>
                  </a:lnTo>
                  <a:lnTo>
                    <a:pt x="2929" y="2722"/>
                  </a:lnTo>
                  <a:lnTo>
                    <a:pt x="2935" y="2750"/>
                  </a:lnTo>
                  <a:lnTo>
                    <a:pt x="2972" y="2752"/>
                  </a:lnTo>
                  <a:lnTo>
                    <a:pt x="2999" y="2733"/>
                  </a:lnTo>
                  <a:lnTo>
                    <a:pt x="3068" y="2724"/>
                  </a:lnTo>
                  <a:lnTo>
                    <a:pt x="3146" y="2747"/>
                  </a:lnTo>
                  <a:lnTo>
                    <a:pt x="3198" y="2752"/>
                  </a:lnTo>
                  <a:lnTo>
                    <a:pt x="3211" y="2741"/>
                  </a:lnTo>
                  <a:lnTo>
                    <a:pt x="3186" y="2719"/>
                  </a:lnTo>
                  <a:lnTo>
                    <a:pt x="3215" y="2715"/>
                  </a:lnTo>
                  <a:lnTo>
                    <a:pt x="3265" y="2752"/>
                  </a:lnTo>
                  <a:lnTo>
                    <a:pt x="3284" y="2780"/>
                  </a:lnTo>
                  <a:lnTo>
                    <a:pt x="3329" y="2807"/>
                  </a:lnTo>
                  <a:lnTo>
                    <a:pt x="3342" y="2791"/>
                  </a:lnTo>
                  <a:lnTo>
                    <a:pt x="3363" y="2780"/>
                  </a:lnTo>
                  <a:lnTo>
                    <a:pt x="3382" y="2807"/>
                  </a:lnTo>
                  <a:lnTo>
                    <a:pt x="3386" y="2803"/>
                  </a:lnTo>
                  <a:lnTo>
                    <a:pt x="3398" y="2793"/>
                  </a:lnTo>
                  <a:lnTo>
                    <a:pt x="3377" y="2773"/>
                  </a:lnTo>
                  <a:lnTo>
                    <a:pt x="3386" y="2756"/>
                  </a:lnTo>
                  <a:lnTo>
                    <a:pt x="3387" y="2754"/>
                  </a:lnTo>
                  <a:lnTo>
                    <a:pt x="3399" y="2757"/>
                  </a:lnTo>
                  <a:lnTo>
                    <a:pt x="3407" y="2770"/>
                  </a:lnTo>
                  <a:lnTo>
                    <a:pt x="3443" y="2786"/>
                  </a:lnTo>
                  <a:lnTo>
                    <a:pt x="3455" y="2808"/>
                  </a:lnTo>
                  <a:lnTo>
                    <a:pt x="3477" y="2814"/>
                  </a:lnTo>
                  <a:lnTo>
                    <a:pt x="3501" y="2807"/>
                  </a:lnTo>
                  <a:lnTo>
                    <a:pt x="3476" y="2775"/>
                  </a:lnTo>
                  <a:lnTo>
                    <a:pt x="3449" y="2766"/>
                  </a:lnTo>
                  <a:lnTo>
                    <a:pt x="3437" y="2747"/>
                  </a:lnTo>
                  <a:lnTo>
                    <a:pt x="3436" y="2731"/>
                  </a:lnTo>
                  <a:lnTo>
                    <a:pt x="3467" y="2710"/>
                  </a:lnTo>
                  <a:lnTo>
                    <a:pt x="3437" y="2681"/>
                  </a:lnTo>
                  <a:lnTo>
                    <a:pt x="3419" y="2676"/>
                  </a:lnTo>
                  <a:lnTo>
                    <a:pt x="3395" y="2689"/>
                  </a:lnTo>
                  <a:lnTo>
                    <a:pt x="3371" y="2689"/>
                  </a:lnTo>
                  <a:lnTo>
                    <a:pt x="3363" y="2676"/>
                  </a:lnTo>
                  <a:lnTo>
                    <a:pt x="3379" y="2644"/>
                  </a:lnTo>
                  <a:lnTo>
                    <a:pt x="3390" y="2644"/>
                  </a:lnTo>
                  <a:lnTo>
                    <a:pt x="3435" y="2671"/>
                  </a:lnTo>
                  <a:lnTo>
                    <a:pt x="3451" y="2667"/>
                  </a:lnTo>
                  <a:lnTo>
                    <a:pt x="3480" y="2643"/>
                  </a:lnTo>
                  <a:lnTo>
                    <a:pt x="3567" y="2644"/>
                  </a:lnTo>
                  <a:lnTo>
                    <a:pt x="3588" y="2651"/>
                  </a:lnTo>
                  <a:lnTo>
                    <a:pt x="3599" y="2607"/>
                  </a:lnTo>
                  <a:lnTo>
                    <a:pt x="3624" y="2660"/>
                  </a:lnTo>
                  <a:lnTo>
                    <a:pt x="3631" y="2660"/>
                  </a:lnTo>
                  <a:lnTo>
                    <a:pt x="3660" y="2655"/>
                  </a:lnTo>
                  <a:lnTo>
                    <a:pt x="3663" y="2637"/>
                  </a:lnTo>
                  <a:lnTo>
                    <a:pt x="3690" y="2648"/>
                  </a:lnTo>
                  <a:lnTo>
                    <a:pt x="3738" y="2641"/>
                  </a:lnTo>
                  <a:lnTo>
                    <a:pt x="3760" y="2634"/>
                  </a:lnTo>
                  <a:lnTo>
                    <a:pt x="3770" y="2646"/>
                  </a:lnTo>
                  <a:lnTo>
                    <a:pt x="3791" y="2664"/>
                  </a:lnTo>
                  <a:lnTo>
                    <a:pt x="3825" y="2667"/>
                  </a:lnTo>
                  <a:lnTo>
                    <a:pt x="3837" y="2674"/>
                  </a:lnTo>
                  <a:lnTo>
                    <a:pt x="3848" y="2689"/>
                  </a:lnTo>
                  <a:lnTo>
                    <a:pt x="3853" y="2724"/>
                  </a:lnTo>
                  <a:lnTo>
                    <a:pt x="3865" y="2736"/>
                  </a:lnTo>
                  <a:lnTo>
                    <a:pt x="3919" y="2720"/>
                  </a:lnTo>
                  <a:lnTo>
                    <a:pt x="3939" y="2699"/>
                  </a:lnTo>
                  <a:lnTo>
                    <a:pt x="3963" y="2681"/>
                  </a:lnTo>
                  <a:lnTo>
                    <a:pt x="3981" y="2678"/>
                  </a:lnTo>
                  <a:lnTo>
                    <a:pt x="4005" y="2687"/>
                  </a:lnTo>
                  <a:lnTo>
                    <a:pt x="4081" y="2791"/>
                  </a:lnTo>
                  <a:lnTo>
                    <a:pt x="4103" y="2798"/>
                  </a:lnTo>
                  <a:lnTo>
                    <a:pt x="4113" y="2807"/>
                  </a:lnTo>
                  <a:lnTo>
                    <a:pt x="4127" y="2833"/>
                  </a:lnTo>
                  <a:lnTo>
                    <a:pt x="4107" y="2969"/>
                  </a:lnTo>
                  <a:lnTo>
                    <a:pt x="4119" y="2980"/>
                  </a:lnTo>
                  <a:lnTo>
                    <a:pt x="4140" y="2957"/>
                  </a:lnTo>
                  <a:lnTo>
                    <a:pt x="4147" y="2969"/>
                  </a:lnTo>
                  <a:lnTo>
                    <a:pt x="4146" y="2983"/>
                  </a:lnTo>
                  <a:lnTo>
                    <a:pt x="4130" y="3008"/>
                  </a:lnTo>
                  <a:lnTo>
                    <a:pt x="4116" y="3008"/>
                  </a:lnTo>
                  <a:lnTo>
                    <a:pt x="4132" y="3034"/>
                  </a:lnTo>
                  <a:lnTo>
                    <a:pt x="4159" y="3096"/>
                  </a:lnTo>
                  <a:lnTo>
                    <a:pt x="4176" y="3091"/>
                  </a:lnTo>
                  <a:lnTo>
                    <a:pt x="4183" y="3130"/>
                  </a:lnTo>
                  <a:lnTo>
                    <a:pt x="4201" y="3144"/>
                  </a:lnTo>
                  <a:lnTo>
                    <a:pt x="4207" y="3190"/>
                  </a:lnTo>
                  <a:lnTo>
                    <a:pt x="4216" y="3210"/>
                  </a:lnTo>
                  <a:lnTo>
                    <a:pt x="4248" y="3217"/>
                  </a:lnTo>
                  <a:lnTo>
                    <a:pt x="4273" y="3277"/>
                  </a:lnTo>
                  <a:lnTo>
                    <a:pt x="4273" y="3291"/>
                  </a:lnTo>
                  <a:lnTo>
                    <a:pt x="4279" y="3309"/>
                  </a:lnTo>
                  <a:lnTo>
                    <a:pt x="4302" y="3302"/>
                  </a:lnTo>
                  <a:lnTo>
                    <a:pt x="4314" y="3309"/>
                  </a:lnTo>
                  <a:lnTo>
                    <a:pt x="4331" y="3300"/>
                  </a:lnTo>
                  <a:lnTo>
                    <a:pt x="4342" y="3298"/>
                  </a:lnTo>
                  <a:lnTo>
                    <a:pt x="4343" y="3307"/>
                  </a:lnTo>
                  <a:lnTo>
                    <a:pt x="4337" y="3319"/>
                  </a:lnTo>
                  <a:lnTo>
                    <a:pt x="4339" y="3325"/>
                  </a:lnTo>
                  <a:lnTo>
                    <a:pt x="4355" y="3295"/>
                  </a:lnTo>
                  <a:lnTo>
                    <a:pt x="4356" y="3280"/>
                  </a:lnTo>
                  <a:lnTo>
                    <a:pt x="4352" y="3256"/>
                  </a:lnTo>
                  <a:lnTo>
                    <a:pt x="4365" y="3233"/>
                  </a:lnTo>
                  <a:lnTo>
                    <a:pt x="4381" y="3130"/>
                  </a:lnTo>
                  <a:lnTo>
                    <a:pt x="4379" y="3084"/>
                  </a:lnTo>
                  <a:lnTo>
                    <a:pt x="4372" y="3064"/>
                  </a:lnTo>
                  <a:lnTo>
                    <a:pt x="4360" y="3048"/>
                  </a:lnTo>
                  <a:lnTo>
                    <a:pt x="4364" y="3043"/>
                  </a:lnTo>
                  <a:lnTo>
                    <a:pt x="4343" y="2976"/>
                  </a:lnTo>
                  <a:lnTo>
                    <a:pt x="4327" y="2877"/>
                  </a:lnTo>
                  <a:lnTo>
                    <a:pt x="4248" y="2685"/>
                  </a:lnTo>
                  <a:lnTo>
                    <a:pt x="4238" y="2600"/>
                  </a:lnTo>
                  <a:lnTo>
                    <a:pt x="4270" y="2484"/>
                  </a:lnTo>
                  <a:lnTo>
                    <a:pt x="4306" y="2416"/>
                  </a:lnTo>
                  <a:lnTo>
                    <a:pt x="4314" y="2405"/>
                  </a:lnTo>
                  <a:lnTo>
                    <a:pt x="4330" y="2372"/>
                  </a:lnTo>
                  <a:lnTo>
                    <a:pt x="4364" y="2367"/>
                  </a:lnTo>
                  <a:lnTo>
                    <a:pt x="4414" y="2333"/>
                  </a:lnTo>
                  <a:lnTo>
                    <a:pt x="4450" y="2292"/>
                  </a:lnTo>
                  <a:lnTo>
                    <a:pt x="4454" y="2271"/>
                  </a:lnTo>
                  <a:lnTo>
                    <a:pt x="4465" y="2247"/>
                  </a:lnTo>
                  <a:lnTo>
                    <a:pt x="4494" y="2215"/>
                  </a:lnTo>
                  <a:lnTo>
                    <a:pt x="4544" y="2192"/>
                  </a:lnTo>
                  <a:lnTo>
                    <a:pt x="4586" y="2185"/>
                  </a:lnTo>
                  <a:lnTo>
                    <a:pt x="4651" y="2088"/>
                  </a:lnTo>
                  <a:lnTo>
                    <a:pt x="4718" y="2075"/>
                  </a:lnTo>
                  <a:lnTo>
                    <a:pt x="4728" y="2070"/>
                  </a:lnTo>
                  <a:lnTo>
                    <a:pt x="4729" y="2065"/>
                  </a:lnTo>
                  <a:lnTo>
                    <a:pt x="4748" y="2045"/>
                  </a:lnTo>
                  <a:lnTo>
                    <a:pt x="4746" y="2042"/>
                  </a:lnTo>
                  <a:lnTo>
                    <a:pt x="4737" y="2038"/>
                  </a:lnTo>
                  <a:lnTo>
                    <a:pt x="4735" y="2030"/>
                  </a:lnTo>
                  <a:lnTo>
                    <a:pt x="4729" y="2040"/>
                  </a:lnTo>
                  <a:lnTo>
                    <a:pt x="4716" y="2038"/>
                  </a:lnTo>
                  <a:lnTo>
                    <a:pt x="4703" y="2049"/>
                  </a:lnTo>
                  <a:lnTo>
                    <a:pt x="4686" y="2040"/>
                  </a:lnTo>
                  <a:lnTo>
                    <a:pt x="4674" y="2016"/>
                  </a:lnTo>
                  <a:lnTo>
                    <a:pt x="4696" y="2038"/>
                  </a:lnTo>
                  <a:lnTo>
                    <a:pt x="4702" y="2038"/>
                  </a:lnTo>
                  <a:lnTo>
                    <a:pt x="4715" y="2030"/>
                  </a:lnTo>
                  <a:lnTo>
                    <a:pt x="4723" y="2016"/>
                  </a:lnTo>
                  <a:lnTo>
                    <a:pt x="4712" y="2016"/>
                  </a:lnTo>
                  <a:lnTo>
                    <a:pt x="4729" y="2007"/>
                  </a:lnTo>
                  <a:lnTo>
                    <a:pt x="4732" y="2000"/>
                  </a:lnTo>
                  <a:lnTo>
                    <a:pt x="4695" y="1978"/>
                  </a:lnTo>
                  <a:lnTo>
                    <a:pt x="4683" y="1978"/>
                  </a:lnTo>
                  <a:lnTo>
                    <a:pt x="4675" y="1966"/>
                  </a:lnTo>
                  <a:lnTo>
                    <a:pt x="4718" y="1984"/>
                  </a:lnTo>
                  <a:lnTo>
                    <a:pt x="4721" y="1982"/>
                  </a:lnTo>
                  <a:lnTo>
                    <a:pt x="4715" y="1968"/>
                  </a:lnTo>
                  <a:lnTo>
                    <a:pt x="4723" y="1968"/>
                  </a:lnTo>
                  <a:lnTo>
                    <a:pt x="4728" y="1982"/>
                  </a:lnTo>
                  <a:lnTo>
                    <a:pt x="4735" y="1986"/>
                  </a:lnTo>
                  <a:lnTo>
                    <a:pt x="4743" y="1989"/>
                  </a:lnTo>
                  <a:lnTo>
                    <a:pt x="4764" y="1993"/>
                  </a:lnTo>
                  <a:lnTo>
                    <a:pt x="4776" y="1980"/>
                  </a:lnTo>
                  <a:lnTo>
                    <a:pt x="4789" y="1952"/>
                  </a:lnTo>
                  <a:lnTo>
                    <a:pt x="4792" y="1959"/>
                  </a:lnTo>
                  <a:lnTo>
                    <a:pt x="4800" y="1959"/>
                  </a:lnTo>
                  <a:lnTo>
                    <a:pt x="4807" y="1945"/>
                  </a:lnTo>
                  <a:lnTo>
                    <a:pt x="4805" y="1927"/>
                  </a:lnTo>
                  <a:lnTo>
                    <a:pt x="4794" y="1908"/>
                  </a:lnTo>
                  <a:lnTo>
                    <a:pt x="4785" y="1915"/>
                  </a:lnTo>
                  <a:lnTo>
                    <a:pt x="4776" y="1952"/>
                  </a:lnTo>
                  <a:lnTo>
                    <a:pt x="4768" y="1948"/>
                  </a:lnTo>
                  <a:lnTo>
                    <a:pt x="4773" y="1926"/>
                  </a:lnTo>
                  <a:lnTo>
                    <a:pt x="4777" y="1915"/>
                  </a:lnTo>
                  <a:lnTo>
                    <a:pt x="4772" y="1904"/>
                  </a:lnTo>
                  <a:lnTo>
                    <a:pt x="4746" y="1913"/>
                  </a:lnTo>
                  <a:lnTo>
                    <a:pt x="4708" y="1911"/>
                  </a:lnTo>
                  <a:lnTo>
                    <a:pt x="4712" y="1903"/>
                  </a:lnTo>
                  <a:lnTo>
                    <a:pt x="4706" y="1890"/>
                  </a:lnTo>
                  <a:lnTo>
                    <a:pt x="4704" y="1876"/>
                  </a:lnTo>
                  <a:lnTo>
                    <a:pt x="4709" y="1864"/>
                  </a:lnTo>
                  <a:lnTo>
                    <a:pt x="4712" y="1867"/>
                  </a:lnTo>
                  <a:lnTo>
                    <a:pt x="4709" y="1876"/>
                  </a:lnTo>
                  <a:lnTo>
                    <a:pt x="4709" y="1890"/>
                  </a:lnTo>
                  <a:lnTo>
                    <a:pt x="4721" y="1903"/>
                  </a:lnTo>
                  <a:lnTo>
                    <a:pt x="4728" y="1903"/>
                  </a:lnTo>
                  <a:lnTo>
                    <a:pt x="4745" y="1890"/>
                  </a:lnTo>
                  <a:lnTo>
                    <a:pt x="4735" y="1878"/>
                  </a:lnTo>
                  <a:lnTo>
                    <a:pt x="4758" y="1890"/>
                  </a:lnTo>
                  <a:lnTo>
                    <a:pt x="4770" y="1883"/>
                  </a:lnTo>
                  <a:lnTo>
                    <a:pt x="4758" y="1866"/>
                  </a:lnTo>
                  <a:lnTo>
                    <a:pt x="4760" y="1862"/>
                  </a:lnTo>
                  <a:lnTo>
                    <a:pt x="4784" y="1880"/>
                  </a:lnTo>
                  <a:lnTo>
                    <a:pt x="4784" y="1867"/>
                  </a:lnTo>
                  <a:lnTo>
                    <a:pt x="4792" y="1890"/>
                  </a:lnTo>
                  <a:lnTo>
                    <a:pt x="4798" y="1892"/>
                  </a:lnTo>
                  <a:lnTo>
                    <a:pt x="4789" y="1859"/>
                  </a:lnTo>
                  <a:lnTo>
                    <a:pt x="4782" y="1851"/>
                  </a:lnTo>
                  <a:lnTo>
                    <a:pt x="4774" y="1836"/>
                  </a:lnTo>
                  <a:lnTo>
                    <a:pt x="4788" y="1839"/>
                  </a:lnTo>
                  <a:lnTo>
                    <a:pt x="4786" y="1827"/>
                  </a:lnTo>
                  <a:lnTo>
                    <a:pt x="4780" y="1827"/>
                  </a:lnTo>
                  <a:lnTo>
                    <a:pt x="4784" y="1809"/>
                  </a:lnTo>
                  <a:lnTo>
                    <a:pt x="4789" y="1825"/>
                  </a:lnTo>
                  <a:lnTo>
                    <a:pt x="4807" y="1903"/>
                  </a:lnTo>
                  <a:lnTo>
                    <a:pt x="4819" y="1924"/>
                  </a:lnTo>
                  <a:lnTo>
                    <a:pt x="4825" y="1929"/>
                  </a:lnTo>
                  <a:lnTo>
                    <a:pt x="4805" y="1881"/>
                  </a:lnTo>
                  <a:lnTo>
                    <a:pt x="4780" y="1786"/>
                  </a:lnTo>
                  <a:lnTo>
                    <a:pt x="4748" y="1779"/>
                  </a:lnTo>
                  <a:lnTo>
                    <a:pt x="4746" y="1786"/>
                  </a:lnTo>
                  <a:lnTo>
                    <a:pt x="4727" y="1788"/>
                  </a:lnTo>
                  <a:lnTo>
                    <a:pt x="4728" y="1774"/>
                  </a:lnTo>
                  <a:lnTo>
                    <a:pt x="4708" y="1751"/>
                  </a:lnTo>
                  <a:lnTo>
                    <a:pt x="4688" y="1742"/>
                  </a:lnTo>
                  <a:lnTo>
                    <a:pt x="4686" y="1739"/>
                  </a:lnTo>
                  <a:lnTo>
                    <a:pt x="4695" y="1729"/>
                  </a:lnTo>
                  <a:lnTo>
                    <a:pt x="4715" y="1740"/>
                  </a:lnTo>
                  <a:lnTo>
                    <a:pt x="4737" y="1774"/>
                  </a:lnTo>
                  <a:lnTo>
                    <a:pt x="4751" y="1770"/>
                  </a:lnTo>
                  <a:lnTo>
                    <a:pt x="4749" y="1751"/>
                  </a:lnTo>
                  <a:lnTo>
                    <a:pt x="4741" y="1739"/>
                  </a:lnTo>
                  <a:lnTo>
                    <a:pt x="4733" y="1740"/>
                  </a:lnTo>
                  <a:lnTo>
                    <a:pt x="4720" y="1729"/>
                  </a:lnTo>
                  <a:lnTo>
                    <a:pt x="4702" y="1701"/>
                  </a:lnTo>
                  <a:lnTo>
                    <a:pt x="4702" y="1699"/>
                  </a:lnTo>
                  <a:lnTo>
                    <a:pt x="4732" y="1732"/>
                  </a:lnTo>
                  <a:lnTo>
                    <a:pt x="4740" y="1732"/>
                  </a:lnTo>
                  <a:lnTo>
                    <a:pt x="4736" y="1718"/>
                  </a:lnTo>
                  <a:lnTo>
                    <a:pt x="4739" y="1715"/>
                  </a:lnTo>
                  <a:lnTo>
                    <a:pt x="4753" y="1725"/>
                  </a:lnTo>
                  <a:lnTo>
                    <a:pt x="4755" y="1711"/>
                  </a:lnTo>
                  <a:lnTo>
                    <a:pt x="4752" y="1708"/>
                  </a:lnTo>
                  <a:lnTo>
                    <a:pt x="4753" y="1702"/>
                  </a:lnTo>
                  <a:lnTo>
                    <a:pt x="4740" y="1697"/>
                  </a:lnTo>
                  <a:lnTo>
                    <a:pt x="4751" y="1692"/>
                  </a:lnTo>
                  <a:lnTo>
                    <a:pt x="4723" y="1681"/>
                  </a:lnTo>
                  <a:lnTo>
                    <a:pt x="4691" y="1632"/>
                  </a:lnTo>
                  <a:lnTo>
                    <a:pt x="4737" y="1681"/>
                  </a:lnTo>
                  <a:lnTo>
                    <a:pt x="4748" y="1678"/>
                  </a:lnTo>
                  <a:lnTo>
                    <a:pt x="4757" y="1649"/>
                  </a:lnTo>
                  <a:lnTo>
                    <a:pt x="4751" y="1641"/>
                  </a:lnTo>
                  <a:lnTo>
                    <a:pt x="4725" y="1632"/>
                  </a:lnTo>
                  <a:lnTo>
                    <a:pt x="4728" y="1625"/>
                  </a:lnTo>
                  <a:lnTo>
                    <a:pt x="4686" y="1607"/>
                  </a:lnTo>
                  <a:lnTo>
                    <a:pt x="4676" y="1593"/>
                  </a:lnTo>
                  <a:lnTo>
                    <a:pt x="4658" y="1589"/>
                  </a:lnTo>
                  <a:lnTo>
                    <a:pt x="4649" y="1575"/>
                  </a:lnTo>
                  <a:lnTo>
                    <a:pt x="4655" y="1547"/>
                  </a:lnTo>
                  <a:lnTo>
                    <a:pt x="4675" y="1542"/>
                  </a:lnTo>
                  <a:lnTo>
                    <a:pt x="4655" y="1561"/>
                  </a:lnTo>
                  <a:lnTo>
                    <a:pt x="4655" y="1579"/>
                  </a:lnTo>
                  <a:lnTo>
                    <a:pt x="4671" y="1577"/>
                  </a:lnTo>
                  <a:lnTo>
                    <a:pt x="4695" y="1596"/>
                  </a:lnTo>
                  <a:lnTo>
                    <a:pt x="4691" y="1581"/>
                  </a:lnTo>
                  <a:lnTo>
                    <a:pt x="4697" y="1584"/>
                  </a:lnTo>
                  <a:lnTo>
                    <a:pt x="4703" y="1602"/>
                  </a:lnTo>
                  <a:lnTo>
                    <a:pt x="4720" y="1602"/>
                  </a:lnTo>
                  <a:lnTo>
                    <a:pt x="4746" y="1626"/>
                  </a:lnTo>
                  <a:lnTo>
                    <a:pt x="4740" y="1596"/>
                  </a:lnTo>
                  <a:lnTo>
                    <a:pt x="4723" y="1581"/>
                  </a:lnTo>
                  <a:lnTo>
                    <a:pt x="4715" y="1568"/>
                  </a:lnTo>
                  <a:lnTo>
                    <a:pt x="4713" y="1556"/>
                  </a:lnTo>
                  <a:lnTo>
                    <a:pt x="4718" y="1568"/>
                  </a:lnTo>
                  <a:lnTo>
                    <a:pt x="4739" y="1588"/>
                  </a:lnTo>
                  <a:lnTo>
                    <a:pt x="4740" y="1579"/>
                  </a:lnTo>
                  <a:lnTo>
                    <a:pt x="4728" y="1549"/>
                  </a:lnTo>
                  <a:lnTo>
                    <a:pt x="4725" y="1535"/>
                  </a:lnTo>
                  <a:lnTo>
                    <a:pt x="4739" y="1494"/>
                  </a:lnTo>
                  <a:lnTo>
                    <a:pt x="4721" y="1462"/>
                  </a:lnTo>
                  <a:lnTo>
                    <a:pt x="4740" y="1468"/>
                  </a:lnTo>
                  <a:lnTo>
                    <a:pt x="4745" y="1443"/>
                  </a:lnTo>
                  <a:lnTo>
                    <a:pt x="4749" y="1447"/>
                  </a:lnTo>
                  <a:lnTo>
                    <a:pt x="4752" y="1457"/>
                  </a:lnTo>
                  <a:lnTo>
                    <a:pt x="4755" y="1452"/>
                  </a:lnTo>
                  <a:lnTo>
                    <a:pt x="4753" y="1438"/>
                  </a:lnTo>
                  <a:lnTo>
                    <a:pt x="4757" y="1434"/>
                  </a:lnTo>
                  <a:lnTo>
                    <a:pt x="4758" y="1448"/>
                  </a:lnTo>
                  <a:lnTo>
                    <a:pt x="4773" y="1436"/>
                  </a:lnTo>
                  <a:lnTo>
                    <a:pt x="4767" y="1431"/>
                  </a:lnTo>
                  <a:lnTo>
                    <a:pt x="4772" y="1424"/>
                  </a:lnTo>
                  <a:lnTo>
                    <a:pt x="4785" y="1417"/>
                  </a:lnTo>
                  <a:lnTo>
                    <a:pt x="4777" y="1443"/>
                  </a:lnTo>
                  <a:lnTo>
                    <a:pt x="4792" y="1447"/>
                  </a:lnTo>
                  <a:lnTo>
                    <a:pt x="4764" y="1455"/>
                  </a:lnTo>
                  <a:lnTo>
                    <a:pt x="4753" y="1478"/>
                  </a:lnTo>
                  <a:lnTo>
                    <a:pt x="4760" y="1482"/>
                  </a:lnTo>
                  <a:lnTo>
                    <a:pt x="4773" y="1478"/>
                  </a:lnTo>
                  <a:lnTo>
                    <a:pt x="4764" y="1496"/>
                  </a:lnTo>
                  <a:lnTo>
                    <a:pt x="4749" y="1496"/>
                  </a:lnTo>
                  <a:lnTo>
                    <a:pt x="4745" y="1503"/>
                  </a:lnTo>
                  <a:lnTo>
                    <a:pt x="4748" y="1508"/>
                  </a:lnTo>
                  <a:lnTo>
                    <a:pt x="4762" y="1514"/>
                  </a:lnTo>
                  <a:lnTo>
                    <a:pt x="4767" y="1528"/>
                  </a:lnTo>
                  <a:lnTo>
                    <a:pt x="4761" y="1531"/>
                  </a:lnTo>
                  <a:lnTo>
                    <a:pt x="4752" y="1521"/>
                  </a:lnTo>
                  <a:lnTo>
                    <a:pt x="4749" y="1522"/>
                  </a:lnTo>
                  <a:lnTo>
                    <a:pt x="4743" y="1542"/>
                  </a:lnTo>
                  <a:lnTo>
                    <a:pt x="4746" y="1542"/>
                  </a:lnTo>
                  <a:lnTo>
                    <a:pt x="4751" y="1531"/>
                  </a:lnTo>
                  <a:lnTo>
                    <a:pt x="4777" y="1551"/>
                  </a:lnTo>
                  <a:lnTo>
                    <a:pt x="4777" y="1554"/>
                  </a:lnTo>
                  <a:lnTo>
                    <a:pt x="4762" y="1558"/>
                  </a:lnTo>
                  <a:lnTo>
                    <a:pt x="4746" y="1568"/>
                  </a:lnTo>
                  <a:lnTo>
                    <a:pt x="4757" y="1593"/>
                  </a:lnTo>
                  <a:lnTo>
                    <a:pt x="4764" y="1589"/>
                  </a:lnTo>
                  <a:lnTo>
                    <a:pt x="4774" y="1602"/>
                  </a:lnTo>
                  <a:lnTo>
                    <a:pt x="4794" y="1584"/>
                  </a:lnTo>
                  <a:lnTo>
                    <a:pt x="4797" y="1604"/>
                  </a:lnTo>
                  <a:lnTo>
                    <a:pt x="4786" y="1607"/>
                  </a:lnTo>
                  <a:lnTo>
                    <a:pt x="4786" y="1618"/>
                  </a:lnTo>
                  <a:lnTo>
                    <a:pt x="4794" y="1623"/>
                  </a:lnTo>
                  <a:lnTo>
                    <a:pt x="4802" y="1621"/>
                  </a:lnTo>
                  <a:lnTo>
                    <a:pt x="4794" y="1644"/>
                  </a:lnTo>
                  <a:lnTo>
                    <a:pt x="4810" y="1637"/>
                  </a:lnTo>
                  <a:lnTo>
                    <a:pt x="4814" y="1641"/>
                  </a:lnTo>
                  <a:lnTo>
                    <a:pt x="4811" y="1655"/>
                  </a:lnTo>
                  <a:lnTo>
                    <a:pt x="4800" y="1662"/>
                  </a:lnTo>
                  <a:lnTo>
                    <a:pt x="4792" y="1679"/>
                  </a:lnTo>
                  <a:lnTo>
                    <a:pt x="4776" y="1732"/>
                  </a:lnTo>
                  <a:lnTo>
                    <a:pt x="4782" y="1749"/>
                  </a:lnTo>
                  <a:lnTo>
                    <a:pt x="4792" y="1747"/>
                  </a:lnTo>
                  <a:lnTo>
                    <a:pt x="4790" y="1739"/>
                  </a:lnTo>
                  <a:lnTo>
                    <a:pt x="4809" y="1695"/>
                  </a:lnTo>
                  <a:lnTo>
                    <a:pt x="4813" y="1702"/>
                  </a:lnTo>
                  <a:lnTo>
                    <a:pt x="4819" y="1693"/>
                  </a:lnTo>
                  <a:lnTo>
                    <a:pt x="4817" y="1692"/>
                  </a:lnTo>
                  <a:lnTo>
                    <a:pt x="4834" y="1642"/>
                  </a:lnTo>
                  <a:lnTo>
                    <a:pt x="4856" y="1602"/>
                  </a:lnTo>
                  <a:lnTo>
                    <a:pt x="4862" y="1604"/>
                  </a:lnTo>
                  <a:lnTo>
                    <a:pt x="4868" y="1589"/>
                  </a:lnTo>
                  <a:lnTo>
                    <a:pt x="4872" y="1574"/>
                  </a:lnTo>
                  <a:lnTo>
                    <a:pt x="4868" y="1528"/>
                  </a:lnTo>
                  <a:lnTo>
                    <a:pt x="4856" y="1522"/>
                  </a:lnTo>
                  <a:lnTo>
                    <a:pt x="4838" y="1487"/>
                  </a:lnTo>
                  <a:lnTo>
                    <a:pt x="4837" y="1466"/>
                  </a:lnTo>
                  <a:lnTo>
                    <a:pt x="4815" y="1413"/>
                  </a:lnTo>
                  <a:lnTo>
                    <a:pt x="4831" y="1390"/>
                  </a:lnTo>
                  <a:lnTo>
                    <a:pt x="4842" y="1383"/>
                  </a:lnTo>
                  <a:lnTo>
                    <a:pt x="4837" y="1399"/>
                  </a:lnTo>
                  <a:lnTo>
                    <a:pt x="4823" y="1415"/>
                  </a:lnTo>
                  <a:lnTo>
                    <a:pt x="4837" y="1448"/>
                  </a:lnTo>
                  <a:lnTo>
                    <a:pt x="4844" y="1452"/>
                  </a:lnTo>
                  <a:lnTo>
                    <a:pt x="4863" y="1473"/>
                  </a:lnTo>
                  <a:lnTo>
                    <a:pt x="4883" y="1471"/>
                  </a:lnTo>
                  <a:lnTo>
                    <a:pt x="4887" y="1482"/>
                  </a:lnTo>
                  <a:lnTo>
                    <a:pt x="4879" y="1501"/>
                  </a:lnTo>
                  <a:lnTo>
                    <a:pt x="4883" y="1508"/>
                  </a:lnTo>
                  <a:lnTo>
                    <a:pt x="4890" y="1507"/>
                  </a:lnTo>
                  <a:lnTo>
                    <a:pt x="4924" y="1457"/>
                  </a:lnTo>
                  <a:lnTo>
                    <a:pt x="4934" y="1448"/>
                  </a:lnTo>
                  <a:lnTo>
                    <a:pt x="4936" y="1438"/>
                  </a:lnTo>
                  <a:lnTo>
                    <a:pt x="4934" y="1422"/>
                  </a:lnTo>
                  <a:lnTo>
                    <a:pt x="4946" y="1427"/>
                  </a:lnTo>
                  <a:lnTo>
                    <a:pt x="4960" y="1401"/>
                  </a:lnTo>
                  <a:lnTo>
                    <a:pt x="4981" y="1307"/>
                  </a:lnTo>
                  <a:lnTo>
                    <a:pt x="4956" y="1302"/>
                  </a:lnTo>
                  <a:lnTo>
                    <a:pt x="4946" y="1281"/>
                  </a:lnTo>
                  <a:lnTo>
                    <a:pt x="4964" y="1263"/>
                  </a:lnTo>
                  <a:lnTo>
                    <a:pt x="4967" y="1268"/>
                  </a:lnTo>
                  <a:lnTo>
                    <a:pt x="4985" y="1207"/>
                  </a:lnTo>
                  <a:lnTo>
                    <a:pt x="4988" y="1205"/>
                  </a:lnTo>
                  <a:lnTo>
                    <a:pt x="4988" y="1212"/>
                  </a:lnTo>
                  <a:lnTo>
                    <a:pt x="4974" y="1258"/>
                  </a:lnTo>
                  <a:lnTo>
                    <a:pt x="4974" y="1261"/>
                  </a:lnTo>
                  <a:lnTo>
                    <a:pt x="4982" y="1251"/>
                  </a:lnTo>
                  <a:lnTo>
                    <a:pt x="4995" y="1247"/>
                  </a:lnTo>
                  <a:lnTo>
                    <a:pt x="4999" y="1233"/>
                  </a:lnTo>
                  <a:lnTo>
                    <a:pt x="5035" y="1212"/>
                  </a:lnTo>
                  <a:lnTo>
                    <a:pt x="5087" y="1189"/>
                  </a:lnTo>
                  <a:lnTo>
                    <a:pt x="5225" y="1171"/>
                  </a:lnTo>
                  <a:lnTo>
                    <a:pt x="5228" y="1129"/>
                  </a:lnTo>
                  <a:lnTo>
                    <a:pt x="5232" y="1113"/>
                  </a:lnTo>
                  <a:lnTo>
                    <a:pt x="5239" y="1124"/>
                  </a:lnTo>
                  <a:lnTo>
                    <a:pt x="5259" y="1115"/>
                  </a:lnTo>
                  <a:lnTo>
                    <a:pt x="5251" y="1136"/>
                  </a:lnTo>
                  <a:lnTo>
                    <a:pt x="5252" y="1157"/>
                  </a:lnTo>
                  <a:lnTo>
                    <a:pt x="5265" y="1156"/>
                  </a:lnTo>
                  <a:lnTo>
                    <a:pt x="5272" y="1152"/>
                  </a:lnTo>
                  <a:lnTo>
                    <a:pt x="5279" y="1136"/>
                  </a:lnTo>
                  <a:lnTo>
                    <a:pt x="5283" y="1141"/>
                  </a:lnTo>
                  <a:lnTo>
                    <a:pt x="5284" y="1136"/>
                  </a:lnTo>
                  <a:lnTo>
                    <a:pt x="5292" y="1134"/>
                  </a:lnTo>
                  <a:lnTo>
                    <a:pt x="5296" y="1120"/>
                  </a:lnTo>
                  <a:lnTo>
                    <a:pt x="5302" y="1124"/>
                  </a:lnTo>
                  <a:lnTo>
                    <a:pt x="5304" y="1148"/>
                  </a:lnTo>
                  <a:lnTo>
                    <a:pt x="5375" y="1129"/>
                  </a:lnTo>
                  <a:lnTo>
                    <a:pt x="5373" y="1103"/>
                  </a:lnTo>
                  <a:lnTo>
                    <a:pt x="5363" y="1080"/>
                  </a:lnTo>
                  <a:lnTo>
                    <a:pt x="5353" y="1073"/>
                  </a:lnTo>
                  <a:lnTo>
                    <a:pt x="5345" y="1073"/>
                  </a:lnTo>
                  <a:lnTo>
                    <a:pt x="5345" y="1076"/>
                  </a:lnTo>
                  <a:lnTo>
                    <a:pt x="5350" y="1078"/>
                  </a:lnTo>
                  <a:lnTo>
                    <a:pt x="5360" y="1096"/>
                  </a:lnTo>
                  <a:lnTo>
                    <a:pt x="5367" y="1097"/>
                  </a:lnTo>
                  <a:lnTo>
                    <a:pt x="5367" y="1110"/>
                  </a:lnTo>
                  <a:lnTo>
                    <a:pt x="5338" y="1126"/>
                  </a:lnTo>
                  <a:lnTo>
                    <a:pt x="5320" y="1118"/>
                  </a:lnTo>
                  <a:lnTo>
                    <a:pt x="5317" y="1094"/>
                  </a:lnTo>
                  <a:lnTo>
                    <a:pt x="5290" y="1048"/>
                  </a:lnTo>
                  <a:lnTo>
                    <a:pt x="5279" y="1043"/>
                  </a:lnTo>
                  <a:lnTo>
                    <a:pt x="5264" y="1041"/>
                  </a:lnTo>
                  <a:lnTo>
                    <a:pt x="5267" y="1029"/>
                  </a:lnTo>
                  <a:lnTo>
                    <a:pt x="5284" y="1012"/>
                  </a:lnTo>
                  <a:lnTo>
                    <a:pt x="5281" y="1005"/>
                  </a:lnTo>
                  <a:lnTo>
                    <a:pt x="5305" y="999"/>
                  </a:lnTo>
                  <a:lnTo>
                    <a:pt x="5311" y="989"/>
                  </a:lnTo>
                  <a:lnTo>
                    <a:pt x="5304" y="989"/>
                  </a:lnTo>
                  <a:lnTo>
                    <a:pt x="5299" y="994"/>
                  </a:lnTo>
                  <a:lnTo>
                    <a:pt x="5292" y="990"/>
                  </a:lnTo>
                  <a:lnTo>
                    <a:pt x="5289" y="976"/>
                  </a:lnTo>
                  <a:lnTo>
                    <a:pt x="5281" y="968"/>
                  </a:lnTo>
                  <a:lnTo>
                    <a:pt x="5299" y="936"/>
                  </a:lnTo>
                  <a:lnTo>
                    <a:pt x="5314" y="892"/>
                  </a:lnTo>
                  <a:lnTo>
                    <a:pt x="5330" y="885"/>
                  </a:lnTo>
                  <a:lnTo>
                    <a:pt x="5336" y="862"/>
                  </a:lnTo>
                  <a:lnTo>
                    <a:pt x="5348" y="858"/>
                  </a:lnTo>
                  <a:lnTo>
                    <a:pt x="5345" y="835"/>
                  </a:lnTo>
                  <a:lnTo>
                    <a:pt x="5375" y="819"/>
                  </a:lnTo>
                  <a:lnTo>
                    <a:pt x="5370" y="833"/>
                  </a:lnTo>
                  <a:lnTo>
                    <a:pt x="5383" y="842"/>
                  </a:lnTo>
                  <a:lnTo>
                    <a:pt x="5398" y="825"/>
                  </a:lnTo>
                  <a:lnTo>
                    <a:pt x="5391" y="814"/>
                  </a:lnTo>
                  <a:lnTo>
                    <a:pt x="5406" y="796"/>
                  </a:lnTo>
                  <a:lnTo>
                    <a:pt x="5400" y="818"/>
                  </a:lnTo>
                  <a:lnTo>
                    <a:pt x="5415" y="823"/>
                  </a:lnTo>
                  <a:lnTo>
                    <a:pt x="5427" y="795"/>
                  </a:lnTo>
                  <a:lnTo>
                    <a:pt x="5440" y="809"/>
                  </a:lnTo>
                  <a:lnTo>
                    <a:pt x="5455" y="788"/>
                  </a:lnTo>
                  <a:lnTo>
                    <a:pt x="5486" y="717"/>
                  </a:lnTo>
                  <a:lnTo>
                    <a:pt x="5493" y="721"/>
                  </a:lnTo>
                  <a:lnTo>
                    <a:pt x="5484" y="751"/>
                  </a:lnTo>
                  <a:lnTo>
                    <a:pt x="5513" y="765"/>
                  </a:lnTo>
                  <a:lnTo>
                    <a:pt x="5508" y="738"/>
                  </a:lnTo>
                  <a:lnTo>
                    <a:pt x="5517" y="744"/>
                  </a:lnTo>
                  <a:lnTo>
                    <a:pt x="5550" y="726"/>
                  </a:lnTo>
                  <a:lnTo>
                    <a:pt x="5557" y="749"/>
                  </a:lnTo>
                  <a:lnTo>
                    <a:pt x="5565" y="738"/>
                  </a:lnTo>
                  <a:lnTo>
                    <a:pt x="5571" y="738"/>
                  </a:lnTo>
                  <a:lnTo>
                    <a:pt x="5576" y="721"/>
                  </a:lnTo>
                  <a:lnTo>
                    <a:pt x="5588" y="712"/>
                  </a:lnTo>
                  <a:lnTo>
                    <a:pt x="5599" y="717"/>
                  </a:lnTo>
                  <a:lnTo>
                    <a:pt x="5602" y="724"/>
                  </a:lnTo>
                  <a:lnTo>
                    <a:pt x="5607" y="721"/>
                  </a:lnTo>
                  <a:lnTo>
                    <a:pt x="5608" y="703"/>
                  </a:lnTo>
                  <a:lnTo>
                    <a:pt x="5623" y="712"/>
                  </a:lnTo>
                  <a:lnTo>
                    <a:pt x="5644" y="705"/>
                  </a:lnTo>
                  <a:lnTo>
                    <a:pt x="5667" y="682"/>
                  </a:lnTo>
                  <a:lnTo>
                    <a:pt x="5660" y="675"/>
                  </a:lnTo>
                  <a:lnTo>
                    <a:pt x="5645" y="678"/>
                  </a:lnTo>
                  <a:lnTo>
                    <a:pt x="5657" y="659"/>
                  </a:lnTo>
                  <a:lnTo>
                    <a:pt x="5643" y="627"/>
                  </a:lnTo>
                  <a:lnTo>
                    <a:pt x="5635" y="638"/>
                  </a:lnTo>
                  <a:lnTo>
                    <a:pt x="5627" y="618"/>
                  </a:lnTo>
                  <a:lnTo>
                    <a:pt x="5636" y="613"/>
                  </a:lnTo>
                  <a:lnTo>
                    <a:pt x="5635" y="597"/>
                  </a:lnTo>
                  <a:lnTo>
                    <a:pt x="5641" y="592"/>
                  </a:lnTo>
                  <a:lnTo>
                    <a:pt x="5639" y="581"/>
                  </a:lnTo>
                  <a:lnTo>
                    <a:pt x="5629" y="581"/>
                  </a:lnTo>
                  <a:lnTo>
                    <a:pt x="5603" y="567"/>
                  </a:lnTo>
                  <a:lnTo>
                    <a:pt x="5606" y="551"/>
                  </a:lnTo>
                  <a:lnTo>
                    <a:pt x="5592" y="366"/>
                  </a:lnTo>
                  <a:lnTo>
                    <a:pt x="5586" y="348"/>
                  </a:lnTo>
                  <a:lnTo>
                    <a:pt x="5563" y="329"/>
                  </a:lnTo>
                  <a:lnTo>
                    <a:pt x="5529" y="327"/>
                  </a:lnTo>
                  <a:lnTo>
                    <a:pt x="5511" y="340"/>
                  </a:lnTo>
                  <a:lnTo>
                    <a:pt x="5495" y="333"/>
                  </a:lnTo>
                  <a:lnTo>
                    <a:pt x="5472" y="309"/>
                  </a:lnTo>
                  <a:lnTo>
                    <a:pt x="5459" y="303"/>
                  </a:lnTo>
                  <a:lnTo>
                    <a:pt x="5432" y="338"/>
                  </a:lnTo>
                  <a:lnTo>
                    <a:pt x="5408" y="380"/>
                  </a:lnTo>
                  <a:lnTo>
                    <a:pt x="5358" y="527"/>
                  </a:lnTo>
                  <a:lnTo>
                    <a:pt x="5309" y="622"/>
                  </a:lnTo>
                  <a:lnTo>
                    <a:pt x="5258" y="613"/>
                  </a:lnTo>
                  <a:lnTo>
                    <a:pt x="5240" y="617"/>
                  </a:lnTo>
                  <a:lnTo>
                    <a:pt x="5223" y="645"/>
                  </a:lnTo>
                  <a:lnTo>
                    <a:pt x="5216" y="669"/>
                  </a:lnTo>
                  <a:lnTo>
                    <a:pt x="5169" y="664"/>
                  </a:lnTo>
                  <a:lnTo>
                    <a:pt x="4897" y="662"/>
                  </a:lnTo>
                  <a:lnTo>
                    <a:pt x="4753" y="768"/>
                  </a:lnTo>
                  <a:lnTo>
                    <a:pt x="4729" y="779"/>
                  </a:lnTo>
                  <a:lnTo>
                    <a:pt x="4716" y="839"/>
                  </a:lnTo>
                  <a:lnTo>
                    <a:pt x="4697" y="856"/>
                  </a:lnTo>
                  <a:lnTo>
                    <a:pt x="4646" y="871"/>
                  </a:lnTo>
                  <a:lnTo>
                    <a:pt x="4539" y="860"/>
                  </a:lnTo>
                  <a:lnTo>
                    <a:pt x="4498" y="865"/>
                  </a:lnTo>
                  <a:lnTo>
                    <a:pt x="4476" y="879"/>
                  </a:lnTo>
                  <a:lnTo>
                    <a:pt x="4470" y="902"/>
                  </a:lnTo>
                  <a:lnTo>
                    <a:pt x="4470" y="923"/>
                  </a:lnTo>
                  <a:lnTo>
                    <a:pt x="4478" y="953"/>
                  </a:lnTo>
                  <a:lnTo>
                    <a:pt x="4479" y="976"/>
                  </a:lnTo>
                  <a:lnTo>
                    <a:pt x="4441" y="1003"/>
                  </a:lnTo>
                  <a:lnTo>
                    <a:pt x="4377" y="1034"/>
                  </a:lnTo>
                  <a:lnTo>
                    <a:pt x="4294" y="1048"/>
                  </a:lnTo>
                  <a:lnTo>
                    <a:pt x="4255" y="1064"/>
                  </a:lnTo>
                  <a:lnTo>
                    <a:pt x="4174" y="1126"/>
                  </a:lnTo>
                  <a:lnTo>
                    <a:pt x="4150" y="1133"/>
                  </a:lnTo>
                  <a:lnTo>
                    <a:pt x="4125" y="1129"/>
                  </a:lnTo>
                  <a:lnTo>
                    <a:pt x="4103" y="1118"/>
                  </a:lnTo>
                  <a:lnTo>
                    <a:pt x="4086" y="1092"/>
                  </a:lnTo>
                  <a:lnTo>
                    <a:pt x="4086" y="1071"/>
                  </a:lnTo>
                  <a:lnTo>
                    <a:pt x="4088" y="1057"/>
                  </a:lnTo>
                  <a:lnTo>
                    <a:pt x="4136" y="1005"/>
                  </a:lnTo>
                  <a:lnTo>
                    <a:pt x="4179" y="906"/>
                  </a:lnTo>
                  <a:lnTo>
                    <a:pt x="4180" y="858"/>
                  </a:lnTo>
                  <a:lnTo>
                    <a:pt x="4177" y="823"/>
                  </a:lnTo>
                  <a:lnTo>
                    <a:pt x="4139" y="618"/>
                  </a:lnTo>
                  <a:lnTo>
                    <a:pt x="4028" y="549"/>
                  </a:lnTo>
                  <a:lnTo>
                    <a:pt x="4016" y="528"/>
                  </a:lnTo>
                  <a:lnTo>
                    <a:pt x="4021" y="507"/>
                  </a:lnTo>
                  <a:lnTo>
                    <a:pt x="4007" y="491"/>
                  </a:lnTo>
                  <a:lnTo>
                    <a:pt x="3967" y="481"/>
                  </a:lnTo>
                  <a:lnTo>
                    <a:pt x="3959" y="461"/>
                  </a:lnTo>
                  <a:lnTo>
                    <a:pt x="3950" y="452"/>
                  </a:lnTo>
                  <a:lnTo>
                    <a:pt x="3923" y="452"/>
                  </a:lnTo>
                  <a:lnTo>
                    <a:pt x="3902" y="422"/>
                  </a:lnTo>
                  <a:lnTo>
                    <a:pt x="3898" y="394"/>
                  </a:lnTo>
                  <a:lnTo>
                    <a:pt x="3803" y="323"/>
                  </a:lnTo>
                  <a:lnTo>
                    <a:pt x="3550" y="176"/>
                  </a:lnTo>
                  <a:lnTo>
                    <a:pt x="3514" y="189"/>
                  </a:lnTo>
                  <a:lnTo>
                    <a:pt x="3449" y="229"/>
                  </a:lnTo>
                  <a:lnTo>
                    <a:pt x="3418" y="224"/>
                  </a:lnTo>
                  <a:lnTo>
                    <a:pt x="3394" y="227"/>
                  </a:lnTo>
                  <a:lnTo>
                    <a:pt x="3379" y="210"/>
                  </a:lnTo>
                  <a:lnTo>
                    <a:pt x="3358" y="206"/>
                  </a:lnTo>
                  <a:lnTo>
                    <a:pt x="3320" y="213"/>
                  </a:lnTo>
                  <a:lnTo>
                    <a:pt x="3312" y="205"/>
                  </a:lnTo>
                  <a:lnTo>
                    <a:pt x="3309" y="187"/>
                  </a:lnTo>
                  <a:lnTo>
                    <a:pt x="3293" y="190"/>
                  </a:lnTo>
                  <a:lnTo>
                    <a:pt x="3276" y="205"/>
                  </a:lnTo>
                  <a:lnTo>
                    <a:pt x="3240" y="217"/>
                  </a:lnTo>
                  <a:lnTo>
                    <a:pt x="3218" y="212"/>
                  </a:lnTo>
                  <a:lnTo>
                    <a:pt x="3215" y="197"/>
                  </a:lnTo>
                  <a:lnTo>
                    <a:pt x="3195" y="192"/>
                  </a:lnTo>
                  <a:lnTo>
                    <a:pt x="3183" y="175"/>
                  </a:lnTo>
                  <a:lnTo>
                    <a:pt x="3161" y="173"/>
                  </a:lnTo>
                  <a:lnTo>
                    <a:pt x="3156" y="190"/>
                  </a:lnTo>
                  <a:lnTo>
                    <a:pt x="3141" y="157"/>
                  </a:lnTo>
                  <a:lnTo>
                    <a:pt x="3129" y="159"/>
                  </a:lnTo>
                  <a:lnTo>
                    <a:pt x="3128" y="146"/>
                  </a:lnTo>
                  <a:lnTo>
                    <a:pt x="3065" y="132"/>
                  </a:lnTo>
                  <a:lnTo>
                    <a:pt x="3042" y="138"/>
                  </a:lnTo>
                  <a:lnTo>
                    <a:pt x="3005" y="108"/>
                  </a:lnTo>
                  <a:lnTo>
                    <a:pt x="2983" y="76"/>
                  </a:lnTo>
                  <a:lnTo>
                    <a:pt x="2972" y="51"/>
                  </a:lnTo>
                  <a:lnTo>
                    <a:pt x="2932" y="0"/>
                  </a:lnTo>
                  <a:lnTo>
                    <a:pt x="2911" y="2"/>
                  </a:lnTo>
                  <a:lnTo>
                    <a:pt x="2916" y="26"/>
                  </a:lnTo>
                  <a:lnTo>
                    <a:pt x="2933" y="65"/>
                  </a:lnTo>
                  <a:lnTo>
                    <a:pt x="180" y="63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13" name="Freeform 50"/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859" y="1813"/>
              <a:ext cx="20" cy="35"/>
            </a:xfrm>
            <a:custGeom>
              <a:avLst/>
              <a:gdLst>
                <a:gd name="T0" fmla="*/ 24 w 133"/>
                <a:gd name="T1" fmla="*/ 4 h 231"/>
                <a:gd name="T2" fmla="*/ 4 w 133"/>
                <a:gd name="T3" fmla="*/ 0 h 231"/>
                <a:gd name="T4" fmla="*/ 0 w 133"/>
                <a:gd name="T5" fmla="*/ 7 h 231"/>
                <a:gd name="T6" fmla="*/ 25 w 133"/>
                <a:gd name="T7" fmla="*/ 71 h 231"/>
                <a:gd name="T8" fmla="*/ 25 w 133"/>
                <a:gd name="T9" fmla="*/ 104 h 231"/>
                <a:gd name="T10" fmla="*/ 51 w 133"/>
                <a:gd name="T11" fmla="*/ 145 h 231"/>
                <a:gd name="T12" fmla="*/ 133 w 133"/>
                <a:gd name="T13" fmla="*/ 231 h 231"/>
                <a:gd name="T14" fmla="*/ 133 w 133"/>
                <a:gd name="T15" fmla="*/ 159 h 231"/>
                <a:gd name="T16" fmla="*/ 94 w 133"/>
                <a:gd name="T17" fmla="*/ 132 h 231"/>
                <a:gd name="T18" fmla="*/ 81 w 133"/>
                <a:gd name="T19" fmla="*/ 99 h 231"/>
                <a:gd name="T20" fmla="*/ 89 w 133"/>
                <a:gd name="T21" fmla="*/ 83 h 231"/>
                <a:gd name="T22" fmla="*/ 90 w 133"/>
                <a:gd name="T23" fmla="*/ 72 h 231"/>
                <a:gd name="T24" fmla="*/ 88 w 133"/>
                <a:gd name="T25" fmla="*/ 58 h 231"/>
                <a:gd name="T26" fmla="*/ 36 w 133"/>
                <a:gd name="T27" fmla="*/ 23 h 231"/>
                <a:gd name="T28" fmla="*/ 24 w 133"/>
                <a:gd name="T29" fmla="*/ 4 h 2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33"/>
                <a:gd name="T46" fmla="*/ 0 h 231"/>
                <a:gd name="T47" fmla="*/ 133 w 133"/>
                <a:gd name="T48" fmla="*/ 231 h 23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33" h="231">
                  <a:moveTo>
                    <a:pt x="24" y="4"/>
                  </a:moveTo>
                  <a:lnTo>
                    <a:pt x="4" y="0"/>
                  </a:lnTo>
                  <a:lnTo>
                    <a:pt x="0" y="7"/>
                  </a:lnTo>
                  <a:lnTo>
                    <a:pt x="25" y="71"/>
                  </a:lnTo>
                  <a:lnTo>
                    <a:pt x="25" y="104"/>
                  </a:lnTo>
                  <a:lnTo>
                    <a:pt x="51" y="145"/>
                  </a:lnTo>
                  <a:lnTo>
                    <a:pt x="133" y="231"/>
                  </a:lnTo>
                  <a:lnTo>
                    <a:pt x="133" y="159"/>
                  </a:lnTo>
                  <a:lnTo>
                    <a:pt x="94" y="132"/>
                  </a:lnTo>
                  <a:lnTo>
                    <a:pt x="81" y="99"/>
                  </a:lnTo>
                  <a:lnTo>
                    <a:pt x="89" y="83"/>
                  </a:lnTo>
                  <a:lnTo>
                    <a:pt x="90" y="72"/>
                  </a:lnTo>
                  <a:lnTo>
                    <a:pt x="88" y="58"/>
                  </a:lnTo>
                  <a:lnTo>
                    <a:pt x="36" y="23"/>
                  </a:lnTo>
                  <a:lnTo>
                    <a:pt x="24" y="4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14" name="Freeform 51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830" y="1782"/>
              <a:ext cx="10" cy="26"/>
            </a:xfrm>
            <a:custGeom>
              <a:avLst/>
              <a:gdLst>
                <a:gd name="T0" fmla="*/ 48 w 72"/>
                <a:gd name="T1" fmla="*/ 18 h 163"/>
                <a:gd name="T2" fmla="*/ 23 w 72"/>
                <a:gd name="T3" fmla="*/ 4 h 163"/>
                <a:gd name="T4" fmla="*/ 5 w 72"/>
                <a:gd name="T5" fmla="*/ 0 h 163"/>
                <a:gd name="T6" fmla="*/ 0 w 72"/>
                <a:gd name="T7" fmla="*/ 18 h 163"/>
                <a:gd name="T8" fmla="*/ 3 w 72"/>
                <a:gd name="T9" fmla="*/ 34 h 163"/>
                <a:gd name="T10" fmla="*/ 54 w 72"/>
                <a:gd name="T11" fmla="*/ 163 h 163"/>
                <a:gd name="T12" fmla="*/ 67 w 72"/>
                <a:gd name="T13" fmla="*/ 127 h 163"/>
                <a:gd name="T14" fmla="*/ 72 w 72"/>
                <a:gd name="T15" fmla="*/ 106 h 163"/>
                <a:gd name="T16" fmla="*/ 48 w 72"/>
                <a:gd name="T17" fmla="*/ 18 h 16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2"/>
                <a:gd name="T28" fmla="*/ 0 h 163"/>
                <a:gd name="T29" fmla="*/ 72 w 72"/>
                <a:gd name="T30" fmla="*/ 163 h 16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2" h="163">
                  <a:moveTo>
                    <a:pt x="48" y="18"/>
                  </a:moveTo>
                  <a:lnTo>
                    <a:pt x="23" y="4"/>
                  </a:lnTo>
                  <a:lnTo>
                    <a:pt x="5" y="0"/>
                  </a:lnTo>
                  <a:lnTo>
                    <a:pt x="0" y="18"/>
                  </a:lnTo>
                  <a:lnTo>
                    <a:pt x="3" y="34"/>
                  </a:lnTo>
                  <a:lnTo>
                    <a:pt x="54" y="163"/>
                  </a:lnTo>
                  <a:lnTo>
                    <a:pt x="67" y="127"/>
                  </a:lnTo>
                  <a:lnTo>
                    <a:pt x="72" y="106"/>
                  </a:lnTo>
                  <a:lnTo>
                    <a:pt x="48" y="18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15" name="Freeform 52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548" y="1774"/>
              <a:ext cx="34" cy="22"/>
            </a:xfrm>
            <a:custGeom>
              <a:avLst/>
              <a:gdLst>
                <a:gd name="T0" fmla="*/ 218 w 223"/>
                <a:gd name="T1" fmla="*/ 37 h 148"/>
                <a:gd name="T2" fmla="*/ 194 w 223"/>
                <a:gd name="T3" fmla="*/ 11 h 148"/>
                <a:gd name="T4" fmla="*/ 145 w 223"/>
                <a:gd name="T5" fmla="*/ 0 h 148"/>
                <a:gd name="T6" fmla="*/ 124 w 223"/>
                <a:gd name="T7" fmla="*/ 4 h 148"/>
                <a:gd name="T8" fmla="*/ 121 w 223"/>
                <a:gd name="T9" fmla="*/ 32 h 148"/>
                <a:gd name="T10" fmla="*/ 111 w 223"/>
                <a:gd name="T11" fmla="*/ 48 h 148"/>
                <a:gd name="T12" fmla="*/ 90 w 223"/>
                <a:gd name="T13" fmla="*/ 67 h 148"/>
                <a:gd name="T14" fmla="*/ 76 w 223"/>
                <a:gd name="T15" fmla="*/ 62 h 148"/>
                <a:gd name="T16" fmla="*/ 46 w 223"/>
                <a:gd name="T17" fmla="*/ 34 h 148"/>
                <a:gd name="T18" fmla="*/ 31 w 223"/>
                <a:gd name="T19" fmla="*/ 58 h 148"/>
                <a:gd name="T20" fmla="*/ 7 w 223"/>
                <a:gd name="T21" fmla="*/ 78 h 148"/>
                <a:gd name="T22" fmla="*/ 0 w 223"/>
                <a:gd name="T23" fmla="*/ 101 h 148"/>
                <a:gd name="T24" fmla="*/ 6 w 223"/>
                <a:gd name="T25" fmla="*/ 115 h 148"/>
                <a:gd name="T26" fmla="*/ 49 w 223"/>
                <a:gd name="T27" fmla="*/ 143 h 148"/>
                <a:gd name="T28" fmla="*/ 76 w 223"/>
                <a:gd name="T29" fmla="*/ 148 h 148"/>
                <a:gd name="T30" fmla="*/ 96 w 223"/>
                <a:gd name="T31" fmla="*/ 145 h 148"/>
                <a:gd name="T32" fmla="*/ 113 w 223"/>
                <a:gd name="T33" fmla="*/ 131 h 148"/>
                <a:gd name="T34" fmla="*/ 136 w 223"/>
                <a:gd name="T35" fmla="*/ 95 h 148"/>
                <a:gd name="T36" fmla="*/ 140 w 223"/>
                <a:gd name="T37" fmla="*/ 78 h 148"/>
                <a:gd name="T38" fmla="*/ 145 w 223"/>
                <a:gd name="T39" fmla="*/ 71 h 148"/>
                <a:gd name="T40" fmla="*/ 172 w 223"/>
                <a:gd name="T41" fmla="*/ 57 h 148"/>
                <a:gd name="T42" fmla="*/ 223 w 223"/>
                <a:gd name="T43" fmla="*/ 53 h 148"/>
                <a:gd name="T44" fmla="*/ 218 w 223"/>
                <a:gd name="T45" fmla="*/ 37 h 14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23"/>
                <a:gd name="T70" fmla="*/ 0 h 148"/>
                <a:gd name="T71" fmla="*/ 223 w 223"/>
                <a:gd name="T72" fmla="*/ 148 h 14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23" h="148">
                  <a:moveTo>
                    <a:pt x="218" y="37"/>
                  </a:moveTo>
                  <a:lnTo>
                    <a:pt x="194" y="11"/>
                  </a:lnTo>
                  <a:lnTo>
                    <a:pt x="145" y="0"/>
                  </a:lnTo>
                  <a:lnTo>
                    <a:pt x="124" y="4"/>
                  </a:lnTo>
                  <a:lnTo>
                    <a:pt x="121" y="32"/>
                  </a:lnTo>
                  <a:lnTo>
                    <a:pt x="111" y="48"/>
                  </a:lnTo>
                  <a:lnTo>
                    <a:pt x="90" y="67"/>
                  </a:lnTo>
                  <a:lnTo>
                    <a:pt x="76" y="62"/>
                  </a:lnTo>
                  <a:lnTo>
                    <a:pt x="46" y="34"/>
                  </a:lnTo>
                  <a:lnTo>
                    <a:pt x="31" y="58"/>
                  </a:lnTo>
                  <a:lnTo>
                    <a:pt x="7" y="78"/>
                  </a:lnTo>
                  <a:lnTo>
                    <a:pt x="0" y="101"/>
                  </a:lnTo>
                  <a:lnTo>
                    <a:pt x="6" y="115"/>
                  </a:lnTo>
                  <a:lnTo>
                    <a:pt x="49" y="143"/>
                  </a:lnTo>
                  <a:lnTo>
                    <a:pt x="76" y="148"/>
                  </a:lnTo>
                  <a:lnTo>
                    <a:pt x="96" y="145"/>
                  </a:lnTo>
                  <a:lnTo>
                    <a:pt x="113" y="131"/>
                  </a:lnTo>
                  <a:lnTo>
                    <a:pt x="136" y="95"/>
                  </a:lnTo>
                  <a:lnTo>
                    <a:pt x="140" y="78"/>
                  </a:lnTo>
                  <a:lnTo>
                    <a:pt x="145" y="71"/>
                  </a:lnTo>
                  <a:lnTo>
                    <a:pt x="172" y="57"/>
                  </a:lnTo>
                  <a:lnTo>
                    <a:pt x="223" y="53"/>
                  </a:lnTo>
                  <a:lnTo>
                    <a:pt x="218" y="37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16" name="Freeform 53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432" y="1822"/>
              <a:ext cx="32" cy="18"/>
            </a:xfrm>
            <a:custGeom>
              <a:avLst/>
              <a:gdLst>
                <a:gd name="T0" fmla="*/ 215 w 218"/>
                <a:gd name="T1" fmla="*/ 53 h 121"/>
                <a:gd name="T2" fmla="*/ 218 w 218"/>
                <a:gd name="T3" fmla="*/ 37 h 121"/>
                <a:gd name="T4" fmla="*/ 186 w 218"/>
                <a:gd name="T5" fmla="*/ 19 h 121"/>
                <a:gd name="T6" fmla="*/ 124 w 218"/>
                <a:gd name="T7" fmla="*/ 0 h 121"/>
                <a:gd name="T8" fmla="*/ 95 w 218"/>
                <a:gd name="T9" fmla="*/ 5 h 121"/>
                <a:gd name="T10" fmla="*/ 75 w 218"/>
                <a:gd name="T11" fmla="*/ 16 h 121"/>
                <a:gd name="T12" fmla="*/ 35 w 218"/>
                <a:gd name="T13" fmla="*/ 63 h 121"/>
                <a:gd name="T14" fmla="*/ 0 w 218"/>
                <a:gd name="T15" fmla="*/ 81 h 121"/>
                <a:gd name="T16" fmla="*/ 0 w 218"/>
                <a:gd name="T17" fmla="*/ 102 h 121"/>
                <a:gd name="T18" fmla="*/ 2 w 218"/>
                <a:gd name="T19" fmla="*/ 120 h 121"/>
                <a:gd name="T20" fmla="*/ 35 w 218"/>
                <a:gd name="T21" fmla="*/ 121 h 121"/>
                <a:gd name="T22" fmla="*/ 87 w 218"/>
                <a:gd name="T23" fmla="*/ 83 h 121"/>
                <a:gd name="T24" fmla="*/ 99 w 218"/>
                <a:gd name="T25" fmla="*/ 65 h 121"/>
                <a:gd name="T26" fmla="*/ 168 w 218"/>
                <a:gd name="T27" fmla="*/ 49 h 121"/>
                <a:gd name="T28" fmla="*/ 202 w 218"/>
                <a:gd name="T29" fmla="*/ 54 h 121"/>
                <a:gd name="T30" fmla="*/ 215 w 218"/>
                <a:gd name="T31" fmla="*/ 53 h 1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18"/>
                <a:gd name="T49" fmla="*/ 0 h 121"/>
                <a:gd name="T50" fmla="*/ 218 w 218"/>
                <a:gd name="T51" fmla="*/ 121 h 12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18" h="121">
                  <a:moveTo>
                    <a:pt x="215" y="53"/>
                  </a:moveTo>
                  <a:lnTo>
                    <a:pt x="218" y="37"/>
                  </a:lnTo>
                  <a:lnTo>
                    <a:pt x="186" y="19"/>
                  </a:lnTo>
                  <a:lnTo>
                    <a:pt x="124" y="0"/>
                  </a:lnTo>
                  <a:lnTo>
                    <a:pt x="95" y="5"/>
                  </a:lnTo>
                  <a:lnTo>
                    <a:pt x="75" y="16"/>
                  </a:lnTo>
                  <a:lnTo>
                    <a:pt x="35" y="63"/>
                  </a:lnTo>
                  <a:lnTo>
                    <a:pt x="0" y="81"/>
                  </a:lnTo>
                  <a:lnTo>
                    <a:pt x="0" y="102"/>
                  </a:lnTo>
                  <a:lnTo>
                    <a:pt x="2" y="120"/>
                  </a:lnTo>
                  <a:lnTo>
                    <a:pt x="35" y="121"/>
                  </a:lnTo>
                  <a:lnTo>
                    <a:pt x="87" y="83"/>
                  </a:lnTo>
                  <a:lnTo>
                    <a:pt x="99" y="65"/>
                  </a:lnTo>
                  <a:lnTo>
                    <a:pt x="168" y="49"/>
                  </a:lnTo>
                  <a:lnTo>
                    <a:pt x="202" y="54"/>
                  </a:lnTo>
                  <a:lnTo>
                    <a:pt x="215" y="53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17" name="Freeform 54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491" y="2525"/>
              <a:ext cx="10" cy="7"/>
            </a:xfrm>
            <a:custGeom>
              <a:avLst/>
              <a:gdLst>
                <a:gd name="T0" fmla="*/ 0 w 62"/>
                <a:gd name="T1" fmla="*/ 14 h 55"/>
                <a:gd name="T2" fmla="*/ 3 w 62"/>
                <a:gd name="T3" fmla="*/ 28 h 55"/>
                <a:gd name="T4" fmla="*/ 16 w 62"/>
                <a:gd name="T5" fmla="*/ 51 h 55"/>
                <a:gd name="T6" fmla="*/ 31 w 62"/>
                <a:gd name="T7" fmla="*/ 48 h 55"/>
                <a:gd name="T8" fmla="*/ 39 w 62"/>
                <a:gd name="T9" fmla="*/ 48 h 55"/>
                <a:gd name="T10" fmla="*/ 44 w 62"/>
                <a:gd name="T11" fmla="*/ 55 h 55"/>
                <a:gd name="T12" fmla="*/ 56 w 62"/>
                <a:gd name="T13" fmla="*/ 53 h 55"/>
                <a:gd name="T14" fmla="*/ 62 w 62"/>
                <a:gd name="T15" fmla="*/ 49 h 55"/>
                <a:gd name="T16" fmla="*/ 52 w 62"/>
                <a:gd name="T17" fmla="*/ 34 h 55"/>
                <a:gd name="T18" fmla="*/ 41 w 62"/>
                <a:gd name="T19" fmla="*/ 28 h 55"/>
                <a:gd name="T20" fmla="*/ 37 w 62"/>
                <a:gd name="T21" fmla="*/ 12 h 55"/>
                <a:gd name="T22" fmla="*/ 28 w 62"/>
                <a:gd name="T23" fmla="*/ 0 h 55"/>
                <a:gd name="T24" fmla="*/ 15 w 62"/>
                <a:gd name="T25" fmla="*/ 14 h 55"/>
                <a:gd name="T26" fmla="*/ 0 w 62"/>
                <a:gd name="T27" fmla="*/ 14 h 5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62"/>
                <a:gd name="T43" fmla="*/ 0 h 55"/>
                <a:gd name="T44" fmla="*/ 62 w 62"/>
                <a:gd name="T45" fmla="*/ 55 h 5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62" h="55">
                  <a:moveTo>
                    <a:pt x="0" y="14"/>
                  </a:moveTo>
                  <a:lnTo>
                    <a:pt x="3" y="28"/>
                  </a:lnTo>
                  <a:lnTo>
                    <a:pt x="16" y="51"/>
                  </a:lnTo>
                  <a:lnTo>
                    <a:pt x="31" y="48"/>
                  </a:lnTo>
                  <a:lnTo>
                    <a:pt x="39" y="48"/>
                  </a:lnTo>
                  <a:lnTo>
                    <a:pt x="44" y="55"/>
                  </a:lnTo>
                  <a:lnTo>
                    <a:pt x="56" y="53"/>
                  </a:lnTo>
                  <a:lnTo>
                    <a:pt x="62" y="49"/>
                  </a:lnTo>
                  <a:lnTo>
                    <a:pt x="52" y="34"/>
                  </a:lnTo>
                  <a:lnTo>
                    <a:pt x="41" y="28"/>
                  </a:lnTo>
                  <a:lnTo>
                    <a:pt x="37" y="12"/>
                  </a:lnTo>
                  <a:lnTo>
                    <a:pt x="28" y="0"/>
                  </a:lnTo>
                  <a:lnTo>
                    <a:pt x="15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18" name="Freeform 55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516" y="2534"/>
              <a:ext cx="10" cy="11"/>
            </a:xfrm>
            <a:custGeom>
              <a:avLst/>
              <a:gdLst>
                <a:gd name="T0" fmla="*/ 67 w 70"/>
                <a:gd name="T1" fmla="*/ 45 h 57"/>
                <a:gd name="T2" fmla="*/ 70 w 70"/>
                <a:gd name="T3" fmla="*/ 33 h 57"/>
                <a:gd name="T4" fmla="*/ 41 w 70"/>
                <a:gd name="T5" fmla="*/ 14 h 57"/>
                <a:gd name="T6" fmla="*/ 26 w 70"/>
                <a:gd name="T7" fmla="*/ 10 h 57"/>
                <a:gd name="T8" fmla="*/ 10 w 70"/>
                <a:gd name="T9" fmla="*/ 0 h 57"/>
                <a:gd name="T10" fmla="*/ 4 w 70"/>
                <a:gd name="T11" fmla="*/ 3 h 57"/>
                <a:gd name="T12" fmla="*/ 0 w 70"/>
                <a:gd name="T13" fmla="*/ 16 h 57"/>
                <a:gd name="T14" fmla="*/ 21 w 70"/>
                <a:gd name="T15" fmla="*/ 33 h 57"/>
                <a:gd name="T16" fmla="*/ 24 w 70"/>
                <a:gd name="T17" fmla="*/ 54 h 57"/>
                <a:gd name="T18" fmla="*/ 30 w 70"/>
                <a:gd name="T19" fmla="*/ 57 h 57"/>
                <a:gd name="T20" fmla="*/ 57 w 70"/>
                <a:gd name="T21" fmla="*/ 54 h 57"/>
                <a:gd name="T22" fmla="*/ 67 w 70"/>
                <a:gd name="T23" fmla="*/ 45 h 5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70"/>
                <a:gd name="T37" fmla="*/ 0 h 57"/>
                <a:gd name="T38" fmla="*/ 70 w 70"/>
                <a:gd name="T39" fmla="*/ 57 h 5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70" h="57">
                  <a:moveTo>
                    <a:pt x="67" y="45"/>
                  </a:moveTo>
                  <a:lnTo>
                    <a:pt x="70" y="33"/>
                  </a:lnTo>
                  <a:lnTo>
                    <a:pt x="41" y="14"/>
                  </a:lnTo>
                  <a:lnTo>
                    <a:pt x="26" y="10"/>
                  </a:lnTo>
                  <a:lnTo>
                    <a:pt x="10" y="0"/>
                  </a:lnTo>
                  <a:lnTo>
                    <a:pt x="4" y="3"/>
                  </a:lnTo>
                  <a:lnTo>
                    <a:pt x="0" y="16"/>
                  </a:lnTo>
                  <a:lnTo>
                    <a:pt x="21" y="33"/>
                  </a:lnTo>
                  <a:lnTo>
                    <a:pt x="24" y="54"/>
                  </a:lnTo>
                  <a:lnTo>
                    <a:pt x="30" y="57"/>
                  </a:lnTo>
                  <a:lnTo>
                    <a:pt x="57" y="54"/>
                  </a:lnTo>
                  <a:lnTo>
                    <a:pt x="67" y="45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19" name="Freeform 56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526" y="2548"/>
              <a:ext cx="18" cy="25"/>
            </a:xfrm>
            <a:custGeom>
              <a:avLst/>
              <a:gdLst>
                <a:gd name="T0" fmla="*/ 119 w 121"/>
                <a:gd name="T1" fmla="*/ 97 h 162"/>
                <a:gd name="T2" fmla="*/ 121 w 121"/>
                <a:gd name="T3" fmla="*/ 88 h 162"/>
                <a:gd name="T4" fmla="*/ 108 w 121"/>
                <a:gd name="T5" fmla="*/ 81 h 162"/>
                <a:gd name="T6" fmla="*/ 102 w 121"/>
                <a:gd name="T7" fmla="*/ 65 h 162"/>
                <a:gd name="T8" fmla="*/ 92 w 121"/>
                <a:gd name="T9" fmla="*/ 62 h 162"/>
                <a:gd name="T10" fmla="*/ 94 w 121"/>
                <a:gd name="T11" fmla="*/ 48 h 162"/>
                <a:gd name="T12" fmla="*/ 67 w 121"/>
                <a:gd name="T13" fmla="*/ 25 h 162"/>
                <a:gd name="T14" fmla="*/ 22 w 121"/>
                <a:gd name="T15" fmla="*/ 0 h 162"/>
                <a:gd name="T16" fmla="*/ 14 w 121"/>
                <a:gd name="T17" fmla="*/ 4 h 162"/>
                <a:gd name="T18" fmla="*/ 12 w 121"/>
                <a:gd name="T19" fmla="*/ 11 h 162"/>
                <a:gd name="T20" fmla="*/ 19 w 121"/>
                <a:gd name="T21" fmla="*/ 25 h 162"/>
                <a:gd name="T22" fmla="*/ 21 w 121"/>
                <a:gd name="T23" fmla="*/ 35 h 162"/>
                <a:gd name="T24" fmla="*/ 0 w 121"/>
                <a:gd name="T25" fmla="*/ 58 h 162"/>
                <a:gd name="T26" fmla="*/ 10 w 121"/>
                <a:gd name="T27" fmla="*/ 95 h 162"/>
                <a:gd name="T28" fmla="*/ 12 w 121"/>
                <a:gd name="T29" fmla="*/ 143 h 162"/>
                <a:gd name="T30" fmla="*/ 37 w 121"/>
                <a:gd name="T31" fmla="*/ 162 h 162"/>
                <a:gd name="T32" fmla="*/ 50 w 121"/>
                <a:gd name="T33" fmla="*/ 139 h 162"/>
                <a:gd name="T34" fmla="*/ 67 w 121"/>
                <a:gd name="T35" fmla="*/ 127 h 162"/>
                <a:gd name="T36" fmla="*/ 99 w 121"/>
                <a:gd name="T37" fmla="*/ 116 h 162"/>
                <a:gd name="T38" fmla="*/ 108 w 121"/>
                <a:gd name="T39" fmla="*/ 106 h 162"/>
                <a:gd name="T40" fmla="*/ 119 w 121"/>
                <a:gd name="T41" fmla="*/ 97 h 16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21"/>
                <a:gd name="T64" fmla="*/ 0 h 162"/>
                <a:gd name="T65" fmla="*/ 121 w 121"/>
                <a:gd name="T66" fmla="*/ 162 h 162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21" h="162">
                  <a:moveTo>
                    <a:pt x="119" y="97"/>
                  </a:moveTo>
                  <a:lnTo>
                    <a:pt x="121" y="88"/>
                  </a:lnTo>
                  <a:lnTo>
                    <a:pt x="108" y="81"/>
                  </a:lnTo>
                  <a:lnTo>
                    <a:pt x="102" y="65"/>
                  </a:lnTo>
                  <a:lnTo>
                    <a:pt x="92" y="62"/>
                  </a:lnTo>
                  <a:lnTo>
                    <a:pt x="94" y="48"/>
                  </a:lnTo>
                  <a:lnTo>
                    <a:pt x="67" y="25"/>
                  </a:lnTo>
                  <a:lnTo>
                    <a:pt x="22" y="0"/>
                  </a:lnTo>
                  <a:lnTo>
                    <a:pt x="14" y="4"/>
                  </a:lnTo>
                  <a:lnTo>
                    <a:pt x="12" y="11"/>
                  </a:lnTo>
                  <a:lnTo>
                    <a:pt x="19" y="25"/>
                  </a:lnTo>
                  <a:lnTo>
                    <a:pt x="21" y="35"/>
                  </a:lnTo>
                  <a:lnTo>
                    <a:pt x="0" y="58"/>
                  </a:lnTo>
                  <a:lnTo>
                    <a:pt x="10" y="95"/>
                  </a:lnTo>
                  <a:lnTo>
                    <a:pt x="12" y="143"/>
                  </a:lnTo>
                  <a:lnTo>
                    <a:pt x="37" y="162"/>
                  </a:lnTo>
                  <a:lnTo>
                    <a:pt x="50" y="139"/>
                  </a:lnTo>
                  <a:lnTo>
                    <a:pt x="67" y="127"/>
                  </a:lnTo>
                  <a:lnTo>
                    <a:pt x="99" y="116"/>
                  </a:lnTo>
                  <a:lnTo>
                    <a:pt x="108" y="106"/>
                  </a:lnTo>
                  <a:lnTo>
                    <a:pt x="119" y="97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20" name="Freeform 57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394" y="1843"/>
              <a:ext cx="27" cy="15"/>
            </a:xfrm>
            <a:custGeom>
              <a:avLst/>
              <a:gdLst>
                <a:gd name="T0" fmla="*/ 6 w 178"/>
                <a:gd name="T1" fmla="*/ 102 h 116"/>
                <a:gd name="T2" fmla="*/ 44 w 178"/>
                <a:gd name="T3" fmla="*/ 116 h 116"/>
                <a:gd name="T4" fmla="*/ 58 w 178"/>
                <a:gd name="T5" fmla="*/ 106 h 116"/>
                <a:gd name="T6" fmla="*/ 76 w 178"/>
                <a:gd name="T7" fmla="*/ 74 h 116"/>
                <a:gd name="T8" fmla="*/ 92 w 178"/>
                <a:gd name="T9" fmla="*/ 65 h 116"/>
                <a:gd name="T10" fmla="*/ 141 w 178"/>
                <a:gd name="T11" fmla="*/ 69 h 116"/>
                <a:gd name="T12" fmla="*/ 178 w 178"/>
                <a:gd name="T13" fmla="*/ 53 h 116"/>
                <a:gd name="T14" fmla="*/ 163 w 178"/>
                <a:gd name="T15" fmla="*/ 23 h 116"/>
                <a:gd name="T16" fmla="*/ 142 w 178"/>
                <a:gd name="T17" fmla="*/ 5 h 116"/>
                <a:gd name="T18" fmla="*/ 125 w 178"/>
                <a:gd name="T19" fmla="*/ 0 h 116"/>
                <a:gd name="T20" fmla="*/ 88 w 178"/>
                <a:gd name="T21" fmla="*/ 25 h 116"/>
                <a:gd name="T22" fmla="*/ 44 w 178"/>
                <a:gd name="T23" fmla="*/ 37 h 116"/>
                <a:gd name="T24" fmla="*/ 0 w 178"/>
                <a:gd name="T25" fmla="*/ 86 h 116"/>
                <a:gd name="T26" fmla="*/ 6 w 178"/>
                <a:gd name="T27" fmla="*/ 102 h 11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78"/>
                <a:gd name="T43" fmla="*/ 0 h 116"/>
                <a:gd name="T44" fmla="*/ 178 w 178"/>
                <a:gd name="T45" fmla="*/ 116 h 11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78" h="116">
                  <a:moveTo>
                    <a:pt x="6" y="102"/>
                  </a:moveTo>
                  <a:lnTo>
                    <a:pt x="44" y="116"/>
                  </a:lnTo>
                  <a:lnTo>
                    <a:pt x="58" y="106"/>
                  </a:lnTo>
                  <a:lnTo>
                    <a:pt x="76" y="74"/>
                  </a:lnTo>
                  <a:lnTo>
                    <a:pt x="92" y="65"/>
                  </a:lnTo>
                  <a:lnTo>
                    <a:pt x="141" y="69"/>
                  </a:lnTo>
                  <a:lnTo>
                    <a:pt x="178" y="53"/>
                  </a:lnTo>
                  <a:lnTo>
                    <a:pt x="163" y="23"/>
                  </a:lnTo>
                  <a:lnTo>
                    <a:pt x="142" y="5"/>
                  </a:lnTo>
                  <a:lnTo>
                    <a:pt x="125" y="0"/>
                  </a:lnTo>
                  <a:lnTo>
                    <a:pt x="88" y="25"/>
                  </a:lnTo>
                  <a:lnTo>
                    <a:pt x="44" y="37"/>
                  </a:lnTo>
                  <a:lnTo>
                    <a:pt x="0" y="86"/>
                  </a:lnTo>
                  <a:lnTo>
                    <a:pt x="6" y="102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21" name="Freeform 58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364" y="1866"/>
              <a:ext cx="11" cy="13"/>
            </a:xfrm>
            <a:custGeom>
              <a:avLst/>
              <a:gdLst>
                <a:gd name="T0" fmla="*/ 76 w 76"/>
                <a:gd name="T1" fmla="*/ 23 h 86"/>
                <a:gd name="T2" fmla="*/ 57 w 76"/>
                <a:gd name="T3" fmla="*/ 5 h 86"/>
                <a:gd name="T4" fmla="*/ 37 w 76"/>
                <a:gd name="T5" fmla="*/ 0 h 86"/>
                <a:gd name="T6" fmla="*/ 0 w 76"/>
                <a:gd name="T7" fmla="*/ 9 h 86"/>
                <a:gd name="T8" fmla="*/ 15 w 76"/>
                <a:gd name="T9" fmla="*/ 44 h 86"/>
                <a:gd name="T10" fmla="*/ 23 w 76"/>
                <a:gd name="T11" fmla="*/ 86 h 86"/>
                <a:gd name="T12" fmla="*/ 49 w 76"/>
                <a:gd name="T13" fmla="*/ 67 h 86"/>
                <a:gd name="T14" fmla="*/ 53 w 76"/>
                <a:gd name="T15" fmla="*/ 46 h 86"/>
                <a:gd name="T16" fmla="*/ 64 w 76"/>
                <a:gd name="T17" fmla="*/ 42 h 86"/>
                <a:gd name="T18" fmla="*/ 76 w 76"/>
                <a:gd name="T19" fmla="*/ 23 h 8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6"/>
                <a:gd name="T31" fmla="*/ 0 h 86"/>
                <a:gd name="T32" fmla="*/ 76 w 76"/>
                <a:gd name="T33" fmla="*/ 86 h 8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6" h="86">
                  <a:moveTo>
                    <a:pt x="76" y="23"/>
                  </a:moveTo>
                  <a:lnTo>
                    <a:pt x="57" y="5"/>
                  </a:lnTo>
                  <a:lnTo>
                    <a:pt x="37" y="0"/>
                  </a:lnTo>
                  <a:lnTo>
                    <a:pt x="0" y="9"/>
                  </a:lnTo>
                  <a:lnTo>
                    <a:pt x="15" y="44"/>
                  </a:lnTo>
                  <a:lnTo>
                    <a:pt x="23" y="86"/>
                  </a:lnTo>
                  <a:lnTo>
                    <a:pt x="49" y="67"/>
                  </a:lnTo>
                  <a:lnTo>
                    <a:pt x="53" y="46"/>
                  </a:lnTo>
                  <a:lnTo>
                    <a:pt x="64" y="42"/>
                  </a:lnTo>
                  <a:lnTo>
                    <a:pt x="76" y="23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22" name="Freeform 59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420" y="1838"/>
              <a:ext cx="8" cy="6"/>
            </a:xfrm>
            <a:custGeom>
              <a:avLst/>
              <a:gdLst>
                <a:gd name="T0" fmla="*/ 47 w 51"/>
                <a:gd name="T1" fmla="*/ 45 h 52"/>
                <a:gd name="T2" fmla="*/ 51 w 51"/>
                <a:gd name="T3" fmla="*/ 35 h 52"/>
                <a:gd name="T4" fmla="*/ 47 w 51"/>
                <a:gd name="T5" fmla="*/ 19 h 52"/>
                <a:gd name="T6" fmla="*/ 16 w 51"/>
                <a:gd name="T7" fmla="*/ 0 h 52"/>
                <a:gd name="T8" fmla="*/ 0 w 51"/>
                <a:gd name="T9" fmla="*/ 17 h 52"/>
                <a:gd name="T10" fmla="*/ 6 w 51"/>
                <a:gd name="T11" fmla="*/ 38 h 52"/>
                <a:gd name="T12" fmla="*/ 28 w 51"/>
                <a:gd name="T13" fmla="*/ 52 h 52"/>
                <a:gd name="T14" fmla="*/ 47 w 51"/>
                <a:gd name="T15" fmla="*/ 45 h 5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1"/>
                <a:gd name="T25" fmla="*/ 0 h 52"/>
                <a:gd name="T26" fmla="*/ 51 w 51"/>
                <a:gd name="T27" fmla="*/ 52 h 5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1" h="52">
                  <a:moveTo>
                    <a:pt x="47" y="45"/>
                  </a:moveTo>
                  <a:lnTo>
                    <a:pt x="51" y="35"/>
                  </a:lnTo>
                  <a:lnTo>
                    <a:pt x="47" y="19"/>
                  </a:lnTo>
                  <a:lnTo>
                    <a:pt x="16" y="0"/>
                  </a:lnTo>
                  <a:lnTo>
                    <a:pt x="0" y="17"/>
                  </a:lnTo>
                  <a:lnTo>
                    <a:pt x="6" y="38"/>
                  </a:lnTo>
                  <a:lnTo>
                    <a:pt x="28" y="52"/>
                  </a:lnTo>
                  <a:lnTo>
                    <a:pt x="47" y="45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23" name="Freeform 60"/>
            <p:cNvSpPr>
              <a:spLocks/>
            </p:cNvSpPr>
            <p:nvPr>
              <p:custDataLst>
                <p:tags r:id="rId51"/>
              </p:custDataLst>
            </p:nvPr>
          </p:nvSpPr>
          <p:spPr bwMode="auto">
            <a:xfrm>
              <a:off x="344" y="1876"/>
              <a:ext cx="10" cy="8"/>
            </a:xfrm>
            <a:custGeom>
              <a:avLst/>
              <a:gdLst>
                <a:gd name="T0" fmla="*/ 5 w 68"/>
                <a:gd name="T1" fmla="*/ 25 h 57"/>
                <a:gd name="T2" fmla="*/ 0 w 68"/>
                <a:gd name="T3" fmla="*/ 34 h 57"/>
                <a:gd name="T4" fmla="*/ 5 w 68"/>
                <a:gd name="T5" fmla="*/ 46 h 57"/>
                <a:gd name="T6" fmla="*/ 18 w 68"/>
                <a:gd name="T7" fmla="*/ 57 h 57"/>
                <a:gd name="T8" fmla="*/ 51 w 68"/>
                <a:gd name="T9" fmla="*/ 44 h 57"/>
                <a:gd name="T10" fmla="*/ 68 w 68"/>
                <a:gd name="T11" fmla="*/ 43 h 57"/>
                <a:gd name="T12" fmla="*/ 59 w 68"/>
                <a:gd name="T13" fmla="*/ 16 h 57"/>
                <a:gd name="T14" fmla="*/ 32 w 68"/>
                <a:gd name="T15" fmla="*/ 0 h 57"/>
                <a:gd name="T16" fmla="*/ 19 w 68"/>
                <a:gd name="T17" fmla="*/ 7 h 57"/>
                <a:gd name="T18" fmla="*/ 5 w 68"/>
                <a:gd name="T19" fmla="*/ 25 h 5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8"/>
                <a:gd name="T31" fmla="*/ 0 h 57"/>
                <a:gd name="T32" fmla="*/ 68 w 68"/>
                <a:gd name="T33" fmla="*/ 57 h 5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8" h="57">
                  <a:moveTo>
                    <a:pt x="5" y="25"/>
                  </a:moveTo>
                  <a:lnTo>
                    <a:pt x="0" y="34"/>
                  </a:lnTo>
                  <a:lnTo>
                    <a:pt x="5" y="46"/>
                  </a:lnTo>
                  <a:lnTo>
                    <a:pt x="18" y="57"/>
                  </a:lnTo>
                  <a:lnTo>
                    <a:pt x="51" y="44"/>
                  </a:lnTo>
                  <a:lnTo>
                    <a:pt x="68" y="43"/>
                  </a:lnTo>
                  <a:lnTo>
                    <a:pt x="59" y="16"/>
                  </a:lnTo>
                  <a:lnTo>
                    <a:pt x="32" y="0"/>
                  </a:lnTo>
                  <a:lnTo>
                    <a:pt x="19" y="7"/>
                  </a:lnTo>
                  <a:lnTo>
                    <a:pt x="5" y="25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24" name="Freeform 61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987" y="1969"/>
              <a:ext cx="850" cy="494"/>
            </a:xfrm>
            <a:custGeom>
              <a:avLst/>
              <a:gdLst>
                <a:gd name="T0" fmla="*/ 189 w 5667"/>
                <a:gd name="T1" fmla="*/ 249 h 3325"/>
                <a:gd name="T2" fmla="*/ 46 w 5667"/>
                <a:gd name="T3" fmla="*/ 370 h 3325"/>
                <a:gd name="T4" fmla="*/ 93 w 5667"/>
                <a:gd name="T5" fmla="*/ 475 h 3325"/>
                <a:gd name="T6" fmla="*/ 65 w 5667"/>
                <a:gd name="T7" fmla="*/ 657 h 3325"/>
                <a:gd name="T8" fmla="*/ 37 w 5667"/>
                <a:gd name="T9" fmla="*/ 1265 h 3325"/>
                <a:gd name="T10" fmla="*/ 193 w 5667"/>
                <a:gd name="T11" fmla="*/ 1648 h 3325"/>
                <a:gd name="T12" fmla="*/ 242 w 5667"/>
                <a:gd name="T13" fmla="*/ 1695 h 3325"/>
                <a:gd name="T14" fmla="*/ 242 w 5667"/>
                <a:gd name="T15" fmla="*/ 1769 h 3325"/>
                <a:gd name="T16" fmla="*/ 311 w 5667"/>
                <a:gd name="T17" fmla="*/ 1903 h 3325"/>
                <a:gd name="T18" fmla="*/ 398 w 5667"/>
                <a:gd name="T19" fmla="*/ 2075 h 3325"/>
                <a:gd name="T20" fmla="*/ 601 w 5667"/>
                <a:gd name="T21" fmla="*/ 2162 h 3325"/>
                <a:gd name="T22" fmla="*/ 709 w 5667"/>
                <a:gd name="T23" fmla="*/ 2264 h 3325"/>
                <a:gd name="T24" fmla="*/ 1338 w 5667"/>
                <a:gd name="T25" fmla="*/ 2526 h 3325"/>
                <a:gd name="T26" fmla="*/ 2073 w 5667"/>
                <a:gd name="T27" fmla="*/ 2814 h 3325"/>
                <a:gd name="T28" fmla="*/ 2423 w 5667"/>
                <a:gd name="T29" fmla="*/ 2967 h 3325"/>
                <a:gd name="T30" fmla="*/ 2678 w 5667"/>
                <a:gd name="T31" fmla="*/ 3217 h 3325"/>
                <a:gd name="T32" fmla="*/ 2751 w 5667"/>
                <a:gd name="T33" fmla="*/ 2916 h 3325"/>
                <a:gd name="T34" fmla="*/ 2935 w 5667"/>
                <a:gd name="T35" fmla="*/ 2750 h 3325"/>
                <a:gd name="T36" fmla="*/ 3342 w 5667"/>
                <a:gd name="T37" fmla="*/ 2791 h 3325"/>
                <a:gd name="T38" fmla="*/ 3477 w 5667"/>
                <a:gd name="T39" fmla="*/ 2814 h 3325"/>
                <a:gd name="T40" fmla="*/ 3379 w 5667"/>
                <a:gd name="T41" fmla="*/ 2644 h 3325"/>
                <a:gd name="T42" fmla="*/ 3690 w 5667"/>
                <a:gd name="T43" fmla="*/ 2648 h 3325"/>
                <a:gd name="T44" fmla="*/ 3963 w 5667"/>
                <a:gd name="T45" fmla="*/ 2681 h 3325"/>
                <a:gd name="T46" fmla="*/ 4130 w 5667"/>
                <a:gd name="T47" fmla="*/ 3008 h 3325"/>
                <a:gd name="T48" fmla="*/ 4279 w 5667"/>
                <a:gd name="T49" fmla="*/ 3309 h 3325"/>
                <a:gd name="T50" fmla="*/ 4381 w 5667"/>
                <a:gd name="T51" fmla="*/ 3130 h 3325"/>
                <a:gd name="T52" fmla="*/ 4330 w 5667"/>
                <a:gd name="T53" fmla="*/ 2372 h 3325"/>
                <a:gd name="T54" fmla="*/ 4729 w 5667"/>
                <a:gd name="T55" fmla="*/ 2065 h 3325"/>
                <a:gd name="T56" fmla="*/ 4715 w 5667"/>
                <a:gd name="T57" fmla="*/ 2030 h 3325"/>
                <a:gd name="T58" fmla="*/ 4728 w 5667"/>
                <a:gd name="T59" fmla="*/ 1982 h 3325"/>
                <a:gd name="T60" fmla="*/ 4776 w 5667"/>
                <a:gd name="T61" fmla="*/ 1952 h 3325"/>
                <a:gd name="T62" fmla="*/ 4709 w 5667"/>
                <a:gd name="T63" fmla="*/ 1876 h 3325"/>
                <a:gd name="T64" fmla="*/ 4792 w 5667"/>
                <a:gd name="T65" fmla="*/ 1890 h 3325"/>
                <a:gd name="T66" fmla="*/ 4825 w 5667"/>
                <a:gd name="T67" fmla="*/ 1929 h 3325"/>
                <a:gd name="T68" fmla="*/ 4737 w 5667"/>
                <a:gd name="T69" fmla="*/ 1774 h 3325"/>
                <a:gd name="T70" fmla="*/ 4753 w 5667"/>
                <a:gd name="T71" fmla="*/ 1725 h 3325"/>
                <a:gd name="T72" fmla="*/ 4725 w 5667"/>
                <a:gd name="T73" fmla="*/ 1632 h 3325"/>
                <a:gd name="T74" fmla="*/ 4691 w 5667"/>
                <a:gd name="T75" fmla="*/ 1581 h 3325"/>
                <a:gd name="T76" fmla="*/ 4728 w 5667"/>
                <a:gd name="T77" fmla="*/ 1549 h 3325"/>
                <a:gd name="T78" fmla="*/ 4773 w 5667"/>
                <a:gd name="T79" fmla="*/ 1436 h 3325"/>
                <a:gd name="T80" fmla="*/ 4745 w 5667"/>
                <a:gd name="T81" fmla="*/ 1503 h 3325"/>
                <a:gd name="T82" fmla="*/ 4762 w 5667"/>
                <a:gd name="T83" fmla="*/ 1558 h 3325"/>
                <a:gd name="T84" fmla="*/ 4810 w 5667"/>
                <a:gd name="T85" fmla="*/ 1637 h 3325"/>
                <a:gd name="T86" fmla="*/ 4817 w 5667"/>
                <a:gd name="T87" fmla="*/ 1692 h 3325"/>
                <a:gd name="T88" fmla="*/ 4842 w 5667"/>
                <a:gd name="T89" fmla="*/ 1383 h 3325"/>
                <a:gd name="T90" fmla="*/ 4934 w 5667"/>
                <a:gd name="T91" fmla="*/ 1448 h 3325"/>
                <a:gd name="T92" fmla="*/ 4988 w 5667"/>
                <a:gd name="T93" fmla="*/ 1212 h 3325"/>
                <a:gd name="T94" fmla="*/ 5259 w 5667"/>
                <a:gd name="T95" fmla="*/ 1115 h 3325"/>
                <a:gd name="T96" fmla="*/ 5375 w 5667"/>
                <a:gd name="T97" fmla="*/ 1129 h 3325"/>
                <a:gd name="T98" fmla="*/ 5317 w 5667"/>
                <a:gd name="T99" fmla="*/ 1094 h 3325"/>
                <a:gd name="T100" fmla="*/ 5289 w 5667"/>
                <a:gd name="T101" fmla="*/ 976 h 3325"/>
                <a:gd name="T102" fmla="*/ 5391 w 5667"/>
                <a:gd name="T103" fmla="*/ 814 h 3325"/>
                <a:gd name="T104" fmla="*/ 5517 w 5667"/>
                <a:gd name="T105" fmla="*/ 744 h 3325"/>
                <a:gd name="T106" fmla="*/ 5644 w 5667"/>
                <a:gd name="T107" fmla="*/ 705 h 3325"/>
                <a:gd name="T108" fmla="*/ 5629 w 5667"/>
                <a:gd name="T109" fmla="*/ 581 h 3325"/>
                <a:gd name="T110" fmla="*/ 5408 w 5667"/>
                <a:gd name="T111" fmla="*/ 380 h 3325"/>
                <a:gd name="T112" fmla="*/ 4697 w 5667"/>
                <a:gd name="T113" fmla="*/ 856 h 3325"/>
                <a:gd name="T114" fmla="*/ 4255 w 5667"/>
                <a:gd name="T115" fmla="*/ 1064 h 3325"/>
                <a:gd name="T116" fmla="*/ 4139 w 5667"/>
                <a:gd name="T117" fmla="*/ 618 h 3325"/>
                <a:gd name="T118" fmla="*/ 3550 w 5667"/>
                <a:gd name="T119" fmla="*/ 176 h 3325"/>
                <a:gd name="T120" fmla="*/ 3240 w 5667"/>
                <a:gd name="T121" fmla="*/ 217 h 3325"/>
                <a:gd name="T122" fmla="*/ 3005 w 5667"/>
                <a:gd name="T123" fmla="*/ 108 h 332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667"/>
                <a:gd name="T187" fmla="*/ 0 h 3325"/>
                <a:gd name="T188" fmla="*/ 5667 w 5667"/>
                <a:gd name="T189" fmla="*/ 3325 h 332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667" h="3325">
                  <a:moveTo>
                    <a:pt x="208" y="99"/>
                  </a:moveTo>
                  <a:lnTo>
                    <a:pt x="216" y="118"/>
                  </a:lnTo>
                  <a:lnTo>
                    <a:pt x="230" y="183"/>
                  </a:lnTo>
                  <a:lnTo>
                    <a:pt x="233" y="212"/>
                  </a:lnTo>
                  <a:lnTo>
                    <a:pt x="220" y="282"/>
                  </a:lnTo>
                  <a:lnTo>
                    <a:pt x="203" y="302"/>
                  </a:lnTo>
                  <a:lnTo>
                    <a:pt x="196" y="317"/>
                  </a:lnTo>
                  <a:lnTo>
                    <a:pt x="195" y="334"/>
                  </a:lnTo>
                  <a:lnTo>
                    <a:pt x="183" y="321"/>
                  </a:lnTo>
                  <a:lnTo>
                    <a:pt x="176" y="309"/>
                  </a:lnTo>
                  <a:lnTo>
                    <a:pt x="152" y="300"/>
                  </a:lnTo>
                  <a:lnTo>
                    <a:pt x="189" y="249"/>
                  </a:lnTo>
                  <a:lnTo>
                    <a:pt x="188" y="220"/>
                  </a:lnTo>
                  <a:lnTo>
                    <a:pt x="163" y="197"/>
                  </a:lnTo>
                  <a:lnTo>
                    <a:pt x="144" y="192"/>
                  </a:lnTo>
                  <a:lnTo>
                    <a:pt x="121" y="196"/>
                  </a:lnTo>
                  <a:lnTo>
                    <a:pt x="93" y="194"/>
                  </a:lnTo>
                  <a:lnTo>
                    <a:pt x="57" y="185"/>
                  </a:lnTo>
                  <a:lnTo>
                    <a:pt x="29" y="171"/>
                  </a:lnTo>
                  <a:lnTo>
                    <a:pt x="5" y="166"/>
                  </a:lnTo>
                  <a:lnTo>
                    <a:pt x="0" y="175"/>
                  </a:lnTo>
                  <a:lnTo>
                    <a:pt x="1" y="206"/>
                  </a:lnTo>
                  <a:lnTo>
                    <a:pt x="41" y="303"/>
                  </a:lnTo>
                  <a:lnTo>
                    <a:pt x="46" y="370"/>
                  </a:lnTo>
                  <a:lnTo>
                    <a:pt x="53" y="366"/>
                  </a:lnTo>
                  <a:lnTo>
                    <a:pt x="52" y="359"/>
                  </a:lnTo>
                  <a:lnTo>
                    <a:pt x="53" y="355"/>
                  </a:lnTo>
                  <a:lnTo>
                    <a:pt x="58" y="355"/>
                  </a:lnTo>
                  <a:lnTo>
                    <a:pt x="66" y="364"/>
                  </a:lnTo>
                  <a:lnTo>
                    <a:pt x="81" y="366"/>
                  </a:lnTo>
                  <a:lnTo>
                    <a:pt x="56" y="380"/>
                  </a:lnTo>
                  <a:lnTo>
                    <a:pt x="54" y="400"/>
                  </a:lnTo>
                  <a:lnTo>
                    <a:pt x="58" y="421"/>
                  </a:lnTo>
                  <a:lnTo>
                    <a:pt x="56" y="468"/>
                  </a:lnTo>
                  <a:lnTo>
                    <a:pt x="84" y="475"/>
                  </a:lnTo>
                  <a:lnTo>
                    <a:pt x="93" y="475"/>
                  </a:lnTo>
                  <a:lnTo>
                    <a:pt x="90" y="481"/>
                  </a:lnTo>
                  <a:lnTo>
                    <a:pt x="81" y="482"/>
                  </a:lnTo>
                  <a:lnTo>
                    <a:pt x="66" y="477"/>
                  </a:lnTo>
                  <a:lnTo>
                    <a:pt x="66" y="481"/>
                  </a:lnTo>
                  <a:lnTo>
                    <a:pt x="70" y="498"/>
                  </a:lnTo>
                  <a:lnTo>
                    <a:pt x="72" y="511"/>
                  </a:lnTo>
                  <a:lnTo>
                    <a:pt x="65" y="516"/>
                  </a:lnTo>
                  <a:lnTo>
                    <a:pt x="69" y="527"/>
                  </a:lnTo>
                  <a:lnTo>
                    <a:pt x="66" y="542"/>
                  </a:lnTo>
                  <a:lnTo>
                    <a:pt x="72" y="553"/>
                  </a:lnTo>
                  <a:lnTo>
                    <a:pt x="72" y="565"/>
                  </a:lnTo>
                  <a:lnTo>
                    <a:pt x="65" y="657"/>
                  </a:lnTo>
                  <a:lnTo>
                    <a:pt x="40" y="796"/>
                  </a:lnTo>
                  <a:lnTo>
                    <a:pt x="42" y="818"/>
                  </a:lnTo>
                  <a:lnTo>
                    <a:pt x="58" y="855"/>
                  </a:lnTo>
                  <a:lnTo>
                    <a:pt x="42" y="901"/>
                  </a:lnTo>
                  <a:lnTo>
                    <a:pt x="25" y="913"/>
                  </a:lnTo>
                  <a:lnTo>
                    <a:pt x="14" y="929"/>
                  </a:lnTo>
                  <a:lnTo>
                    <a:pt x="9" y="948"/>
                  </a:lnTo>
                  <a:lnTo>
                    <a:pt x="17" y="1005"/>
                  </a:lnTo>
                  <a:lnTo>
                    <a:pt x="46" y="1101"/>
                  </a:lnTo>
                  <a:lnTo>
                    <a:pt x="57" y="1150"/>
                  </a:lnTo>
                  <a:lnTo>
                    <a:pt x="54" y="1203"/>
                  </a:lnTo>
                  <a:lnTo>
                    <a:pt x="37" y="1265"/>
                  </a:lnTo>
                  <a:lnTo>
                    <a:pt x="32" y="1304"/>
                  </a:lnTo>
                  <a:lnTo>
                    <a:pt x="37" y="1323"/>
                  </a:lnTo>
                  <a:lnTo>
                    <a:pt x="69" y="1371"/>
                  </a:lnTo>
                  <a:lnTo>
                    <a:pt x="90" y="1422"/>
                  </a:lnTo>
                  <a:lnTo>
                    <a:pt x="82" y="1448"/>
                  </a:lnTo>
                  <a:lnTo>
                    <a:pt x="97" y="1496"/>
                  </a:lnTo>
                  <a:lnTo>
                    <a:pt x="91" y="1501"/>
                  </a:lnTo>
                  <a:lnTo>
                    <a:pt x="97" y="1510"/>
                  </a:lnTo>
                  <a:lnTo>
                    <a:pt x="147" y="1570"/>
                  </a:lnTo>
                  <a:lnTo>
                    <a:pt x="165" y="1600"/>
                  </a:lnTo>
                  <a:lnTo>
                    <a:pt x="171" y="1623"/>
                  </a:lnTo>
                  <a:lnTo>
                    <a:pt x="193" y="1648"/>
                  </a:lnTo>
                  <a:lnTo>
                    <a:pt x="200" y="1644"/>
                  </a:lnTo>
                  <a:lnTo>
                    <a:pt x="212" y="1656"/>
                  </a:lnTo>
                  <a:lnTo>
                    <a:pt x="216" y="1655"/>
                  </a:lnTo>
                  <a:lnTo>
                    <a:pt x="214" y="1619"/>
                  </a:lnTo>
                  <a:lnTo>
                    <a:pt x="220" y="1619"/>
                  </a:lnTo>
                  <a:lnTo>
                    <a:pt x="221" y="1641"/>
                  </a:lnTo>
                  <a:lnTo>
                    <a:pt x="230" y="1648"/>
                  </a:lnTo>
                  <a:lnTo>
                    <a:pt x="230" y="1662"/>
                  </a:lnTo>
                  <a:lnTo>
                    <a:pt x="240" y="1671"/>
                  </a:lnTo>
                  <a:lnTo>
                    <a:pt x="256" y="1704"/>
                  </a:lnTo>
                  <a:lnTo>
                    <a:pt x="247" y="1702"/>
                  </a:lnTo>
                  <a:lnTo>
                    <a:pt x="242" y="1695"/>
                  </a:lnTo>
                  <a:lnTo>
                    <a:pt x="229" y="1688"/>
                  </a:lnTo>
                  <a:lnTo>
                    <a:pt x="224" y="1676"/>
                  </a:lnTo>
                  <a:lnTo>
                    <a:pt x="226" y="1671"/>
                  </a:lnTo>
                  <a:lnTo>
                    <a:pt x="224" y="1665"/>
                  </a:lnTo>
                  <a:lnTo>
                    <a:pt x="219" y="1662"/>
                  </a:lnTo>
                  <a:lnTo>
                    <a:pt x="214" y="1663"/>
                  </a:lnTo>
                  <a:lnTo>
                    <a:pt x="212" y="1672"/>
                  </a:lnTo>
                  <a:lnTo>
                    <a:pt x="213" y="1701"/>
                  </a:lnTo>
                  <a:lnTo>
                    <a:pt x="219" y="1704"/>
                  </a:lnTo>
                  <a:lnTo>
                    <a:pt x="224" y="1723"/>
                  </a:lnTo>
                  <a:lnTo>
                    <a:pt x="220" y="1737"/>
                  </a:lnTo>
                  <a:lnTo>
                    <a:pt x="242" y="1769"/>
                  </a:lnTo>
                  <a:lnTo>
                    <a:pt x="256" y="1776"/>
                  </a:lnTo>
                  <a:lnTo>
                    <a:pt x="266" y="1774"/>
                  </a:lnTo>
                  <a:lnTo>
                    <a:pt x="275" y="1776"/>
                  </a:lnTo>
                  <a:lnTo>
                    <a:pt x="284" y="1791"/>
                  </a:lnTo>
                  <a:lnTo>
                    <a:pt x="282" y="1811"/>
                  </a:lnTo>
                  <a:lnTo>
                    <a:pt x="277" y="1821"/>
                  </a:lnTo>
                  <a:lnTo>
                    <a:pt x="267" y="1820"/>
                  </a:lnTo>
                  <a:lnTo>
                    <a:pt x="267" y="1834"/>
                  </a:lnTo>
                  <a:lnTo>
                    <a:pt x="275" y="1866"/>
                  </a:lnTo>
                  <a:lnTo>
                    <a:pt x="293" y="1880"/>
                  </a:lnTo>
                  <a:lnTo>
                    <a:pt x="302" y="1897"/>
                  </a:lnTo>
                  <a:lnTo>
                    <a:pt x="311" y="1903"/>
                  </a:lnTo>
                  <a:lnTo>
                    <a:pt x="328" y="1940"/>
                  </a:lnTo>
                  <a:lnTo>
                    <a:pt x="347" y="1952"/>
                  </a:lnTo>
                  <a:lnTo>
                    <a:pt x="359" y="1970"/>
                  </a:lnTo>
                  <a:lnTo>
                    <a:pt x="373" y="1980"/>
                  </a:lnTo>
                  <a:lnTo>
                    <a:pt x="375" y="1994"/>
                  </a:lnTo>
                  <a:lnTo>
                    <a:pt x="372" y="2000"/>
                  </a:lnTo>
                  <a:lnTo>
                    <a:pt x="372" y="2005"/>
                  </a:lnTo>
                  <a:lnTo>
                    <a:pt x="381" y="2014"/>
                  </a:lnTo>
                  <a:lnTo>
                    <a:pt x="388" y="2012"/>
                  </a:lnTo>
                  <a:lnTo>
                    <a:pt x="398" y="2019"/>
                  </a:lnTo>
                  <a:lnTo>
                    <a:pt x="392" y="2045"/>
                  </a:lnTo>
                  <a:lnTo>
                    <a:pt x="398" y="2075"/>
                  </a:lnTo>
                  <a:lnTo>
                    <a:pt x="396" y="2083"/>
                  </a:lnTo>
                  <a:lnTo>
                    <a:pt x="397" y="2093"/>
                  </a:lnTo>
                  <a:lnTo>
                    <a:pt x="408" y="2097"/>
                  </a:lnTo>
                  <a:lnTo>
                    <a:pt x="413" y="2109"/>
                  </a:lnTo>
                  <a:lnTo>
                    <a:pt x="445" y="2105"/>
                  </a:lnTo>
                  <a:lnTo>
                    <a:pt x="486" y="2114"/>
                  </a:lnTo>
                  <a:lnTo>
                    <a:pt x="502" y="2113"/>
                  </a:lnTo>
                  <a:lnTo>
                    <a:pt x="521" y="2127"/>
                  </a:lnTo>
                  <a:lnTo>
                    <a:pt x="533" y="2146"/>
                  </a:lnTo>
                  <a:lnTo>
                    <a:pt x="575" y="2165"/>
                  </a:lnTo>
                  <a:lnTo>
                    <a:pt x="588" y="2162"/>
                  </a:lnTo>
                  <a:lnTo>
                    <a:pt x="601" y="2162"/>
                  </a:lnTo>
                  <a:lnTo>
                    <a:pt x="612" y="2178"/>
                  </a:lnTo>
                  <a:lnTo>
                    <a:pt x="614" y="2190"/>
                  </a:lnTo>
                  <a:lnTo>
                    <a:pt x="610" y="2194"/>
                  </a:lnTo>
                  <a:lnTo>
                    <a:pt x="618" y="2202"/>
                  </a:lnTo>
                  <a:lnTo>
                    <a:pt x="622" y="2204"/>
                  </a:lnTo>
                  <a:lnTo>
                    <a:pt x="625" y="2202"/>
                  </a:lnTo>
                  <a:lnTo>
                    <a:pt x="625" y="2197"/>
                  </a:lnTo>
                  <a:lnTo>
                    <a:pt x="633" y="2195"/>
                  </a:lnTo>
                  <a:lnTo>
                    <a:pt x="637" y="2199"/>
                  </a:lnTo>
                  <a:lnTo>
                    <a:pt x="659" y="2210"/>
                  </a:lnTo>
                  <a:lnTo>
                    <a:pt x="688" y="2238"/>
                  </a:lnTo>
                  <a:lnTo>
                    <a:pt x="709" y="2264"/>
                  </a:lnTo>
                  <a:lnTo>
                    <a:pt x="724" y="2299"/>
                  </a:lnTo>
                  <a:lnTo>
                    <a:pt x="724" y="2338"/>
                  </a:lnTo>
                  <a:lnTo>
                    <a:pt x="725" y="2344"/>
                  </a:lnTo>
                  <a:lnTo>
                    <a:pt x="727" y="2340"/>
                  </a:lnTo>
                  <a:lnTo>
                    <a:pt x="729" y="2338"/>
                  </a:lnTo>
                  <a:lnTo>
                    <a:pt x="739" y="2363"/>
                  </a:lnTo>
                  <a:lnTo>
                    <a:pt x="740" y="2368"/>
                  </a:lnTo>
                  <a:lnTo>
                    <a:pt x="966" y="2354"/>
                  </a:lnTo>
                  <a:lnTo>
                    <a:pt x="979" y="2372"/>
                  </a:lnTo>
                  <a:lnTo>
                    <a:pt x="991" y="2381"/>
                  </a:lnTo>
                  <a:lnTo>
                    <a:pt x="1324" y="2523"/>
                  </a:lnTo>
                  <a:lnTo>
                    <a:pt x="1338" y="2526"/>
                  </a:lnTo>
                  <a:lnTo>
                    <a:pt x="1604" y="2530"/>
                  </a:lnTo>
                  <a:lnTo>
                    <a:pt x="1614" y="2525"/>
                  </a:lnTo>
                  <a:lnTo>
                    <a:pt x="1619" y="2472"/>
                  </a:lnTo>
                  <a:lnTo>
                    <a:pt x="1783" y="2475"/>
                  </a:lnTo>
                  <a:lnTo>
                    <a:pt x="1793" y="2482"/>
                  </a:lnTo>
                  <a:lnTo>
                    <a:pt x="1820" y="2521"/>
                  </a:lnTo>
                  <a:lnTo>
                    <a:pt x="1922" y="2614"/>
                  </a:lnTo>
                  <a:lnTo>
                    <a:pt x="1931" y="2629"/>
                  </a:lnTo>
                  <a:lnTo>
                    <a:pt x="1956" y="2717"/>
                  </a:lnTo>
                  <a:lnTo>
                    <a:pt x="1977" y="2747"/>
                  </a:lnTo>
                  <a:lnTo>
                    <a:pt x="2024" y="2786"/>
                  </a:lnTo>
                  <a:lnTo>
                    <a:pt x="2073" y="2814"/>
                  </a:lnTo>
                  <a:lnTo>
                    <a:pt x="2089" y="2817"/>
                  </a:lnTo>
                  <a:lnTo>
                    <a:pt x="2110" y="2819"/>
                  </a:lnTo>
                  <a:lnTo>
                    <a:pt x="2128" y="2810"/>
                  </a:lnTo>
                  <a:lnTo>
                    <a:pt x="2184" y="2734"/>
                  </a:lnTo>
                  <a:lnTo>
                    <a:pt x="2205" y="2722"/>
                  </a:lnTo>
                  <a:lnTo>
                    <a:pt x="2233" y="2720"/>
                  </a:lnTo>
                  <a:lnTo>
                    <a:pt x="2256" y="2726"/>
                  </a:lnTo>
                  <a:lnTo>
                    <a:pt x="2290" y="2745"/>
                  </a:lnTo>
                  <a:lnTo>
                    <a:pt x="2307" y="2759"/>
                  </a:lnTo>
                  <a:lnTo>
                    <a:pt x="2324" y="2780"/>
                  </a:lnTo>
                  <a:lnTo>
                    <a:pt x="2386" y="2909"/>
                  </a:lnTo>
                  <a:lnTo>
                    <a:pt x="2423" y="2967"/>
                  </a:lnTo>
                  <a:lnTo>
                    <a:pt x="2453" y="3001"/>
                  </a:lnTo>
                  <a:lnTo>
                    <a:pt x="2463" y="3015"/>
                  </a:lnTo>
                  <a:lnTo>
                    <a:pt x="2467" y="3041"/>
                  </a:lnTo>
                  <a:lnTo>
                    <a:pt x="2482" y="3094"/>
                  </a:lnTo>
                  <a:lnTo>
                    <a:pt x="2498" y="3128"/>
                  </a:lnTo>
                  <a:lnTo>
                    <a:pt x="2514" y="3148"/>
                  </a:lnTo>
                  <a:lnTo>
                    <a:pt x="2553" y="3166"/>
                  </a:lnTo>
                  <a:lnTo>
                    <a:pt x="2600" y="3198"/>
                  </a:lnTo>
                  <a:lnTo>
                    <a:pt x="2612" y="3203"/>
                  </a:lnTo>
                  <a:lnTo>
                    <a:pt x="2629" y="3196"/>
                  </a:lnTo>
                  <a:lnTo>
                    <a:pt x="2642" y="3196"/>
                  </a:lnTo>
                  <a:lnTo>
                    <a:pt x="2678" y="3217"/>
                  </a:lnTo>
                  <a:lnTo>
                    <a:pt x="2695" y="3224"/>
                  </a:lnTo>
                  <a:lnTo>
                    <a:pt x="2663" y="3128"/>
                  </a:lnTo>
                  <a:lnTo>
                    <a:pt x="2658" y="3092"/>
                  </a:lnTo>
                  <a:lnTo>
                    <a:pt x="2658" y="3045"/>
                  </a:lnTo>
                  <a:lnTo>
                    <a:pt x="2663" y="3027"/>
                  </a:lnTo>
                  <a:lnTo>
                    <a:pt x="2692" y="2988"/>
                  </a:lnTo>
                  <a:lnTo>
                    <a:pt x="2688" y="2980"/>
                  </a:lnTo>
                  <a:lnTo>
                    <a:pt x="2663" y="2958"/>
                  </a:lnTo>
                  <a:lnTo>
                    <a:pt x="2675" y="2950"/>
                  </a:lnTo>
                  <a:lnTo>
                    <a:pt x="2708" y="2934"/>
                  </a:lnTo>
                  <a:lnTo>
                    <a:pt x="2736" y="2928"/>
                  </a:lnTo>
                  <a:lnTo>
                    <a:pt x="2751" y="2916"/>
                  </a:lnTo>
                  <a:lnTo>
                    <a:pt x="2761" y="2893"/>
                  </a:lnTo>
                  <a:lnTo>
                    <a:pt x="2741" y="2868"/>
                  </a:lnTo>
                  <a:lnTo>
                    <a:pt x="2747" y="2858"/>
                  </a:lnTo>
                  <a:lnTo>
                    <a:pt x="2778" y="2865"/>
                  </a:lnTo>
                  <a:lnTo>
                    <a:pt x="2797" y="2867"/>
                  </a:lnTo>
                  <a:lnTo>
                    <a:pt x="2817" y="2865"/>
                  </a:lnTo>
                  <a:lnTo>
                    <a:pt x="2856" y="2847"/>
                  </a:lnTo>
                  <a:lnTo>
                    <a:pt x="2930" y="2777"/>
                  </a:lnTo>
                  <a:lnTo>
                    <a:pt x="2909" y="2734"/>
                  </a:lnTo>
                  <a:lnTo>
                    <a:pt x="2916" y="2724"/>
                  </a:lnTo>
                  <a:lnTo>
                    <a:pt x="2929" y="2722"/>
                  </a:lnTo>
                  <a:lnTo>
                    <a:pt x="2935" y="2750"/>
                  </a:lnTo>
                  <a:lnTo>
                    <a:pt x="2972" y="2752"/>
                  </a:lnTo>
                  <a:lnTo>
                    <a:pt x="2999" y="2733"/>
                  </a:lnTo>
                  <a:lnTo>
                    <a:pt x="3068" y="2724"/>
                  </a:lnTo>
                  <a:lnTo>
                    <a:pt x="3146" y="2747"/>
                  </a:lnTo>
                  <a:lnTo>
                    <a:pt x="3198" y="2752"/>
                  </a:lnTo>
                  <a:lnTo>
                    <a:pt x="3211" y="2741"/>
                  </a:lnTo>
                  <a:lnTo>
                    <a:pt x="3186" y="2719"/>
                  </a:lnTo>
                  <a:lnTo>
                    <a:pt x="3215" y="2715"/>
                  </a:lnTo>
                  <a:lnTo>
                    <a:pt x="3265" y="2752"/>
                  </a:lnTo>
                  <a:lnTo>
                    <a:pt x="3284" y="2780"/>
                  </a:lnTo>
                  <a:lnTo>
                    <a:pt x="3329" y="2807"/>
                  </a:lnTo>
                  <a:lnTo>
                    <a:pt x="3342" y="2791"/>
                  </a:lnTo>
                  <a:lnTo>
                    <a:pt x="3363" y="2780"/>
                  </a:lnTo>
                  <a:lnTo>
                    <a:pt x="3382" y="2807"/>
                  </a:lnTo>
                  <a:lnTo>
                    <a:pt x="3386" y="2803"/>
                  </a:lnTo>
                  <a:lnTo>
                    <a:pt x="3398" y="2793"/>
                  </a:lnTo>
                  <a:lnTo>
                    <a:pt x="3377" y="2773"/>
                  </a:lnTo>
                  <a:lnTo>
                    <a:pt x="3386" y="2756"/>
                  </a:lnTo>
                  <a:lnTo>
                    <a:pt x="3387" y="2754"/>
                  </a:lnTo>
                  <a:lnTo>
                    <a:pt x="3399" y="2757"/>
                  </a:lnTo>
                  <a:lnTo>
                    <a:pt x="3407" y="2770"/>
                  </a:lnTo>
                  <a:lnTo>
                    <a:pt x="3443" y="2786"/>
                  </a:lnTo>
                  <a:lnTo>
                    <a:pt x="3455" y="2808"/>
                  </a:lnTo>
                  <a:lnTo>
                    <a:pt x="3477" y="2814"/>
                  </a:lnTo>
                  <a:lnTo>
                    <a:pt x="3501" y="2807"/>
                  </a:lnTo>
                  <a:lnTo>
                    <a:pt x="3476" y="2775"/>
                  </a:lnTo>
                  <a:lnTo>
                    <a:pt x="3449" y="2766"/>
                  </a:lnTo>
                  <a:lnTo>
                    <a:pt x="3437" y="2747"/>
                  </a:lnTo>
                  <a:lnTo>
                    <a:pt x="3436" y="2731"/>
                  </a:lnTo>
                  <a:lnTo>
                    <a:pt x="3467" y="2710"/>
                  </a:lnTo>
                  <a:lnTo>
                    <a:pt x="3437" y="2681"/>
                  </a:lnTo>
                  <a:lnTo>
                    <a:pt x="3419" y="2676"/>
                  </a:lnTo>
                  <a:lnTo>
                    <a:pt x="3395" y="2689"/>
                  </a:lnTo>
                  <a:lnTo>
                    <a:pt x="3371" y="2689"/>
                  </a:lnTo>
                  <a:lnTo>
                    <a:pt x="3363" y="2676"/>
                  </a:lnTo>
                  <a:lnTo>
                    <a:pt x="3379" y="2644"/>
                  </a:lnTo>
                  <a:lnTo>
                    <a:pt x="3390" y="2644"/>
                  </a:lnTo>
                  <a:lnTo>
                    <a:pt x="3435" y="2671"/>
                  </a:lnTo>
                  <a:lnTo>
                    <a:pt x="3451" y="2667"/>
                  </a:lnTo>
                  <a:lnTo>
                    <a:pt x="3480" y="2643"/>
                  </a:lnTo>
                  <a:lnTo>
                    <a:pt x="3567" y="2644"/>
                  </a:lnTo>
                  <a:lnTo>
                    <a:pt x="3588" y="2651"/>
                  </a:lnTo>
                  <a:lnTo>
                    <a:pt x="3599" y="2607"/>
                  </a:lnTo>
                  <a:lnTo>
                    <a:pt x="3624" y="2660"/>
                  </a:lnTo>
                  <a:lnTo>
                    <a:pt x="3631" y="2660"/>
                  </a:lnTo>
                  <a:lnTo>
                    <a:pt x="3660" y="2655"/>
                  </a:lnTo>
                  <a:lnTo>
                    <a:pt x="3663" y="2637"/>
                  </a:lnTo>
                  <a:lnTo>
                    <a:pt x="3690" y="2648"/>
                  </a:lnTo>
                  <a:lnTo>
                    <a:pt x="3738" y="2641"/>
                  </a:lnTo>
                  <a:lnTo>
                    <a:pt x="3760" y="2634"/>
                  </a:lnTo>
                  <a:lnTo>
                    <a:pt x="3770" y="2646"/>
                  </a:lnTo>
                  <a:lnTo>
                    <a:pt x="3791" y="2664"/>
                  </a:lnTo>
                  <a:lnTo>
                    <a:pt x="3825" y="2667"/>
                  </a:lnTo>
                  <a:lnTo>
                    <a:pt x="3837" y="2674"/>
                  </a:lnTo>
                  <a:lnTo>
                    <a:pt x="3848" y="2689"/>
                  </a:lnTo>
                  <a:lnTo>
                    <a:pt x="3853" y="2724"/>
                  </a:lnTo>
                  <a:lnTo>
                    <a:pt x="3865" y="2736"/>
                  </a:lnTo>
                  <a:lnTo>
                    <a:pt x="3919" y="2720"/>
                  </a:lnTo>
                  <a:lnTo>
                    <a:pt x="3939" y="2699"/>
                  </a:lnTo>
                  <a:lnTo>
                    <a:pt x="3963" y="2681"/>
                  </a:lnTo>
                  <a:lnTo>
                    <a:pt x="3981" y="2678"/>
                  </a:lnTo>
                  <a:lnTo>
                    <a:pt x="4005" y="2687"/>
                  </a:lnTo>
                  <a:lnTo>
                    <a:pt x="4081" y="2791"/>
                  </a:lnTo>
                  <a:lnTo>
                    <a:pt x="4103" y="2798"/>
                  </a:lnTo>
                  <a:lnTo>
                    <a:pt x="4113" y="2807"/>
                  </a:lnTo>
                  <a:lnTo>
                    <a:pt x="4127" y="2833"/>
                  </a:lnTo>
                  <a:lnTo>
                    <a:pt x="4107" y="2969"/>
                  </a:lnTo>
                  <a:lnTo>
                    <a:pt x="4119" y="2980"/>
                  </a:lnTo>
                  <a:lnTo>
                    <a:pt x="4140" y="2957"/>
                  </a:lnTo>
                  <a:lnTo>
                    <a:pt x="4147" y="2969"/>
                  </a:lnTo>
                  <a:lnTo>
                    <a:pt x="4146" y="2983"/>
                  </a:lnTo>
                  <a:lnTo>
                    <a:pt x="4130" y="3008"/>
                  </a:lnTo>
                  <a:lnTo>
                    <a:pt x="4116" y="3008"/>
                  </a:lnTo>
                  <a:lnTo>
                    <a:pt x="4132" y="3034"/>
                  </a:lnTo>
                  <a:lnTo>
                    <a:pt x="4159" y="3096"/>
                  </a:lnTo>
                  <a:lnTo>
                    <a:pt x="4176" y="3091"/>
                  </a:lnTo>
                  <a:lnTo>
                    <a:pt x="4183" y="3130"/>
                  </a:lnTo>
                  <a:lnTo>
                    <a:pt x="4201" y="3144"/>
                  </a:lnTo>
                  <a:lnTo>
                    <a:pt x="4207" y="3190"/>
                  </a:lnTo>
                  <a:lnTo>
                    <a:pt x="4216" y="3210"/>
                  </a:lnTo>
                  <a:lnTo>
                    <a:pt x="4248" y="3217"/>
                  </a:lnTo>
                  <a:lnTo>
                    <a:pt x="4273" y="3277"/>
                  </a:lnTo>
                  <a:lnTo>
                    <a:pt x="4273" y="3291"/>
                  </a:lnTo>
                  <a:lnTo>
                    <a:pt x="4279" y="3309"/>
                  </a:lnTo>
                  <a:lnTo>
                    <a:pt x="4302" y="3302"/>
                  </a:lnTo>
                  <a:lnTo>
                    <a:pt x="4314" y="3309"/>
                  </a:lnTo>
                  <a:lnTo>
                    <a:pt x="4331" y="3300"/>
                  </a:lnTo>
                  <a:lnTo>
                    <a:pt x="4342" y="3298"/>
                  </a:lnTo>
                  <a:lnTo>
                    <a:pt x="4343" y="3307"/>
                  </a:lnTo>
                  <a:lnTo>
                    <a:pt x="4337" y="3319"/>
                  </a:lnTo>
                  <a:lnTo>
                    <a:pt x="4339" y="3325"/>
                  </a:lnTo>
                  <a:lnTo>
                    <a:pt x="4355" y="3295"/>
                  </a:lnTo>
                  <a:lnTo>
                    <a:pt x="4356" y="3280"/>
                  </a:lnTo>
                  <a:lnTo>
                    <a:pt x="4352" y="3256"/>
                  </a:lnTo>
                  <a:lnTo>
                    <a:pt x="4365" y="3233"/>
                  </a:lnTo>
                  <a:lnTo>
                    <a:pt x="4381" y="3130"/>
                  </a:lnTo>
                  <a:lnTo>
                    <a:pt x="4379" y="3084"/>
                  </a:lnTo>
                  <a:lnTo>
                    <a:pt x="4372" y="3064"/>
                  </a:lnTo>
                  <a:lnTo>
                    <a:pt x="4360" y="3048"/>
                  </a:lnTo>
                  <a:lnTo>
                    <a:pt x="4364" y="3043"/>
                  </a:lnTo>
                  <a:lnTo>
                    <a:pt x="4343" y="2976"/>
                  </a:lnTo>
                  <a:lnTo>
                    <a:pt x="4327" y="2877"/>
                  </a:lnTo>
                  <a:lnTo>
                    <a:pt x="4248" y="2685"/>
                  </a:lnTo>
                  <a:lnTo>
                    <a:pt x="4238" y="2600"/>
                  </a:lnTo>
                  <a:lnTo>
                    <a:pt x="4270" y="2484"/>
                  </a:lnTo>
                  <a:lnTo>
                    <a:pt x="4306" y="2416"/>
                  </a:lnTo>
                  <a:lnTo>
                    <a:pt x="4314" y="2405"/>
                  </a:lnTo>
                  <a:lnTo>
                    <a:pt x="4330" y="2372"/>
                  </a:lnTo>
                  <a:lnTo>
                    <a:pt x="4364" y="2367"/>
                  </a:lnTo>
                  <a:lnTo>
                    <a:pt x="4414" y="2333"/>
                  </a:lnTo>
                  <a:lnTo>
                    <a:pt x="4450" y="2292"/>
                  </a:lnTo>
                  <a:lnTo>
                    <a:pt x="4454" y="2271"/>
                  </a:lnTo>
                  <a:lnTo>
                    <a:pt x="4465" y="2247"/>
                  </a:lnTo>
                  <a:lnTo>
                    <a:pt x="4494" y="2215"/>
                  </a:lnTo>
                  <a:lnTo>
                    <a:pt x="4544" y="2192"/>
                  </a:lnTo>
                  <a:lnTo>
                    <a:pt x="4586" y="2185"/>
                  </a:lnTo>
                  <a:lnTo>
                    <a:pt x="4651" y="2088"/>
                  </a:lnTo>
                  <a:lnTo>
                    <a:pt x="4718" y="2075"/>
                  </a:lnTo>
                  <a:lnTo>
                    <a:pt x="4728" y="2070"/>
                  </a:lnTo>
                  <a:lnTo>
                    <a:pt x="4729" y="2065"/>
                  </a:lnTo>
                  <a:lnTo>
                    <a:pt x="4748" y="2045"/>
                  </a:lnTo>
                  <a:lnTo>
                    <a:pt x="4746" y="2042"/>
                  </a:lnTo>
                  <a:lnTo>
                    <a:pt x="4737" y="2038"/>
                  </a:lnTo>
                  <a:lnTo>
                    <a:pt x="4735" y="2030"/>
                  </a:lnTo>
                  <a:lnTo>
                    <a:pt x="4729" y="2040"/>
                  </a:lnTo>
                  <a:lnTo>
                    <a:pt x="4716" y="2038"/>
                  </a:lnTo>
                  <a:lnTo>
                    <a:pt x="4703" y="2049"/>
                  </a:lnTo>
                  <a:lnTo>
                    <a:pt x="4686" y="2040"/>
                  </a:lnTo>
                  <a:lnTo>
                    <a:pt x="4674" y="2016"/>
                  </a:lnTo>
                  <a:lnTo>
                    <a:pt x="4696" y="2038"/>
                  </a:lnTo>
                  <a:lnTo>
                    <a:pt x="4702" y="2038"/>
                  </a:lnTo>
                  <a:lnTo>
                    <a:pt x="4715" y="2030"/>
                  </a:lnTo>
                  <a:lnTo>
                    <a:pt x="4723" y="2016"/>
                  </a:lnTo>
                  <a:lnTo>
                    <a:pt x="4712" y="2016"/>
                  </a:lnTo>
                  <a:lnTo>
                    <a:pt x="4729" y="2007"/>
                  </a:lnTo>
                  <a:lnTo>
                    <a:pt x="4732" y="2000"/>
                  </a:lnTo>
                  <a:lnTo>
                    <a:pt x="4695" y="1978"/>
                  </a:lnTo>
                  <a:lnTo>
                    <a:pt x="4683" y="1978"/>
                  </a:lnTo>
                  <a:lnTo>
                    <a:pt x="4675" y="1966"/>
                  </a:lnTo>
                  <a:lnTo>
                    <a:pt x="4718" y="1984"/>
                  </a:lnTo>
                  <a:lnTo>
                    <a:pt x="4721" y="1982"/>
                  </a:lnTo>
                  <a:lnTo>
                    <a:pt x="4715" y="1968"/>
                  </a:lnTo>
                  <a:lnTo>
                    <a:pt x="4723" y="1968"/>
                  </a:lnTo>
                  <a:lnTo>
                    <a:pt x="4728" y="1982"/>
                  </a:lnTo>
                  <a:lnTo>
                    <a:pt x="4735" y="1986"/>
                  </a:lnTo>
                  <a:lnTo>
                    <a:pt x="4743" y="1989"/>
                  </a:lnTo>
                  <a:lnTo>
                    <a:pt x="4764" y="1993"/>
                  </a:lnTo>
                  <a:lnTo>
                    <a:pt x="4776" y="1980"/>
                  </a:lnTo>
                  <a:lnTo>
                    <a:pt x="4789" y="1952"/>
                  </a:lnTo>
                  <a:lnTo>
                    <a:pt x="4792" y="1959"/>
                  </a:lnTo>
                  <a:lnTo>
                    <a:pt x="4800" y="1959"/>
                  </a:lnTo>
                  <a:lnTo>
                    <a:pt x="4807" y="1945"/>
                  </a:lnTo>
                  <a:lnTo>
                    <a:pt x="4805" y="1927"/>
                  </a:lnTo>
                  <a:lnTo>
                    <a:pt x="4794" y="1908"/>
                  </a:lnTo>
                  <a:lnTo>
                    <a:pt x="4785" y="1915"/>
                  </a:lnTo>
                  <a:lnTo>
                    <a:pt x="4776" y="1952"/>
                  </a:lnTo>
                  <a:lnTo>
                    <a:pt x="4768" y="1948"/>
                  </a:lnTo>
                  <a:lnTo>
                    <a:pt x="4773" y="1926"/>
                  </a:lnTo>
                  <a:lnTo>
                    <a:pt x="4777" y="1915"/>
                  </a:lnTo>
                  <a:lnTo>
                    <a:pt x="4772" y="1904"/>
                  </a:lnTo>
                  <a:lnTo>
                    <a:pt x="4746" y="1913"/>
                  </a:lnTo>
                  <a:lnTo>
                    <a:pt x="4708" y="1911"/>
                  </a:lnTo>
                  <a:lnTo>
                    <a:pt x="4712" y="1903"/>
                  </a:lnTo>
                  <a:lnTo>
                    <a:pt x="4706" y="1890"/>
                  </a:lnTo>
                  <a:lnTo>
                    <a:pt x="4704" y="1876"/>
                  </a:lnTo>
                  <a:lnTo>
                    <a:pt x="4709" y="1864"/>
                  </a:lnTo>
                  <a:lnTo>
                    <a:pt x="4712" y="1867"/>
                  </a:lnTo>
                  <a:lnTo>
                    <a:pt x="4709" y="1876"/>
                  </a:lnTo>
                  <a:lnTo>
                    <a:pt x="4709" y="1890"/>
                  </a:lnTo>
                  <a:lnTo>
                    <a:pt x="4721" y="1903"/>
                  </a:lnTo>
                  <a:lnTo>
                    <a:pt x="4728" y="1903"/>
                  </a:lnTo>
                  <a:lnTo>
                    <a:pt x="4745" y="1890"/>
                  </a:lnTo>
                  <a:lnTo>
                    <a:pt x="4735" y="1878"/>
                  </a:lnTo>
                  <a:lnTo>
                    <a:pt x="4758" y="1890"/>
                  </a:lnTo>
                  <a:lnTo>
                    <a:pt x="4770" y="1883"/>
                  </a:lnTo>
                  <a:lnTo>
                    <a:pt x="4758" y="1866"/>
                  </a:lnTo>
                  <a:lnTo>
                    <a:pt x="4760" y="1862"/>
                  </a:lnTo>
                  <a:lnTo>
                    <a:pt x="4784" y="1880"/>
                  </a:lnTo>
                  <a:lnTo>
                    <a:pt x="4784" y="1867"/>
                  </a:lnTo>
                  <a:lnTo>
                    <a:pt x="4792" y="1890"/>
                  </a:lnTo>
                  <a:lnTo>
                    <a:pt x="4798" y="1892"/>
                  </a:lnTo>
                  <a:lnTo>
                    <a:pt x="4789" y="1859"/>
                  </a:lnTo>
                  <a:lnTo>
                    <a:pt x="4782" y="1851"/>
                  </a:lnTo>
                  <a:lnTo>
                    <a:pt x="4774" y="1836"/>
                  </a:lnTo>
                  <a:lnTo>
                    <a:pt x="4788" y="1839"/>
                  </a:lnTo>
                  <a:lnTo>
                    <a:pt x="4786" y="1827"/>
                  </a:lnTo>
                  <a:lnTo>
                    <a:pt x="4780" y="1827"/>
                  </a:lnTo>
                  <a:lnTo>
                    <a:pt x="4784" y="1809"/>
                  </a:lnTo>
                  <a:lnTo>
                    <a:pt x="4789" y="1825"/>
                  </a:lnTo>
                  <a:lnTo>
                    <a:pt x="4807" y="1903"/>
                  </a:lnTo>
                  <a:lnTo>
                    <a:pt x="4819" y="1924"/>
                  </a:lnTo>
                  <a:lnTo>
                    <a:pt x="4825" y="1929"/>
                  </a:lnTo>
                  <a:lnTo>
                    <a:pt x="4805" y="1881"/>
                  </a:lnTo>
                  <a:lnTo>
                    <a:pt x="4780" y="1786"/>
                  </a:lnTo>
                  <a:lnTo>
                    <a:pt x="4748" y="1779"/>
                  </a:lnTo>
                  <a:lnTo>
                    <a:pt x="4746" y="1786"/>
                  </a:lnTo>
                  <a:lnTo>
                    <a:pt x="4727" y="1788"/>
                  </a:lnTo>
                  <a:lnTo>
                    <a:pt x="4728" y="1774"/>
                  </a:lnTo>
                  <a:lnTo>
                    <a:pt x="4708" y="1751"/>
                  </a:lnTo>
                  <a:lnTo>
                    <a:pt x="4688" y="1742"/>
                  </a:lnTo>
                  <a:lnTo>
                    <a:pt x="4686" y="1739"/>
                  </a:lnTo>
                  <a:lnTo>
                    <a:pt x="4695" y="1729"/>
                  </a:lnTo>
                  <a:lnTo>
                    <a:pt x="4715" y="1740"/>
                  </a:lnTo>
                  <a:lnTo>
                    <a:pt x="4737" y="1774"/>
                  </a:lnTo>
                  <a:lnTo>
                    <a:pt x="4751" y="1770"/>
                  </a:lnTo>
                  <a:lnTo>
                    <a:pt x="4749" y="1751"/>
                  </a:lnTo>
                  <a:lnTo>
                    <a:pt x="4741" y="1739"/>
                  </a:lnTo>
                  <a:lnTo>
                    <a:pt x="4733" y="1740"/>
                  </a:lnTo>
                  <a:lnTo>
                    <a:pt x="4720" y="1729"/>
                  </a:lnTo>
                  <a:lnTo>
                    <a:pt x="4702" y="1701"/>
                  </a:lnTo>
                  <a:lnTo>
                    <a:pt x="4702" y="1699"/>
                  </a:lnTo>
                  <a:lnTo>
                    <a:pt x="4732" y="1732"/>
                  </a:lnTo>
                  <a:lnTo>
                    <a:pt x="4740" y="1732"/>
                  </a:lnTo>
                  <a:lnTo>
                    <a:pt x="4736" y="1718"/>
                  </a:lnTo>
                  <a:lnTo>
                    <a:pt x="4739" y="1715"/>
                  </a:lnTo>
                  <a:lnTo>
                    <a:pt x="4753" y="1725"/>
                  </a:lnTo>
                  <a:lnTo>
                    <a:pt x="4755" y="1711"/>
                  </a:lnTo>
                  <a:lnTo>
                    <a:pt x="4752" y="1708"/>
                  </a:lnTo>
                  <a:lnTo>
                    <a:pt x="4753" y="1702"/>
                  </a:lnTo>
                  <a:lnTo>
                    <a:pt x="4740" y="1697"/>
                  </a:lnTo>
                  <a:lnTo>
                    <a:pt x="4751" y="1692"/>
                  </a:lnTo>
                  <a:lnTo>
                    <a:pt x="4723" y="1681"/>
                  </a:lnTo>
                  <a:lnTo>
                    <a:pt x="4691" y="1632"/>
                  </a:lnTo>
                  <a:lnTo>
                    <a:pt x="4737" y="1681"/>
                  </a:lnTo>
                  <a:lnTo>
                    <a:pt x="4748" y="1678"/>
                  </a:lnTo>
                  <a:lnTo>
                    <a:pt x="4757" y="1649"/>
                  </a:lnTo>
                  <a:lnTo>
                    <a:pt x="4751" y="1641"/>
                  </a:lnTo>
                  <a:lnTo>
                    <a:pt x="4725" y="1632"/>
                  </a:lnTo>
                  <a:lnTo>
                    <a:pt x="4728" y="1625"/>
                  </a:lnTo>
                  <a:lnTo>
                    <a:pt x="4686" y="1607"/>
                  </a:lnTo>
                  <a:lnTo>
                    <a:pt x="4676" y="1593"/>
                  </a:lnTo>
                  <a:lnTo>
                    <a:pt x="4658" y="1589"/>
                  </a:lnTo>
                  <a:lnTo>
                    <a:pt x="4649" y="1575"/>
                  </a:lnTo>
                  <a:lnTo>
                    <a:pt x="4655" y="1547"/>
                  </a:lnTo>
                  <a:lnTo>
                    <a:pt x="4675" y="1542"/>
                  </a:lnTo>
                  <a:lnTo>
                    <a:pt x="4655" y="1561"/>
                  </a:lnTo>
                  <a:lnTo>
                    <a:pt x="4655" y="1579"/>
                  </a:lnTo>
                  <a:lnTo>
                    <a:pt x="4671" y="1577"/>
                  </a:lnTo>
                  <a:lnTo>
                    <a:pt x="4695" y="1596"/>
                  </a:lnTo>
                  <a:lnTo>
                    <a:pt x="4691" y="1581"/>
                  </a:lnTo>
                  <a:lnTo>
                    <a:pt x="4697" y="1584"/>
                  </a:lnTo>
                  <a:lnTo>
                    <a:pt x="4703" y="1602"/>
                  </a:lnTo>
                  <a:lnTo>
                    <a:pt x="4720" y="1602"/>
                  </a:lnTo>
                  <a:lnTo>
                    <a:pt x="4746" y="1626"/>
                  </a:lnTo>
                  <a:lnTo>
                    <a:pt x="4740" y="1596"/>
                  </a:lnTo>
                  <a:lnTo>
                    <a:pt x="4723" y="1581"/>
                  </a:lnTo>
                  <a:lnTo>
                    <a:pt x="4715" y="1568"/>
                  </a:lnTo>
                  <a:lnTo>
                    <a:pt x="4713" y="1556"/>
                  </a:lnTo>
                  <a:lnTo>
                    <a:pt x="4718" y="1568"/>
                  </a:lnTo>
                  <a:lnTo>
                    <a:pt x="4739" y="1588"/>
                  </a:lnTo>
                  <a:lnTo>
                    <a:pt x="4740" y="1579"/>
                  </a:lnTo>
                  <a:lnTo>
                    <a:pt x="4728" y="1549"/>
                  </a:lnTo>
                  <a:lnTo>
                    <a:pt x="4725" y="1535"/>
                  </a:lnTo>
                  <a:lnTo>
                    <a:pt x="4739" y="1494"/>
                  </a:lnTo>
                  <a:lnTo>
                    <a:pt x="4721" y="1462"/>
                  </a:lnTo>
                  <a:lnTo>
                    <a:pt x="4740" y="1468"/>
                  </a:lnTo>
                  <a:lnTo>
                    <a:pt x="4745" y="1443"/>
                  </a:lnTo>
                  <a:lnTo>
                    <a:pt x="4749" y="1447"/>
                  </a:lnTo>
                  <a:lnTo>
                    <a:pt x="4752" y="1457"/>
                  </a:lnTo>
                  <a:lnTo>
                    <a:pt x="4755" y="1452"/>
                  </a:lnTo>
                  <a:lnTo>
                    <a:pt x="4753" y="1438"/>
                  </a:lnTo>
                  <a:lnTo>
                    <a:pt x="4757" y="1434"/>
                  </a:lnTo>
                  <a:lnTo>
                    <a:pt x="4758" y="1448"/>
                  </a:lnTo>
                  <a:lnTo>
                    <a:pt x="4773" y="1436"/>
                  </a:lnTo>
                  <a:lnTo>
                    <a:pt x="4767" y="1431"/>
                  </a:lnTo>
                  <a:lnTo>
                    <a:pt x="4772" y="1424"/>
                  </a:lnTo>
                  <a:lnTo>
                    <a:pt x="4785" y="1417"/>
                  </a:lnTo>
                  <a:lnTo>
                    <a:pt x="4777" y="1443"/>
                  </a:lnTo>
                  <a:lnTo>
                    <a:pt x="4792" y="1447"/>
                  </a:lnTo>
                  <a:lnTo>
                    <a:pt x="4764" y="1455"/>
                  </a:lnTo>
                  <a:lnTo>
                    <a:pt x="4753" y="1478"/>
                  </a:lnTo>
                  <a:lnTo>
                    <a:pt x="4760" y="1482"/>
                  </a:lnTo>
                  <a:lnTo>
                    <a:pt x="4773" y="1478"/>
                  </a:lnTo>
                  <a:lnTo>
                    <a:pt x="4764" y="1496"/>
                  </a:lnTo>
                  <a:lnTo>
                    <a:pt x="4749" y="1496"/>
                  </a:lnTo>
                  <a:lnTo>
                    <a:pt x="4745" y="1503"/>
                  </a:lnTo>
                  <a:lnTo>
                    <a:pt x="4748" y="1508"/>
                  </a:lnTo>
                  <a:lnTo>
                    <a:pt x="4762" y="1514"/>
                  </a:lnTo>
                  <a:lnTo>
                    <a:pt x="4767" y="1528"/>
                  </a:lnTo>
                  <a:lnTo>
                    <a:pt x="4761" y="1531"/>
                  </a:lnTo>
                  <a:lnTo>
                    <a:pt x="4752" y="1521"/>
                  </a:lnTo>
                  <a:lnTo>
                    <a:pt x="4749" y="1522"/>
                  </a:lnTo>
                  <a:lnTo>
                    <a:pt x="4743" y="1542"/>
                  </a:lnTo>
                  <a:lnTo>
                    <a:pt x="4746" y="1542"/>
                  </a:lnTo>
                  <a:lnTo>
                    <a:pt x="4751" y="1531"/>
                  </a:lnTo>
                  <a:lnTo>
                    <a:pt x="4777" y="1551"/>
                  </a:lnTo>
                  <a:lnTo>
                    <a:pt x="4777" y="1554"/>
                  </a:lnTo>
                  <a:lnTo>
                    <a:pt x="4762" y="1558"/>
                  </a:lnTo>
                  <a:lnTo>
                    <a:pt x="4746" y="1568"/>
                  </a:lnTo>
                  <a:lnTo>
                    <a:pt x="4757" y="1593"/>
                  </a:lnTo>
                  <a:lnTo>
                    <a:pt x="4764" y="1589"/>
                  </a:lnTo>
                  <a:lnTo>
                    <a:pt x="4774" y="1602"/>
                  </a:lnTo>
                  <a:lnTo>
                    <a:pt x="4794" y="1584"/>
                  </a:lnTo>
                  <a:lnTo>
                    <a:pt x="4797" y="1604"/>
                  </a:lnTo>
                  <a:lnTo>
                    <a:pt x="4786" y="1607"/>
                  </a:lnTo>
                  <a:lnTo>
                    <a:pt x="4786" y="1618"/>
                  </a:lnTo>
                  <a:lnTo>
                    <a:pt x="4794" y="1623"/>
                  </a:lnTo>
                  <a:lnTo>
                    <a:pt x="4802" y="1621"/>
                  </a:lnTo>
                  <a:lnTo>
                    <a:pt x="4794" y="1644"/>
                  </a:lnTo>
                  <a:lnTo>
                    <a:pt x="4810" y="1637"/>
                  </a:lnTo>
                  <a:lnTo>
                    <a:pt x="4814" y="1641"/>
                  </a:lnTo>
                  <a:lnTo>
                    <a:pt x="4811" y="1655"/>
                  </a:lnTo>
                  <a:lnTo>
                    <a:pt x="4800" y="1662"/>
                  </a:lnTo>
                  <a:lnTo>
                    <a:pt x="4792" y="1679"/>
                  </a:lnTo>
                  <a:lnTo>
                    <a:pt x="4776" y="1732"/>
                  </a:lnTo>
                  <a:lnTo>
                    <a:pt x="4782" y="1749"/>
                  </a:lnTo>
                  <a:lnTo>
                    <a:pt x="4792" y="1747"/>
                  </a:lnTo>
                  <a:lnTo>
                    <a:pt x="4790" y="1739"/>
                  </a:lnTo>
                  <a:lnTo>
                    <a:pt x="4809" y="1695"/>
                  </a:lnTo>
                  <a:lnTo>
                    <a:pt x="4813" y="1702"/>
                  </a:lnTo>
                  <a:lnTo>
                    <a:pt x="4819" y="1693"/>
                  </a:lnTo>
                  <a:lnTo>
                    <a:pt x="4817" y="1692"/>
                  </a:lnTo>
                  <a:lnTo>
                    <a:pt x="4834" y="1642"/>
                  </a:lnTo>
                  <a:lnTo>
                    <a:pt x="4856" y="1602"/>
                  </a:lnTo>
                  <a:lnTo>
                    <a:pt x="4862" y="1604"/>
                  </a:lnTo>
                  <a:lnTo>
                    <a:pt x="4868" y="1589"/>
                  </a:lnTo>
                  <a:lnTo>
                    <a:pt x="4872" y="1574"/>
                  </a:lnTo>
                  <a:lnTo>
                    <a:pt x="4868" y="1528"/>
                  </a:lnTo>
                  <a:lnTo>
                    <a:pt x="4856" y="1522"/>
                  </a:lnTo>
                  <a:lnTo>
                    <a:pt x="4838" y="1487"/>
                  </a:lnTo>
                  <a:lnTo>
                    <a:pt x="4837" y="1466"/>
                  </a:lnTo>
                  <a:lnTo>
                    <a:pt x="4815" y="1413"/>
                  </a:lnTo>
                  <a:lnTo>
                    <a:pt x="4831" y="1390"/>
                  </a:lnTo>
                  <a:lnTo>
                    <a:pt x="4842" y="1383"/>
                  </a:lnTo>
                  <a:lnTo>
                    <a:pt x="4837" y="1399"/>
                  </a:lnTo>
                  <a:lnTo>
                    <a:pt x="4823" y="1415"/>
                  </a:lnTo>
                  <a:lnTo>
                    <a:pt x="4837" y="1448"/>
                  </a:lnTo>
                  <a:lnTo>
                    <a:pt x="4844" y="1452"/>
                  </a:lnTo>
                  <a:lnTo>
                    <a:pt x="4863" y="1473"/>
                  </a:lnTo>
                  <a:lnTo>
                    <a:pt x="4883" y="1471"/>
                  </a:lnTo>
                  <a:lnTo>
                    <a:pt x="4887" y="1482"/>
                  </a:lnTo>
                  <a:lnTo>
                    <a:pt x="4879" y="1501"/>
                  </a:lnTo>
                  <a:lnTo>
                    <a:pt x="4883" y="1508"/>
                  </a:lnTo>
                  <a:lnTo>
                    <a:pt x="4890" y="1507"/>
                  </a:lnTo>
                  <a:lnTo>
                    <a:pt x="4924" y="1457"/>
                  </a:lnTo>
                  <a:lnTo>
                    <a:pt x="4934" y="1448"/>
                  </a:lnTo>
                  <a:lnTo>
                    <a:pt x="4936" y="1438"/>
                  </a:lnTo>
                  <a:lnTo>
                    <a:pt x="4934" y="1422"/>
                  </a:lnTo>
                  <a:lnTo>
                    <a:pt x="4946" y="1427"/>
                  </a:lnTo>
                  <a:lnTo>
                    <a:pt x="4960" y="1401"/>
                  </a:lnTo>
                  <a:lnTo>
                    <a:pt x="4981" y="1307"/>
                  </a:lnTo>
                  <a:lnTo>
                    <a:pt x="4956" y="1302"/>
                  </a:lnTo>
                  <a:lnTo>
                    <a:pt x="4946" y="1281"/>
                  </a:lnTo>
                  <a:lnTo>
                    <a:pt x="4964" y="1263"/>
                  </a:lnTo>
                  <a:lnTo>
                    <a:pt x="4967" y="1268"/>
                  </a:lnTo>
                  <a:lnTo>
                    <a:pt x="4985" y="1207"/>
                  </a:lnTo>
                  <a:lnTo>
                    <a:pt x="4988" y="1205"/>
                  </a:lnTo>
                  <a:lnTo>
                    <a:pt x="4988" y="1212"/>
                  </a:lnTo>
                  <a:lnTo>
                    <a:pt x="4974" y="1258"/>
                  </a:lnTo>
                  <a:lnTo>
                    <a:pt x="4974" y="1261"/>
                  </a:lnTo>
                  <a:lnTo>
                    <a:pt x="4982" y="1251"/>
                  </a:lnTo>
                  <a:lnTo>
                    <a:pt x="4995" y="1247"/>
                  </a:lnTo>
                  <a:lnTo>
                    <a:pt x="4999" y="1233"/>
                  </a:lnTo>
                  <a:lnTo>
                    <a:pt x="5035" y="1212"/>
                  </a:lnTo>
                  <a:lnTo>
                    <a:pt x="5087" y="1189"/>
                  </a:lnTo>
                  <a:lnTo>
                    <a:pt x="5225" y="1171"/>
                  </a:lnTo>
                  <a:lnTo>
                    <a:pt x="5228" y="1129"/>
                  </a:lnTo>
                  <a:lnTo>
                    <a:pt x="5232" y="1113"/>
                  </a:lnTo>
                  <a:lnTo>
                    <a:pt x="5239" y="1124"/>
                  </a:lnTo>
                  <a:lnTo>
                    <a:pt x="5259" y="1115"/>
                  </a:lnTo>
                  <a:lnTo>
                    <a:pt x="5251" y="1136"/>
                  </a:lnTo>
                  <a:lnTo>
                    <a:pt x="5252" y="1157"/>
                  </a:lnTo>
                  <a:lnTo>
                    <a:pt x="5265" y="1156"/>
                  </a:lnTo>
                  <a:lnTo>
                    <a:pt x="5272" y="1152"/>
                  </a:lnTo>
                  <a:lnTo>
                    <a:pt x="5279" y="1136"/>
                  </a:lnTo>
                  <a:lnTo>
                    <a:pt x="5283" y="1141"/>
                  </a:lnTo>
                  <a:lnTo>
                    <a:pt x="5284" y="1136"/>
                  </a:lnTo>
                  <a:lnTo>
                    <a:pt x="5292" y="1134"/>
                  </a:lnTo>
                  <a:lnTo>
                    <a:pt x="5296" y="1120"/>
                  </a:lnTo>
                  <a:lnTo>
                    <a:pt x="5302" y="1124"/>
                  </a:lnTo>
                  <a:lnTo>
                    <a:pt x="5304" y="1148"/>
                  </a:lnTo>
                  <a:lnTo>
                    <a:pt x="5375" y="1129"/>
                  </a:lnTo>
                  <a:lnTo>
                    <a:pt x="5373" y="1103"/>
                  </a:lnTo>
                  <a:lnTo>
                    <a:pt x="5363" y="1080"/>
                  </a:lnTo>
                  <a:lnTo>
                    <a:pt x="5353" y="1073"/>
                  </a:lnTo>
                  <a:lnTo>
                    <a:pt x="5345" y="1073"/>
                  </a:lnTo>
                  <a:lnTo>
                    <a:pt x="5345" y="1076"/>
                  </a:lnTo>
                  <a:lnTo>
                    <a:pt x="5350" y="1078"/>
                  </a:lnTo>
                  <a:lnTo>
                    <a:pt x="5360" y="1096"/>
                  </a:lnTo>
                  <a:lnTo>
                    <a:pt x="5367" y="1097"/>
                  </a:lnTo>
                  <a:lnTo>
                    <a:pt x="5367" y="1110"/>
                  </a:lnTo>
                  <a:lnTo>
                    <a:pt x="5338" y="1126"/>
                  </a:lnTo>
                  <a:lnTo>
                    <a:pt x="5320" y="1118"/>
                  </a:lnTo>
                  <a:lnTo>
                    <a:pt x="5317" y="1094"/>
                  </a:lnTo>
                  <a:lnTo>
                    <a:pt x="5290" y="1048"/>
                  </a:lnTo>
                  <a:lnTo>
                    <a:pt x="5279" y="1043"/>
                  </a:lnTo>
                  <a:lnTo>
                    <a:pt x="5264" y="1041"/>
                  </a:lnTo>
                  <a:lnTo>
                    <a:pt x="5267" y="1029"/>
                  </a:lnTo>
                  <a:lnTo>
                    <a:pt x="5284" y="1012"/>
                  </a:lnTo>
                  <a:lnTo>
                    <a:pt x="5281" y="1005"/>
                  </a:lnTo>
                  <a:lnTo>
                    <a:pt x="5305" y="999"/>
                  </a:lnTo>
                  <a:lnTo>
                    <a:pt x="5311" y="989"/>
                  </a:lnTo>
                  <a:lnTo>
                    <a:pt x="5304" y="989"/>
                  </a:lnTo>
                  <a:lnTo>
                    <a:pt x="5299" y="994"/>
                  </a:lnTo>
                  <a:lnTo>
                    <a:pt x="5292" y="990"/>
                  </a:lnTo>
                  <a:lnTo>
                    <a:pt x="5289" y="976"/>
                  </a:lnTo>
                  <a:lnTo>
                    <a:pt x="5281" y="968"/>
                  </a:lnTo>
                  <a:lnTo>
                    <a:pt x="5299" y="936"/>
                  </a:lnTo>
                  <a:lnTo>
                    <a:pt x="5314" y="892"/>
                  </a:lnTo>
                  <a:lnTo>
                    <a:pt x="5330" y="885"/>
                  </a:lnTo>
                  <a:lnTo>
                    <a:pt x="5336" y="862"/>
                  </a:lnTo>
                  <a:lnTo>
                    <a:pt x="5348" y="858"/>
                  </a:lnTo>
                  <a:lnTo>
                    <a:pt x="5345" y="835"/>
                  </a:lnTo>
                  <a:lnTo>
                    <a:pt x="5375" y="819"/>
                  </a:lnTo>
                  <a:lnTo>
                    <a:pt x="5370" y="833"/>
                  </a:lnTo>
                  <a:lnTo>
                    <a:pt x="5383" y="842"/>
                  </a:lnTo>
                  <a:lnTo>
                    <a:pt x="5398" y="825"/>
                  </a:lnTo>
                  <a:lnTo>
                    <a:pt x="5391" y="814"/>
                  </a:lnTo>
                  <a:lnTo>
                    <a:pt x="5406" y="796"/>
                  </a:lnTo>
                  <a:lnTo>
                    <a:pt x="5400" y="818"/>
                  </a:lnTo>
                  <a:lnTo>
                    <a:pt x="5415" y="823"/>
                  </a:lnTo>
                  <a:lnTo>
                    <a:pt x="5427" y="795"/>
                  </a:lnTo>
                  <a:lnTo>
                    <a:pt x="5440" y="809"/>
                  </a:lnTo>
                  <a:lnTo>
                    <a:pt x="5455" y="788"/>
                  </a:lnTo>
                  <a:lnTo>
                    <a:pt x="5486" y="717"/>
                  </a:lnTo>
                  <a:lnTo>
                    <a:pt x="5493" y="721"/>
                  </a:lnTo>
                  <a:lnTo>
                    <a:pt x="5484" y="751"/>
                  </a:lnTo>
                  <a:lnTo>
                    <a:pt x="5513" y="765"/>
                  </a:lnTo>
                  <a:lnTo>
                    <a:pt x="5508" y="738"/>
                  </a:lnTo>
                  <a:lnTo>
                    <a:pt x="5517" y="744"/>
                  </a:lnTo>
                  <a:lnTo>
                    <a:pt x="5550" y="726"/>
                  </a:lnTo>
                  <a:lnTo>
                    <a:pt x="5557" y="749"/>
                  </a:lnTo>
                  <a:lnTo>
                    <a:pt x="5565" y="738"/>
                  </a:lnTo>
                  <a:lnTo>
                    <a:pt x="5571" y="738"/>
                  </a:lnTo>
                  <a:lnTo>
                    <a:pt x="5576" y="721"/>
                  </a:lnTo>
                  <a:lnTo>
                    <a:pt x="5588" y="712"/>
                  </a:lnTo>
                  <a:lnTo>
                    <a:pt x="5599" y="717"/>
                  </a:lnTo>
                  <a:lnTo>
                    <a:pt x="5602" y="724"/>
                  </a:lnTo>
                  <a:lnTo>
                    <a:pt x="5607" y="721"/>
                  </a:lnTo>
                  <a:lnTo>
                    <a:pt x="5608" y="703"/>
                  </a:lnTo>
                  <a:lnTo>
                    <a:pt x="5623" y="712"/>
                  </a:lnTo>
                  <a:lnTo>
                    <a:pt x="5644" y="705"/>
                  </a:lnTo>
                  <a:lnTo>
                    <a:pt x="5667" y="682"/>
                  </a:lnTo>
                  <a:lnTo>
                    <a:pt x="5660" y="675"/>
                  </a:lnTo>
                  <a:lnTo>
                    <a:pt x="5645" y="678"/>
                  </a:lnTo>
                  <a:lnTo>
                    <a:pt x="5657" y="659"/>
                  </a:lnTo>
                  <a:lnTo>
                    <a:pt x="5643" y="627"/>
                  </a:lnTo>
                  <a:lnTo>
                    <a:pt x="5635" y="638"/>
                  </a:lnTo>
                  <a:lnTo>
                    <a:pt x="5627" y="618"/>
                  </a:lnTo>
                  <a:lnTo>
                    <a:pt x="5636" y="613"/>
                  </a:lnTo>
                  <a:lnTo>
                    <a:pt x="5635" y="597"/>
                  </a:lnTo>
                  <a:lnTo>
                    <a:pt x="5641" y="592"/>
                  </a:lnTo>
                  <a:lnTo>
                    <a:pt x="5639" y="581"/>
                  </a:lnTo>
                  <a:lnTo>
                    <a:pt x="5629" y="581"/>
                  </a:lnTo>
                  <a:lnTo>
                    <a:pt x="5603" y="567"/>
                  </a:lnTo>
                  <a:lnTo>
                    <a:pt x="5606" y="551"/>
                  </a:lnTo>
                  <a:lnTo>
                    <a:pt x="5592" y="366"/>
                  </a:lnTo>
                  <a:lnTo>
                    <a:pt x="5586" y="348"/>
                  </a:lnTo>
                  <a:lnTo>
                    <a:pt x="5563" y="329"/>
                  </a:lnTo>
                  <a:lnTo>
                    <a:pt x="5529" y="327"/>
                  </a:lnTo>
                  <a:lnTo>
                    <a:pt x="5511" y="340"/>
                  </a:lnTo>
                  <a:lnTo>
                    <a:pt x="5495" y="333"/>
                  </a:lnTo>
                  <a:lnTo>
                    <a:pt x="5472" y="309"/>
                  </a:lnTo>
                  <a:lnTo>
                    <a:pt x="5459" y="303"/>
                  </a:lnTo>
                  <a:lnTo>
                    <a:pt x="5432" y="338"/>
                  </a:lnTo>
                  <a:lnTo>
                    <a:pt x="5408" y="380"/>
                  </a:lnTo>
                  <a:lnTo>
                    <a:pt x="5358" y="527"/>
                  </a:lnTo>
                  <a:lnTo>
                    <a:pt x="5309" y="622"/>
                  </a:lnTo>
                  <a:lnTo>
                    <a:pt x="5258" y="613"/>
                  </a:lnTo>
                  <a:lnTo>
                    <a:pt x="5240" y="617"/>
                  </a:lnTo>
                  <a:lnTo>
                    <a:pt x="5223" y="645"/>
                  </a:lnTo>
                  <a:lnTo>
                    <a:pt x="5216" y="669"/>
                  </a:lnTo>
                  <a:lnTo>
                    <a:pt x="5169" y="664"/>
                  </a:lnTo>
                  <a:lnTo>
                    <a:pt x="4897" y="662"/>
                  </a:lnTo>
                  <a:lnTo>
                    <a:pt x="4753" y="768"/>
                  </a:lnTo>
                  <a:lnTo>
                    <a:pt x="4729" y="779"/>
                  </a:lnTo>
                  <a:lnTo>
                    <a:pt x="4716" y="839"/>
                  </a:lnTo>
                  <a:lnTo>
                    <a:pt x="4697" y="856"/>
                  </a:lnTo>
                  <a:lnTo>
                    <a:pt x="4646" y="871"/>
                  </a:lnTo>
                  <a:lnTo>
                    <a:pt x="4539" y="860"/>
                  </a:lnTo>
                  <a:lnTo>
                    <a:pt x="4498" y="865"/>
                  </a:lnTo>
                  <a:lnTo>
                    <a:pt x="4476" y="879"/>
                  </a:lnTo>
                  <a:lnTo>
                    <a:pt x="4470" y="902"/>
                  </a:lnTo>
                  <a:lnTo>
                    <a:pt x="4470" y="923"/>
                  </a:lnTo>
                  <a:lnTo>
                    <a:pt x="4478" y="953"/>
                  </a:lnTo>
                  <a:lnTo>
                    <a:pt x="4479" y="976"/>
                  </a:lnTo>
                  <a:lnTo>
                    <a:pt x="4441" y="1003"/>
                  </a:lnTo>
                  <a:lnTo>
                    <a:pt x="4377" y="1034"/>
                  </a:lnTo>
                  <a:lnTo>
                    <a:pt x="4294" y="1048"/>
                  </a:lnTo>
                  <a:lnTo>
                    <a:pt x="4255" y="1064"/>
                  </a:lnTo>
                  <a:lnTo>
                    <a:pt x="4174" y="1126"/>
                  </a:lnTo>
                  <a:lnTo>
                    <a:pt x="4150" y="1133"/>
                  </a:lnTo>
                  <a:lnTo>
                    <a:pt x="4125" y="1129"/>
                  </a:lnTo>
                  <a:lnTo>
                    <a:pt x="4103" y="1118"/>
                  </a:lnTo>
                  <a:lnTo>
                    <a:pt x="4086" y="1092"/>
                  </a:lnTo>
                  <a:lnTo>
                    <a:pt x="4086" y="1071"/>
                  </a:lnTo>
                  <a:lnTo>
                    <a:pt x="4088" y="1057"/>
                  </a:lnTo>
                  <a:lnTo>
                    <a:pt x="4136" y="1005"/>
                  </a:lnTo>
                  <a:lnTo>
                    <a:pt x="4179" y="906"/>
                  </a:lnTo>
                  <a:lnTo>
                    <a:pt x="4180" y="858"/>
                  </a:lnTo>
                  <a:lnTo>
                    <a:pt x="4177" y="823"/>
                  </a:lnTo>
                  <a:lnTo>
                    <a:pt x="4139" y="618"/>
                  </a:lnTo>
                  <a:lnTo>
                    <a:pt x="4028" y="549"/>
                  </a:lnTo>
                  <a:lnTo>
                    <a:pt x="4016" y="528"/>
                  </a:lnTo>
                  <a:lnTo>
                    <a:pt x="4021" y="507"/>
                  </a:lnTo>
                  <a:lnTo>
                    <a:pt x="4007" y="491"/>
                  </a:lnTo>
                  <a:lnTo>
                    <a:pt x="3967" y="481"/>
                  </a:lnTo>
                  <a:lnTo>
                    <a:pt x="3959" y="461"/>
                  </a:lnTo>
                  <a:lnTo>
                    <a:pt x="3950" y="452"/>
                  </a:lnTo>
                  <a:lnTo>
                    <a:pt x="3923" y="452"/>
                  </a:lnTo>
                  <a:lnTo>
                    <a:pt x="3902" y="422"/>
                  </a:lnTo>
                  <a:lnTo>
                    <a:pt x="3898" y="394"/>
                  </a:lnTo>
                  <a:lnTo>
                    <a:pt x="3803" y="323"/>
                  </a:lnTo>
                  <a:lnTo>
                    <a:pt x="3550" y="176"/>
                  </a:lnTo>
                  <a:lnTo>
                    <a:pt x="3514" y="189"/>
                  </a:lnTo>
                  <a:lnTo>
                    <a:pt x="3449" y="229"/>
                  </a:lnTo>
                  <a:lnTo>
                    <a:pt x="3418" y="224"/>
                  </a:lnTo>
                  <a:lnTo>
                    <a:pt x="3394" y="227"/>
                  </a:lnTo>
                  <a:lnTo>
                    <a:pt x="3379" y="210"/>
                  </a:lnTo>
                  <a:lnTo>
                    <a:pt x="3358" y="206"/>
                  </a:lnTo>
                  <a:lnTo>
                    <a:pt x="3320" y="213"/>
                  </a:lnTo>
                  <a:lnTo>
                    <a:pt x="3312" y="205"/>
                  </a:lnTo>
                  <a:lnTo>
                    <a:pt x="3309" y="187"/>
                  </a:lnTo>
                  <a:lnTo>
                    <a:pt x="3293" y="190"/>
                  </a:lnTo>
                  <a:lnTo>
                    <a:pt x="3276" y="205"/>
                  </a:lnTo>
                  <a:lnTo>
                    <a:pt x="3240" y="217"/>
                  </a:lnTo>
                  <a:lnTo>
                    <a:pt x="3218" y="212"/>
                  </a:lnTo>
                  <a:lnTo>
                    <a:pt x="3215" y="197"/>
                  </a:lnTo>
                  <a:lnTo>
                    <a:pt x="3195" y="192"/>
                  </a:lnTo>
                  <a:lnTo>
                    <a:pt x="3183" y="175"/>
                  </a:lnTo>
                  <a:lnTo>
                    <a:pt x="3161" y="173"/>
                  </a:lnTo>
                  <a:lnTo>
                    <a:pt x="3156" y="190"/>
                  </a:lnTo>
                  <a:lnTo>
                    <a:pt x="3141" y="157"/>
                  </a:lnTo>
                  <a:lnTo>
                    <a:pt x="3129" y="159"/>
                  </a:lnTo>
                  <a:lnTo>
                    <a:pt x="3128" y="146"/>
                  </a:lnTo>
                  <a:lnTo>
                    <a:pt x="3065" y="132"/>
                  </a:lnTo>
                  <a:lnTo>
                    <a:pt x="3042" y="138"/>
                  </a:lnTo>
                  <a:lnTo>
                    <a:pt x="3005" y="108"/>
                  </a:lnTo>
                  <a:lnTo>
                    <a:pt x="2983" y="76"/>
                  </a:lnTo>
                  <a:lnTo>
                    <a:pt x="2972" y="51"/>
                  </a:lnTo>
                  <a:lnTo>
                    <a:pt x="2932" y="0"/>
                  </a:lnTo>
                  <a:lnTo>
                    <a:pt x="2911" y="2"/>
                  </a:lnTo>
                  <a:lnTo>
                    <a:pt x="2916" y="26"/>
                  </a:lnTo>
                  <a:lnTo>
                    <a:pt x="2933" y="65"/>
                  </a:lnTo>
                  <a:lnTo>
                    <a:pt x="180" y="63"/>
                  </a:lnTo>
                  <a:lnTo>
                    <a:pt x="208" y="99"/>
                  </a:lnTo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25" name="Freeform 62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748" y="1376"/>
              <a:ext cx="1255" cy="761"/>
            </a:xfrm>
            <a:custGeom>
              <a:avLst/>
              <a:gdLst>
                <a:gd name="T0" fmla="*/ 4401 w 8373"/>
                <a:gd name="T1" fmla="*/ 262 h 5147"/>
                <a:gd name="T2" fmla="*/ 4692 w 8373"/>
                <a:gd name="T3" fmla="*/ 601 h 5147"/>
                <a:gd name="T4" fmla="*/ 4484 w 8373"/>
                <a:gd name="T5" fmla="*/ 800 h 5147"/>
                <a:gd name="T6" fmla="*/ 4238 w 8373"/>
                <a:gd name="T7" fmla="*/ 732 h 5147"/>
                <a:gd name="T8" fmla="*/ 3755 w 8373"/>
                <a:gd name="T9" fmla="*/ 853 h 5147"/>
                <a:gd name="T10" fmla="*/ 3323 w 8373"/>
                <a:gd name="T11" fmla="*/ 1003 h 5147"/>
                <a:gd name="T12" fmla="*/ 2799 w 8373"/>
                <a:gd name="T13" fmla="*/ 874 h 5147"/>
                <a:gd name="T14" fmla="*/ 2181 w 8373"/>
                <a:gd name="T15" fmla="*/ 576 h 5147"/>
                <a:gd name="T16" fmla="*/ 1546 w 8373"/>
                <a:gd name="T17" fmla="*/ 539 h 5147"/>
                <a:gd name="T18" fmla="*/ 919 w 8373"/>
                <a:gd name="T19" fmla="*/ 554 h 5147"/>
                <a:gd name="T20" fmla="*/ 1060 w 8373"/>
                <a:gd name="T21" fmla="*/ 359 h 5147"/>
                <a:gd name="T22" fmla="*/ 508 w 8373"/>
                <a:gd name="T23" fmla="*/ 592 h 5147"/>
                <a:gd name="T24" fmla="*/ 14 w 8373"/>
                <a:gd name="T25" fmla="*/ 2239 h 5147"/>
                <a:gd name="T26" fmla="*/ 599 w 8373"/>
                <a:gd name="T27" fmla="*/ 2419 h 5147"/>
                <a:gd name="T28" fmla="*/ 1084 w 8373"/>
                <a:gd name="T29" fmla="*/ 3320 h 5147"/>
                <a:gd name="T30" fmla="*/ 1333 w 8373"/>
                <a:gd name="T31" fmla="*/ 3663 h 5147"/>
                <a:gd name="T32" fmla="*/ 1626 w 8373"/>
                <a:gd name="T33" fmla="*/ 3965 h 5147"/>
                <a:gd name="T34" fmla="*/ 4532 w 8373"/>
                <a:gd name="T35" fmla="*/ 4014 h 5147"/>
                <a:gd name="T36" fmla="*/ 4876 w 8373"/>
                <a:gd name="T37" fmla="*/ 4219 h 5147"/>
                <a:gd name="T38" fmla="*/ 5550 w 8373"/>
                <a:gd name="T39" fmla="*/ 4466 h 5147"/>
                <a:gd name="T40" fmla="*/ 5725 w 8373"/>
                <a:gd name="T41" fmla="*/ 5143 h 5147"/>
                <a:gd name="T42" fmla="*/ 6316 w 8373"/>
                <a:gd name="T43" fmla="*/ 4853 h 5147"/>
                <a:gd name="T44" fmla="*/ 7111 w 8373"/>
                <a:gd name="T45" fmla="*/ 4354 h 5147"/>
                <a:gd name="T46" fmla="*/ 7265 w 8373"/>
                <a:gd name="T47" fmla="*/ 4648 h 5147"/>
                <a:gd name="T48" fmla="*/ 7519 w 8373"/>
                <a:gd name="T49" fmla="*/ 4560 h 5147"/>
                <a:gd name="T50" fmla="*/ 7529 w 8373"/>
                <a:gd name="T51" fmla="*/ 4652 h 5147"/>
                <a:gd name="T52" fmla="*/ 7364 w 8373"/>
                <a:gd name="T53" fmla="*/ 4840 h 5147"/>
                <a:gd name="T54" fmla="*/ 7473 w 8373"/>
                <a:gd name="T55" fmla="*/ 4825 h 5147"/>
                <a:gd name="T56" fmla="*/ 7572 w 8373"/>
                <a:gd name="T57" fmla="*/ 4742 h 5147"/>
                <a:gd name="T58" fmla="*/ 7750 w 8373"/>
                <a:gd name="T59" fmla="*/ 4668 h 5147"/>
                <a:gd name="T60" fmla="*/ 7779 w 8373"/>
                <a:gd name="T61" fmla="*/ 4578 h 5147"/>
                <a:gd name="T62" fmla="*/ 7580 w 8373"/>
                <a:gd name="T63" fmla="*/ 4549 h 5147"/>
                <a:gd name="T64" fmla="*/ 7466 w 8373"/>
                <a:gd name="T65" fmla="*/ 4399 h 5147"/>
                <a:gd name="T66" fmla="*/ 7325 w 8373"/>
                <a:gd name="T67" fmla="*/ 4227 h 5147"/>
                <a:gd name="T68" fmla="*/ 7129 w 8373"/>
                <a:gd name="T69" fmla="*/ 4155 h 5147"/>
                <a:gd name="T70" fmla="*/ 7203 w 8373"/>
                <a:gd name="T71" fmla="*/ 4037 h 5147"/>
                <a:gd name="T72" fmla="*/ 8161 w 8373"/>
                <a:gd name="T73" fmla="*/ 3719 h 5147"/>
                <a:gd name="T74" fmla="*/ 8216 w 8373"/>
                <a:gd name="T75" fmla="*/ 3373 h 5147"/>
                <a:gd name="T76" fmla="*/ 8059 w 8373"/>
                <a:gd name="T77" fmla="*/ 3286 h 5147"/>
                <a:gd name="T78" fmla="*/ 7776 w 8373"/>
                <a:gd name="T79" fmla="*/ 2958 h 5147"/>
                <a:gd name="T80" fmla="*/ 7768 w 8373"/>
                <a:gd name="T81" fmla="*/ 2726 h 5147"/>
                <a:gd name="T82" fmla="*/ 7466 w 8373"/>
                <a:gd name="T83" fmla="*/ 2329 h 5147"/>
                <a:gd name="T84" fmla="*/ 7251 w 8373"/>
                <a:gd name="T85" fmla="*/ 2599 h 5147"/>
                <a:gd name="T86" fmla="*/ 7031 w 8373"/>
                <a:gd name="T87" fmla="*/ 2446 h 5147"/>
                <a:gd name="T88" fmla="*/ 6634 w 8373"/>
                <a:gd name="T89" fmla="*/ 1889 h 5147"/>
                <a:gd name="T90" fmla="*/ 6235 w 8373"/>
                <a:gd name="T91" fmla="*/ 2048 h 5147"/>
                <a:gd name="T92" fmla="*/ 6149 w 8373"/>
                <a:gd name="T93" fmla="*/ 2559 h 5147"/>
                <a:gd name="T94" fmla="*/ 6045 w 8373"/>
                <a:gd name="T95" fmla="*/ 3267 h 5147"/>
                <a:gd name="T96" fmla="*/ 6074 w 8373"/>
                <a:gd name="T97" fmla="*/ 3702 h 5147"/>
                <a:gd name="T98" fmla="*/ 5783 w 8373"/>
                <a:gd name="T99" fmla="*/ 3491 h 5147"/>
                <a:gd name="T100" fmla="*/ 5481 w 8373"/>
                <a:gd name="T101" fmla="*/ 3096 h 5147"/>
                <a:gd name="T102" fmla="*/ 4675 w 8373"/>
                <a:gd name="T103" fmla="*/ 2532 h 5147"/>
                <a:gd name="T104" fmla="*/ 4800 w 8373"/>
                <a:gd name="T105" fmla="*/ 1878 h 5147"/>
                <a:gd name="T106" fmla="*/ 4983 w 8373"/>
                <a:gd name="T107" fmla="*/ 1669 h 5147"/>
                <a:gd name="T108" fmla="*/ 4920 w 8373"/>
                <a:gd name="T109" fmla="*/ 1227 h 5147"/>
                <a:gd name="T110" fmla="*/ 5325 w 8373"/>
                <a:gd name="T111" fmla="*/ 1096 h 5147"/>
                <a:gd name="T112" fmla="*/ 5758 w 8373"/>
                <a:gd name="T113" fmla="*/ 1082 h 5147"/>
                <a:gd name="T114" fmla="*/ 5796 w 8373"/>
                <a:gd name="T115" fmla="*/ 559 h 5147"/>
                <a:gd name="T116" fmla="*/ 5359 w 8373"/>
                <a:gd name="T117" fmla="*/ 877 h 5147"/>
                <a:gd name="T118" fmla="*/ 5146 w 8373"/>
                <a:gd name="T119" fmla="*/ 589 h 5147"/>
                <a:gd name="T120" fmla="*/ 4864 w 8373"/>
                <a:gd name="T121" fmla="*/ 476 h 5147"/>
                <a:gd name="T122" fmla="*/ 4597 w 8373"/>
                <a:gd name="T123" fmla="*/ 9 h 514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8373"/>
                <a:gd name="T187" fmla="*/ 0 h 5147"/>
                <a:gd name="T188" fmla="*/ 8373 w 8373"/>
                <a:gd name="T189" fmla="*/ 5147 h 5147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8373" h="5147">
                  <a:moveTo>
                    <a:pt x="4597" y="9"/>
                  </a:moveTo>
                  <a:lnTo>
                    <a:pt x="4573" y="0"/>
                  </a:lnTo>
                  <a:lnTo>
                    <a:pt x="4492" y="2"/>
                  </a:lnTo>
                  <a:lnTo>
                    <a:pt x="4475" y="6"/>
                  </a:lnTo>
                  <a:lnTo>
                    <a:pt x="4450" y="39"/>
                  </a:lnTo>
                  <a:lnTo>
                    <a:pt x="4442" y="41"/>
                  </a:lnTo>
                  <a:lnTo>
                    <a:pt x="4450" y="69"/>
                  </a:lnTo>
                  <a:lnTo>
                    <a:pt x="4481" y="104"/>
                  </a:lnTo>
                  <a:lnTo>
                    <a:pt x="4474" y="139"/>
                  </a:lnTo>
                  <a:lnTo>
                    <a:pt x="4467" y="141"/>
                  </a:lnTo>
                  <a:lnTo>
                    <a:pt x="4422" y="116"/>
                  </a:lnTo>
                  <a:lnTo>
                    <a:pt x="4405" y="120"/>
                  </a:lnTo>
                  <a:lnTo>
                    <a:pt x="4378" y="148"/>
                  </a:lnTo>
                  <a:lnTo>
                    <a:pt x="4352" y="206"/>
                  </a:lnTo>
                  <a:lnTo>
                    <a:pt x="4349" y="225"/>
                  </a:lnTo>
                  <a:lnTo>
                    <a:pt x="4401" y="262"/>
                  </a:lnTo>
                  <a:lnTo>
                    <a:pt x="4422" y="284"/>
                  </a:lnTo>
                  <a:lnTo>
                    <a:pt x="4385" y="328"/>
                  </a:lnTo>
                  <a:lnTo>
                    <a:pt x="4372" y="340"/>
                  </a:lnTo>
                  <a:lnTo>
                    <a:pt x="4372" y="370"/>
                  </a:lnTo>
                  <a:lnTo>
                    <a:pt x="4376" y="384"/>
                  </a:lnTo>
                  <a:lnTo>
                    <a:pt x="4405" y="416"/>
                  </a:lnTo>
                  <a:lnTo>
                    <a:pt x="4486" y="458"/>
                  </a:lnTo>
                  <a:lnTo>
                    <a:pt x="4541" y="474"/>
                  </a:lnTo>
                  <a:lnTo>
                    <a:pt x="4572" y="467"/>
                  </a:lnTo>
                  <a:lnTo>
                    <a:pt x="4610" y="495"/>
                  </a:lnTo>
                  <a:lnTo>
                    <a:pt x="4640" y="508"/>
                  </a:lnTo>
                  <a:lnTo>
                    <a:pt x="4680" y="509"/>
                  </a:lnTo>
                  <a:lnTo>
                    <a:pt x="4712" y="504"/>
                  </a:lnTo>
                  <a:lnTo>
                    <a:pt x="4716" y="592"/>
                  </a:lnTo>
                  <a:lnTo>
                    <a:pt x="4712" y="617"/>
                  </a:lnTo>
                  <a:lnTo>
                    <a:pt x="4692" y="601"/>
                  </a:lnTo>
                  <a:lnTo>
                    <a:pt x="4659" y="564"/>
                  </a:lnTo>
                  <a:lnTo>
                    <a:pt x="4634" y="564"/>
                  </a:lnTo>
                  <a:lnTo>
                    <a:pt x="4615" y="580"/>
                  </a:lnTo>
                  <a:lnTo>
                    <a:pt x="4581" y="587"/>
                  </a:lnTo>
                  <a:lnTo>
                    <a:pt x="4557" y="635"/>
                  </a:lnTo>
                  <a:lnTo>
                    <a:pt x="4599" y="642"/>
                  </a:lnTo>
                  <a:lnTo>
                    <a:pt x="4635" y="624"/>
                  </a:lnTo>
                  <a:lnTo>
                    <a:pt x="4648" y="624"/>
                  </a:lnTo>
                  <a:lnTo>
                    <a:pt x="4665" y="658"/>
                  </a:lnTo>
                  <a:lnTo>
                    <a:pt x="4672" y="691"/>
                  </a:lnTo>
                  <a:lnTo>
                    <a:pt x="4671" y="702"/>
                  </a:lnTo>
                  <a:lnTo>
                    <a:pt x="4648" y="716"/>
                  </a:lnTo>
                  <a:lnTo>
                    <a:pt x="4627" y="716"/>
                  </a:lnTo>
                  <a:lnTo>
                    <a:pt x="4606" y="721"/>
                  </a:lnTo>
                  <a:lnTo>
                    <a:pt x="4551" y="799"/>
                  </a:lnTo>
                  <a:lnTo>
                    <a:pt x="4484" y="800"/>
                  </a:lnTo>
                  <a:lnTo>
                    <a:pt x="4472" y="824"/>
                  </a:lnTo>
                  <a:lnTo>
                    <a:pt x="4467" y="868"/>
                  </a:lnTo>
                  <a:lnTo>
                    <a:pt x="4487" y="957"/>
                  </a:lnTo>
                  <a:lnTo>
                    <a:pt x="4491" y="1006"/>
                  </a:lnTo>
                  <a:lnTo>
                    <a:pt x="4449" y="978"/>
                  </a:lnTo>
                  <a:lnTo>
                    <a:pt x="4413" y="969"/>
                  </a:lnTo>
                  <a:lnTo>
                    <a:pt x="4406" y="964"/>
                  </a:lnTo>
                  <a:lnTo>
                    <a:pt x="4393" y="950"/>
                  </a:lnTo>
                  <a:lnTo>
                    <a:pt x="4384" y="904"/>
                  </a:lnTo>
                  <a:lnTo>
                    <a:pt x="4397" y="826"/>
                  </a:lnTo>
                  <a:lnTo>
                    <a:pt x="4401" y="813"/>
                  </a:lnTo>
                  <a:lnTo>
                    <a:pt x="4397" y="797"/>
                  </a:lnTo>
                  <a:lnTo>
                    <a:pt x="4374" y="779"/>
                  </a:lnTo>
                  <a:lnTo>
                    <a:pt x="4337" y="774"/>
                  </a:lnTo>
                  <a:lnTo>
                    <a:pt x="4263" y="737"/>
                  </a:lnTo>
                  <a:lnTo>
                    <a:pt x="4238" y="732"/>
                  </a:lnTo>
                  <a:lnTo>
                    <a:pt x="4185" y="739"/>
                  </a:lnTo>
                  <a:lnTo>
                    <a:pt x="4181" y="779"/>
                  </a:lnTo>
                  <a:lnTo>
                    <a:pt x="4242" y="786"/>
                  </a:lnTo>
                  <a:lnTo>
                    <a:pt x="4274" y="797"/>
                  </a:lnTo>
                  <a:lnTo>
                    <a:pt x="4303" y="819"/>
                  </a:lnTo>
                  <a:lnTo>
                    <a:pt x="4304" y="865"/>
                  </a:lnTo>
                  <a:lnTo>
                    <a:pt x="4292" y="893"/>
                  </a:lnTo>
                  <a:lnTo>
                    <a:pt x="4271" y="895"/>
                  </a:lnTo>
                  <a:lnTo>
                    <a:pt x="4229" y="868"/>
                  </a:lnTo>
                  <a:lnTo>
                    <a:pt x="4186" y="826"/>
                  </a:lnTo>
                  <a:lnTo>
                    <a:pt x="4135" y="849"/>
                  </a:lnTo>
                  <a:lnTo>
                    <a:pt x="4087" y="854"/>
                  </a:lnTo>
                  <a:lnTo>
                    <a:pt x="3927" y="854"/>
                  </a:lnTo>
                  <a:lnTo>
                    <a:pt x="3889" y="872"/>
                  </a:lnTo>
                  <a:lnTo>
                    <a:pt x="3838" y="872"/>
                  </a:lnTo>
                  <a:lnTo>
                    <a:pt x="3755" y="853"/>
                  </a:lnTo>
                  <a:lnTo>
                    <a:pt x="3711" y="833"/>
                  </a:lnTo>
                  <a:lnTo>
                    <a:pt x="3702" y="826"/>
                  </a:lnTo>
                  <a:lnTo>
                    <a:pt x="3673" y="788"/>
                  </a:lnTo>
                  <a:lnTo>
                    <a:pt x="3630" y="797"/>
                  </a:lnTo>
                  <a:lnTo>
                    <a:pt x="3588" y="792"/>
                  </a:lnTo>
                  <a:lnTo>
                    <a:pt x="3473" y="740"/>
                  </a:lnTo>
                  <a:lnTo>
                    <a:pt x="3445" y="744"/>
                  </a:lnTo>
                  <a:lnTo>
                    <a:pt x="3425" y="763"/>
                  </a:lnTo>
                  <a:lnTo>
                    <a:pt x="3415" y="790"/>
                  </a:lnTo>
                  <a:lnTo>
                    <a:pt x="3375" y="804"/>
                  </a:lnTo>
                  <a:lnTo>
                    <a:pt x="3289" y="816"/>
                  </a:lnTo>
                  <a:lnTo>
                    <a:pt x="3274" y="821"/>
                  </a:lnTo>
                  <a:lnTo>
                    <a:pt x="3269" y="888"/>
                  </a:lnTo>
                  <a:lnTo>
                    <a:pt x="3274" y="927"/>
                  </a:lnTo>
                  <a:lnTo>
                    <a:pt x="3281" y="944"/>
                  </a:lnTo>
                  <a:lnTo>
                    <a:pt x="3323" y="1003"/>
                  </a:lnTo>
                  <a:lnTo>
                    <a:pt x="3326" y="1018"/>
                  </a:lnTo>
                  <a:lnTo>
                    <a:pt x="3298" y="1031"/>
                  </a:lnTo>
                  <a:lnTo>
                    <a:pt x="3279" y="1034"/>
                  </a:lnTo>
                  <a:lnTo>
                    <a:pt x="3281" y="1063"/>
                  </a:lnTo>
                  <a:lnTo>
                    <a:pt x="3286" y="1098"/>
                  </a:lnTo>
                  <a:lnTo>
                    <a:pt x="3194" y="997"/>
                  </a:lnTo>
                  <a:lnTo>
                    <a:pt x="3208" y="976"/>
                  </a:lnTo>
                  <a:lnTo>
                    <a:pt x="3231" y="969"/>
                  </a:lnTo>
                  <a:lnTo>
                    <a:pt x="3232" y="941"/>
                  </a:lnTo>
                  <a:lnTo>
                    <a:pt x="3177" y="900"/>
                  </a:lnTo>
                  <a:lnTo>
                    <a:pt x="3159" y="891"/>
                  </a:lnTo>
                  <a:lnTo>
                    <a:pt x="3096" y="874"/>
                  </a:lnTo>
                  <a:lnTo>
                    <a:pt x="3031" y="831"/>
                  </a:lnTo>
                  <a:lnTo>
                    <a:pt x="2993" y="830"/>
                  </a:lnTo>
                  <a:lnTo>
                    <a:pt x="2869" y="863"/>
                  </a:lnTo>
                  <a:lnTo>
                    <a:pt x="2799" y="874"/>
                  </a:lnTo>
                  <a:lnTo>
                    <a:pt x="2646" y="867"/>
                  </a:lnTo>
                  <a:lnTo>
                    <a:pt x="2499" y="833"/>
                  </a:lnTo>
                  <a:lnTo>
                    <a:pt x="2516" y="769"/>
                  </a:lnTo>
                  <a:lnTo>
                    <a:pt x="2578" y="751"/>
                  </a:lnTo>
                  <a:lnTo>
                    <a:pt x="2619" y="755"/>
                  </a:lnTo>
                  <a:lnTo>
                    <a:pt x="2642" y="742"/>
                  </a:lnTo>
                  <a:lnTo>
                    <a:pt x="2633" y="712"/>
                  </a:lnTo>
                  <a:lnTo>
                    <a:pt x="2615" y="689"/>
                  </a:lnTo>
                  <a:lnTo>
                    <a:pt x="2525" y="631"/>
                  </a:lnTo>
                  <a:lnTo>
                    <a:pt x="2487" y="622"/>
                  </a:lnTo>
                  <a:lnTo>
                    <a:pt x="2425" y="629"/>
                  </a:lnTo>
                  <a:lnTo>
                    <a:pt x="2376" y="628"/>
                  </a:lnTo>
                  <a:lnTo>
                    <a:pt x="2325" y="613"/>
                  </a:lnTo>
                  <a:lnTo>
                    <a:pt x="2277" y="608"/>
                  </a:lnTo>
                  <a:lnTo>
                    <a:pt x="2207" y="582"/>
                  </a:lnTo>
                  <a:lnTo>
                    <a:pt x="2181" y="576"/>
                  </a:lnTo>
                  <a:lnTo>
                    <a:pt x="1837" y="427"/>
                  </a:lnTo>
                  <a:lnTo>
                    <a:pt x="1787" y="425"/>
                  </a:lnTo>
                  <a:lnTo>
                    <a:pt x="1765" y="432"/>
                  </a:lnTo>
                  <a:lnTo>
                    <a:pt x="1742" y="478"/>
                  </a:lnTo>
                  <a:lnTo>
                    <a:pt x="1691" y="520"/>
                  </a:lnTo>
                  <a:lnTo>
                    <a:pt x="1650" y="527"/>
                  </a:lnTo>
                  <a:lnTo>
                    <a:pt x="1613" y="515"/>
                  </a:lnTo>
                  <a:lnTo>
                    <a:pt x="1621" y="488"/>
                  </a:lnTo>
                  <a:lnTo>
                    <a:pt x="1620" y="448"/>
                  </a:lnTo>
                  <a:lnTo>
                    <a:pt x="1603" y="416"/>
                  </a:lnTo>
                  <a:lnTo>
                    <a:pt x="1574" y="425"/>
                  </a:lnTo>
                  <a:lnTo>
                    <a:pt x="1560" y="437"/>
                  </a:lnTo>
                  <a:lnTo>
                    <a:pt x="1535" y="441"/>
                  </a:lnTo>
                  <a:lnTo>
                    <a:pt x="1533" y="465"/>
                  </a:lnTo>
                  <a:lnTo>
                    <a:pt x="1555" y="525"/>
                  </a:lnTo>
                  <a:lnTo>
                    <a:pt x="1546" y="539"/>
                  </a:lnTo>
                  <a:lnTo>
                    <a:pt x="1530" y="541"/>
                  </a:lnTo>
                  <a:lnTo>
                    <a:pt x="1478" y="522"/>
                  </a:lnTo>
                  <a:lnTo>
                    <a:pt x="1416" y="469"/>
                  </a:lnTo>
                  <a:lnTo>
                    <a:pt x="1398" y="448"/>
                  </a:lnTo>
                  <a:lnTo>
                    <a:pt x="1361" y="354"/>
                  </a:lnTo>
                  <a:lnTo>
                    <a:pt x="1343" y="322"/>
                  </a:lnTo>
                  <a:lnTo>
                    <a:pt x="1280" y="268"/>
                  </a:lnTo>
                  <a:lnTo>
                    <a:pt x="1239" y="259"/>
                  </a:lnTo>
                  <a:lnTo>
                    <a:pt x="1298" y="338"/>
                  </a:lnTo>
                  <a:lnTo>
                    <a:pt x="1306" y="363"/>
                  </a:lnTo>
                  <a:lnTo>
                    <a:pt x="1285" y="386"/>
                  </a:lnTo>
                  <a:lnTo>
                    <a:pt x="1208" y="430"/>
                  </a:lnTo>
                  <a:lnTo>
                    <a:pt x="1180" y="462"/>
                  </a:lnTo>
                  <a:lnTo>
                    <a:pt x="1089" y="478"/>
                  </a:lnTo>
                  <a:lnTo>
                    <a:pt x="996" y="548"/>
                  </a:lnTo>
                  <a:lnTo>
                    <a:pt x="919" y="554"/>
                  </a:lnTo>
                  <a:lnTo>
                    <a:pt x="871" y="613"/>
                  </a:lnTo>
                  <a:lnTo>
                    <a:pt x="818" y="636"/>
                  </a:lnTo>
                  <a:lnTo>
                    <a:pt x="811" y="668"/>
                  </a:lnTo>
                  <a:lnTo>
                    <a:pt x="819" y="719"/>
                  </a:lnTo>
                  <a:lnTo>
                    <a:pt x="756" y="651"/>
                  </a:lnTo>
                  <a:lnTo>
                    <a:pt x="719" y="626"/>
                  </a:lnTo>
                  <a:lnTo>
                    <a:pt x="749" y="582"/>
                  </a:lnTo>
                  <a:lnTo>
                    <a:pt x="827" y="557"/>
                  </a:lnTo>
                  <a:lnTo>
                    <a:pt x="859" y="509"/>
                  </a:lnTo>
                  <a:lnTo>
                    <a:pt x="912" y="485"/>
                  </a:lnTo>
                  <a:lnTo>
                    <a:pt x="966" y="469"/>
                  </a:lnTo>
                  <a:lnTo>
                    <a:pt x="1015" y="434"/>
                  </a:lnTo>
                  <a:lnTo>
                    <a:pt x="1063" y="421"/>
                  </a:lnTo>
                  <a:lnTo>
                    <a:pt x="1079" y="409"/>
                  </a:lnTo>
                  <a:lnTo>
                    <a:pt x="1098" y="372"/>
                  </a:lnTo>
                  <a:lnTo>
                    <a:pt x="1060" y="359"/>
                  </a:lnTo>
                  <a:lnTo>
                    <a:pt x="1014" y="359"/>
                  </a:lnTo>
                  <a:lnTo>
                    <a:pt x="979" y="370"/>
                  </a:lnTo>
                  <a:lnTo>
                    <a:pt x="941" y="411"/>
                  </a:lnTo>
                  <a:lnTo>
                    <a:pt x="838" y="432"/>
                  </a:lnTo>
                  <a:lnTo>
                    <a:pt x="810" y="453"/>
                  </a:lnTo>
                  <a:lnTo>
                    <a:pt x="789" y="453"/>
                  </a:lnTo>
                  <a:lnTo>
                    <a:pt x="775" y="471"/>
                  </a:lnTo>
                  <a:lnTo>
                    <a:pt x="726" y="506"/>
                  </a:lnTo>
                  <a:lnTo>
                    <a:pt x="692" y="506"/>
                  </a:lnTo>
                  <a:lnTo>
                    <a:pt x="615" y="492"/>
                  </a:lnTo>
                  <a:lnTo>
                    <a:pt x="609" y="501"/>
                  </a:lnTo>
                  <a:lnTo>
                    <a:pt x="582" y="508"/>
                  </a:lnTo>
                  <a:lnTo>
                    <a:pt x="550" y="501"/>
                  </a:lnTo>
                  <a:lnTo>
                    <a:pt x="491" y="541"/>
                  </a:lnTo>
                  <a:lnTo>
                    <a:pt x="493" y="580"/>
                  </a:lnTo>
                  <a:lnTo>
                    <a:pt x="508" y="592"/>
                  </a:lnTo>
                  <a:lnTo>
                    <a:pt x="525" y="612"/>
                  </a:lnTo>
                  <a:lnTo>
                    <a:pt x="545" y="666"/>
                  </a:lnTo>
                  <a:lnTo>
                    <a:pt x="533" y="670"/>
                  </a:lnTo>
                  <a:lnTo>
                    <a:pt x="515" y="656"/>
                  </a:lnTo>
                  <a:lnTo>
                    <a:pt x="476" y="635"/>
                  </a:lnTo>
                  <a:lnTo>
                    <a:pt x="405" y="619"/>
                  </a:lnTo>
                  <a:lnTo>
                    <a:pt x="372" y="617"/>
                  </a:lnTo>
                  <a:lnTo>
                    <a:pt x="326" y="606"/>
                  </a:lnTo>
                  <a:lnTo>
                    <a:pt x="272" y="582"/>
                  </a:lnTo>
                  <a:lnTo>
                    <a:pt x="201" y="534"/>
                  </a:lnTo>
                  <a:lnTo>
                    <a:pt x="112" y="492"/>
                  </a:lnTo>
                  <a:lnTo>
                    <a:pt x="71" y="481"/>
                  </a:lnTo>
                  <a:lnTo>
                    <a:pt x="31" y="488"/>
                  </a:lnTo>
                  <a:lnTo>
                    <a:pt x="0" y="486"/>
                  </a:lnTo>
                  <a:lnTo>
                    <a:pt x="4" y="532"/>
                  </a:lnTo>
                  <a:lnTo>
                    <a:pt x="14" y="2239"/>
                  </a:lnTo>
                  <a:lnTo>
                    <a:pt x="24" y="2262"/>
                  </a:lnTo>
                  <a:lnTo>
                    <a:pt x="61" y="2267"/>
                  </a:lnTo>
                  <a:lnTo>
                    <a:pt x="168" y="2259"/>
                  </a:lnTo>
                  <a:lnTo>
                    <a:pt x="200" y="2262"/>
                  </a:lnTo>
                  <a:lnTo>
                    <a:pt x="214" y="2294"/>
                  </a:lnTo>
                  <a:lnTo>
                    <a:pt x="222" y="2324"/>
                  </a:lnTo>
                  <a:lnTo>
                    <a:pt x="238" y="2347"/>
                  </a:lnTo>
                  <a:lnTo>
                    <a:pt x="374" y="2502"/>
                  </a:lnTo>
                  <a:lnTo>
                    <a:pt x="385" y="2476"/>
                  </a:lnTo>
                  <a:lnTo>
                    <a:pt x="423" y="2460"/>
                  </a:lnTo>
                  <a:lnTo>
                    <a:pt x="477" y="2409"/>
                  </a:lnTo>
                  <a:lnTo>
                    <a:pt x="509" y="2370"/>
                  </a:lnTo>
                  <a:lnTo>
                    <a:pt x="532" y="2359"/>
                  </a:lnTo>
                  <a:lnTo>
                    <a:pt x="568" y="2364"/>
                  </a:lnTo>
                  <a:lnTo>
                    <a:pt x="582" y="2380"/>
                  </a:lnTo>
                  <a:lnTo>
                    <a:pt x="599" y="2419"/>
                  </a:lnTo>
                  <a:lnTo>
                    <a:pt x="614" y="2444"/>
                  </a:lnTo>
                  <a:lnTo>
                    <a:pt x="704" y="2536"/>
                  </a:lnTo>
                  <a:lnTo>
                    <a:pt x="740" y="2580"/>
                  </a:lnTo>
                  <a:lnTo>
                    <a:pt x="892" y="2857"/>
                  </a:lnTo>
                  <a:lnTo>
                    <a:pt x="914" y="2885"/>
                  </a:lnTo>
                  <a:lnTo>
                    <a:pt x="924" y="2887"/>
                  </a:lnTo>
                  <a:lnTo>
                    <a:pt x="1055" y="2969"/>
                  </a:lnTo>
                  <a:lnTo>
                    <a:pt x="1073" y="2988"/>
                  </a:lnTo>
                  <a:lnTo>
                    <a:pt x="1065" y="3045"/>
                  </a:lnTo>
                  <a:lnTo>
                    <a:pt x="1100" y="3152"/>
                  </a:lnTo>
                  <a:lnTo>
                    <a:pt x="1081" y="3175"/>
                  </a:lnTo>
                  <a:lnTo>
                    <a:pt x="1073" y="3193"/>
                  </a:lnTo>
                  <a:lnTo>
                    <a:pt x="1053" y="3223"/>
                  </a:lnTo>
                  <a:lnTo>
                    <a:pt x="1057" y="3254"/>
                  </a:lnTo>
                  <a:lnTo>
                    <a:pt x="1065" y="3283"/>
                  </a:lnTo>
                  <a:lnTo>
                    <a:pt x="1084" y="3320"/>
                  </a:lnTo>
                  <a:lnTo>
                    <a:pt x="1140" y="3387"/>
                  </a:lnTo>
                  <a:lnTo>
                    <a:pt x="1175" y="3351"/>
                  </a:lnTo>
                  <a:lnTo>
                    <a:pt x="1199" y="3348"/>
                  </a:lnTo>
                  <a:lnTo>
                    <a:pt x="1198" y="3387"/>
                  </a:lnTo>
                  <a:lnTo>
                    <a:pt x="1194" y="3403"/>
                  </a:lnTo>
                  <a:lnTo>
                    <a:pt x="1237" y="3478"/>
                  </a:lnTo>
                  <a:lnTo>
                    <a:pt x="1272" y="3478"/>
                  </a:lnTo>
                  <a:lnTo>
                    <a:pt x="1273" y="3549"/>
                  </a:lnTo>
                  <a:lnTo>
                    <a:pt x="1293" y="3561"/>
                  </a:lnTo>
                  <a:lnTo>
                    <a:pt x="1309" y="3565"/>
                  </a:lnTo>
                  <a:lnTo>
                    <a:pt x="1335" y="3554"/>
                  </a:lnTo>
                  <a:lnTo>
                    <a:pt x="1374" y="3554"/>
                  </a:lnTo>
                  <a:lnTo>
                    <a:pt x="1347" y="3590"/>
                  </a:lnTo>
                  <a:lnTo>
                    <a:pt x="1323" y="3600"/>
                  </a:lnTo>
                  <a:lnTo>
                    <a:pt x="1277" y="3658"/>
                  </a:lnTo>
                  <a:lnTo>
                    <a:pt x="1333" y="3663"/>
                  </a:lnTo>
                  <a:lnTo>
                    <a:pt x="1343" y="3684"/>
                  </a:lnTo>
                  <a:lnTo>
                    <a:pt x="1322" y="3700"/>
                  </a:lnTo>
                  <a:lnTo>
                    <a:pt x="1312" y="3744"/>
                  </a:lnTo>
                  <a:lnTo>
                    <a:pt x="1317" y="3762"/>
                  </a:lnTo>
                  <a:lnTo>
                    <a:pt x="1333" y="3779"/>
                  </a:lnTo>
                  <a:lnTo>
                    <a:pt x="1354" y="3788"/>
                  </a:lnTo>
                  <a:lnTo>
                    <a:pt x="1408" y="3785"/>
                  </a:lnTo>
                  <a:lnTo>
                    <a:pt x="1433" y="3769"/>
                  </a:lnTo>
                  <a:lnTo>
                    <a:pt x="1454" y="3793"/>
                  </a:lnTo>
                  <a:lnTo>
                    <a:pt x="1460" y="3822"/>
                  </a:lnTo>
                  <a:lnTo>
                    <a:pt x="1468" y="3827"/>
                  </a:lnTo>
                  <a:lnTo>
                    <a:pt x="1489" y="3832"/>
                  </a:lnTo>
                  <a:lnTo>
                    <a:pt x="1533" y="3852"/>
                  </a:lnTo>
                  <a:lnTo>
                    <a:pt x="1580" y="3845"/>
                  </a:lnTo>
                  <a:lnTo>
                    <a:pt x="1593" y="3931"/>
                  </a:lnTo>
                  <a:lnTo>
                    <a:pt x="1626" y="3965"/>
                  </a:lnTo>
                  <a:lnTo>
                    <a:pt x="1646" y="3961"/>
                  </a:lnTo>
                  <a:lnTo>
                    <a:pt x="1657" y="3947"/>
                  </a:lnTo>
                  <a:lnTo>
                    <a:pt x="1674" y="3940"/>
                  </a:lnTo>
                  <a:lnTo>
                    <a:pt x="1679" y="3954"/>
                  </a:lnTo>
                  <a:lnTo>
                    <a:pt x="1687" y="3987"/>
                  </a:lnTo>
                  <a:lnTo>
                    <a:pt x="1702" y="4009"/>
                  </a:lnTo>
                  <a:lnTo>
                    <a:pt x="1718" y="4010"/>
                  </a:lnTo>
                  <a:lnTo>
                    <a:pt x="1749" y="3993"/>
                  </a:lnTo>
                  <a:lnTo>
                    <a:pt x="1746" y="4016"/>
                  </a:lnTo>
                  <a:lnTo>
                    <a:pt x="1749" y="4046"/>
                  </a:lnTo>
                  <a:lnTo>
                    <a:pt x="1771" y="4067"/>
                  </a:lnTo>
                  <a:lnTo>
                    <a:pt x="1780" y="4077"/>
                  </a:lnTo>
                  <a:lnTo>
                    <a:pt x="4533" y="4079"/>
                  </a:lnTo>
                  <a:lnTo>
                    <a:pt x="4516" y="4040"/>
                  </a:lnTo>
                  <a:lnTo>
                    <a:pt x="4511" y="4016"/>
                  </a:lnTo>
                  <a:lnTo>
                    <a:pt x="4532" y="4014"/>
                  </a:lnTo>
                  <a:lnTo>
                    <a:pt x="4572" y="4065"/>
                  </a:lnTo>
                  <a:lnTo>
                    <a:pt x="4583" y="4090"/>
                  </a:lnTo>
                  <a:lnTo>
                    <a:pt x="4605" y="4122"/>
                  </a:lnTo>
                  <a:lnTo>
                    <a:pt x="4642" y="4152"/>
                  </a:lnTo>
                  <a:lnTo>
                    <a:pt x="4665" y="4146"/>
                  </a:lnTo>
                  <a:lnTo>
                    <a:pt x="4728" y="4160"/>
                  </a:lnTo>
                  <a:lnTo>
                    <a:pt x="4729" y="4173"/>
                  </a:lnTo>
                  <a:lnTo>
                    <a:pt x="4741" y="4171"/>
                  </a:lnTo>
                  <a:lnTo>
                    <a:pt x="4756" y="4204"/>
                  </a:lnTo>
                  <a:lnTo>
                    <a:pt x="4761" y="4187"/>
                  </a:lnTo>
                  <a:lnTo>
                    <a:pt x="4783" y="4189"/>
                  </a:lnTo>
                  <a:lnTo>
                    <a:pt x="4795" y="4206"/>
                  </a:lnTo>
                  <a:lnTo>
                    <a:pt x="4815" y="4211"/>
                  </a:lnTo>
                  <a:lnTo>
                    <a:pt x="4818" y="4226"/>
                  </a:lnTo>
                  <a:lnTo>
                    <a:pt x="4840" y="4231"/>
                  </a:lnTo>
                  <a:lnTo>
                    <a:pt x="4876" y="4219"/>
                  </a:lnTo>
                  <a:lnTo>
                    <a:pt x="4893" y="4204"/>
                  </a:lnTo>
                  <a:lnTo>
                    <a:pt x="4909" y="4201"/>
                  </a:lnTo>
                  <a:lnTo>
                    <a:pt x="4912" y="4219"/>
                  </a:lnTo>
                  <a:lnTo>
                    <a:pt x="4920" y="4227"/>
                  </a:lnTo>
                  <a:lnTo>
                    <a:pt x="4958" y="4220"/>
                  </a:lnTo>
                  <a:lnTo>
                    <a:pt x="4979" y="4224"/>
                  </a:lnTo>
                  <a:lnTo>
                    <a:pt x="4994" y="4241"/>
                  </a:lnTo>
                  <a:lnTo>
                    <a:pt x="5018" y="4238"/>
                  </a:lnTo>
                  <a:lnTo>
                    <a:pt x="5049" y="4243"/>
                  </a:lnTo>
                  <a:lnTo>
                    <a:pt x="5114" y="4203"/>
                  </a:lnTo>
                  <a:lnTo>
                    <a:pt x="5150" y="4190"/>
                  </a:lnTo>
                  <a:lnTo>
                    <a:pt x="5403" y="4337"/>
                  </a:lnTo>
                  <a:lnTo>
                    <a:pt x="5498" y="4408"/>
                  </a:lnTo>
                  <a:lnTo>
                    <a:pt x="5502" y="4436"/>
                  </a:lnTo>
                  <a:lnTo>
                    <a:pt x="5523" y="4466"/>
                  </a:lnTo>
                  <a:lnTo>
                    <a:pt x="5550" y="4466"/>
                  </a:lnTo>
                  <a:lnTo>
                    <a:pt x="5559" y="4475"/>
                  </a:lnTo>
                  <a:lnTo>
                    <a:pt x="5567" y="4495"/>
                  </a:lnTo>
                  <a:lnTo>
                    <a:pt x="5607" y="4505"/>
                  </a:lnTo>
                  <a:lnTo>
                    <a:pt x="5621" y="4521"/>
                  </a:lnTo>
                  <a:lnTo>
                    <a:pt x="5616" y="4542"/>
                  </a:lnTo>
                  <a:lnTo>
                    <a:pt x="5628" y="4563"/>
                  </a:lnTo>
                  <a:lnTo>
                    <a:pt x="5739" y="4632"/>
                  </a:lnTo>
                  <a:lnTo>
                    <a:pt x="5777" y="4837"/>
                  </a:lnTo>
                  <a:lnTo>
                    <a:pt x="5780" y="4872"/>
                  </a:lnTo>
                  <a:lnTo>
                    <a:pt x="5779" y="4920"/>
                  </a:lnTo>
                  <a:lnTo>
                    <a:pt x="5736" y="5019"/>
                  </a:lnTo>
                  <a:lnTo>
                    <a:pt x="5688" y="5071"/>
                  </a:lnTo>
                  <a:lnTo>
                    <a:pt x="5686" y="5085"/>
                  </a:lnTo>
                  <a:lnTo>
                    <a:pt x="5686" y="5106"/>
                  </a:lnTo>
                  <a:lnTo>
                    <a:pt x="5703" y="5132"/>
                  </a:lnTo>
                  <a:lnTo>
                    <a:pt x="5725" y="5143"/>
                  </a:lnTo>
                  <a:lnTo>
                    <a:pt x="5750" y="5147"/>
                  </a:lnTo>
                  <a:lnTo>
                    <a:pt x="5774" y="5140"/>
                  </a:lnTo>
                  <a:lnTo>
                    <a:pt x="5855" y="5078"/>
                  </a:lnTo>
                  <a:lnTo>
                    <a:pt x="5894" y="5062"/>
                  </a:lnTo>
                  <a:lnTo>
                    <a:pt x="5977" y="5048"/>
                  </a:lnTo>
                  <a:lnTo>
                    <a:pt x="6041" y="5017"/>
                  </a:lnTo>
                  <a:lnTo>
                    <a:pt x="6079" y="4990"/>
                  </a:lnTo>
                  <a:lnTo>
                    <a:pt x="6078" y="4967"/>
                  </a:lnTo>
                  <a:lnTo>
                    <a:pt x="6070" y="4937"/>
                  </a:lnTo>
                  <a:lnTo>
                    <a:pt x="6070" y="4916"/>
                  </a:lnTo>
                  <a:lnTo>
                    <a:pt x="6076" y="4893"/>
                  </a:lnTo>
                  <a:lnTo>
                    <a:pt x="6098" y="4879"/>
                  </a:lnTo>
                  <a:lnTo>
                    <a:pt x="6139" y="4874"/>
                  </a:lnTo>
                  <a:lnTo>
                    <a:pt x="6246" y="4885"/>
                  </a:lnTo>
                  <a:lnTo>
                    <a:pt x="6297" y="4870"/>
                  </a:lnTo>
                  <a:lnTo>
                    <a:pt x="6316" y="4853"/>
                  </a:lnTo>
                  <a:lnTo>
                    <a:pt x="6329" y="4793"/>
                  </a:lnTo>
                  <a:lnTo>
                    <a:pt x="6353" y="4782"/>
                  </a:lnTo>
                  <a:lnTo>
                    <a:pt x="6497" y="4676"/>
                  </a:lnTo>
                  <a:lnTo>
                    <a:pt x="6769" y="4678"/>
                  </a:lnTo>
                  <a:lnTo>
                    <a:pt x="6816" y="4683"/>
                  </a:lnTo>
                  <a:lnTo>
                    <a:pt x="6823" y="4659"/>
                  </a:lnTo>
                  <a:lnTo>
                    <a:pt x="6840" y="4631"/>
                  </a:lnTo>
                  <a:lnTo>
                    <a:pt x="6858" y="4627"/>
                  </a:lnTo>
                  <a:lnTo>
                    <a:pt x="6909" y="4636"/>
                  </a:lnTo>
                  <a:lnTo>
                    <a:pt x="6958" y="4541"/>
                  </a:lnTo>
                  <a:lnTo>
                    <a:pt x="7008" y="4394"/>
                  </a:lnTo>
                  <a:lnTo>
                    <a:pt x="7032" y="4352"/>
                  </a:lnTo>
                  <a:lnTo>
                    <a:pt x="7059" y="4317"/>
                  </a:lnTo>
                  <a:lnTo>
                    <a:pt x="7072" y="4323"/>
                  </a:lnTo>
                  <a:lnTo>
                    <a:pt x="7095" y="4347"/>
                  </a:lnTo>
                  <a:lnTo>
                    <a:pt x="7111" y="4354"/>
                  </a:lnTo>
                  <a:lnTo>
                    <a:pt x="7129" y="4341"/>
                  </a:lnTo>
                  <a:lnTo>
                    <a:pt x="7163" y="4343"/>
                  </a:lnTo>
                  <a:lnTo>
                    <a:pt x="7186" y="4362"/>
                  </a:lnTo>
                  <a:lnTo>
                    <a:pt x="7192" y="4380"/>
                  </a:lnTo>
                  <a:lnTo>
                    <a:pt x="7206" y="4565"/>
                  </a:lnTo>
                  <a:lnTo>
                    <a:pt x="7203" y="4581"/>
                  </a:lnTo>
                  <a:lnTo>
                    <a:pt x="7229" y="4595"/>
                  </a:lnTo>
                  <a:lnTo>
                    <a:pt x="7239" y="4595"/>
                  </a:lnTo>
                  <a:lnTo>
                    <a:pt x="7241" y="4606"/>
                  </a:lnTo>
                  <a:lnTo>
                    <a:pt x="7235" y="4611"/>
                  </a:lnTo>
                  <a:lnTo>
                    <a:pt x="7236" y="4627"/>
                  </a:lnTo>
                  <a:lnTo>
                    <a:pt x="7227" y="4632"/>
                  </a:lnTo>
                  <a:lnTo>
                    <a:pt x="7235" y="4652"/>
                  </a:lnTo>
                  <a:lnTo>
                    <a:pt x="7243" y="4641"/>
                  </a:lnTo>
                  <a:lnTo>
                    <a:pt x="7260" y="4657"/>
                  </a:lnTo>
                  <a:lnTo>
                    <a:pt x="7265" y="4648"/>
                  </a:lnTo>
                  <a:lnTo>
                    <a:pt x="7310" y="4650"/>
                  </a:lnTo>
                  <a:lnTo>
                    <a:pt x="7318" y="4662"/>
                  </a:lnTo>
                  <a:lnTo>
                    <a:pt x="7354" y="4636"/>
                  </a:lnTo>
                  <a:lnTo>
                    <a:pt x="7343" y="4623"/>
                  </a:lnTo>
                  <a:lnTo>
                    <a:pt x="7354" y="4627"/>
                  </a:lnTo>
                  <a:lnTo>
                    <a:pt x="7371" y="4641"/>
                  </a:lnTo>
                  <a:lnTo>
                    <a:pt x="7383" y="4636"/>
                  </a:lnTo>
                  <a:lnTo>
                    <a:pt x="7470" y="4581"/>
                  </a:lnTo>
                  <a:lnTo>
                    <a:pt x="7485" y="4581"/>
                  </a:lnTo>
                  <a:lnTo>
                    <a:pt x="7499" y="4549"/>
                  </a:lnTo>
                  <a:lnTo>
                    <a:pt x="7486" y="4521"/>
                  </a:lnTo>
                  <a:lnTo>
                    <a:pt x="7509" y="4553"/>
                  </a:lnTo>
                  <a:lnTo>
                    <a:pt x="7504" y="4562"/>
                  </a:lnTo>
                  <a:lnTo>
                    <a:pt x="7527" y="4544"/>
                  </a:lnTo>
                  <a:lnTo>
                    <a:pt x="7529" y="4555"/>
                  </a:lnTo>
                  <a:lnTo>
                    <a:pt x="7519" y="4560"/>
                  </a:lnTo>
                  <a:lnTo>
                    <a:pt x="7515" y="4574"/>
                  </a:lnTo>
                  <a:lnTo>
                    <a:pt x="7466" y="4611"/>
                  </a:lnTo>
                  <a:lnTo>
                    <a:pt x="7465" y="4625"/>
                  </a:lnTo>
                  <a:lnTo>
                    <a:pt x="7486" y="4613"/>
                  </a:lnTo>
                  <a:lnTo>
                    <a:pt x="7499" y="4611"/>
                  </a:lnTo>
                  <a:lnTo>
                    <a:pt x="7535" y="4613"/>
                  </a:lnTo>
                  <a:lnTo>
                    <a:pt x="7554" y="4616"/>
                  </a:lnTo>
                  <a:lnTo>
                    <a:pt x="7581" y="4613"/>
                  </a:lnTo>
                  <a:lnTo>
                    <a:pt x="7609" y="4616"/>
                  </a:lnTo>
                  <a:lnTo>
                    <a:pt x="7617" y="4622"/>
                  </a:lnTo>
                  <a:lnTo>
                    <a:pt x="7608" y="4627"/>
                  </a:lnTo>
                  <a:lnTo>
                    <a:pt x="7599" y="4623"/>
                  </a:lnTo>
                  <a:lnTo>
                    <a:pt x="7566" y="4632"/>
                  </a:lnTo>
                  <a:lnTo>
                    <a:pt x="7538" y="4646"/>
                  </a:lnTo>
                  <a:lnTo>
                    <a:pt x="7541" y="4669"/>
                  </a:lnTo>
                  <a:lnTo>
                    <a:pt x="7529" y="4652"/>
                  </a:lnTo>
                  <a:lnTo>
                    <a:pt x="7522" y="4655"/>
                  </a:lnTo>
                  <a:lnTo>
                    <a:pt x="7525" y="4627"/>
                  </a:lnTo>
                  <a:lnTo>
                    <a:pt x="7510" y="4622"/>
                  </a:lnTo>
                  <a:lnTo>
                    <a:pt x="7384" y="4715"/>
                  </a:lnTo>
                  <a:lnTo>
                    <a:pt x="7395" y="4722"/>
                  </a:lnTo>
                  <a:lnTo>
                    <a:pt x="7387" y="4728"/>
                  </a:lnTo>
                  <a:lnTo>
                    <a:pt x="7380" y="4719"/>
                  </a:lnTo>
                  <a:lnTo>
                    <a:pt x="7339" y="4750"/>
                  </a:lnTo>
                  <a:lnTo>
                    <a:pt x="7343" y="4758"/>
                  </a:lnTo>
                  <a:lnTo>
                    <a:pt x="7359" y="4742"/>
                  </a:lnTo>
                  <a:lnTo>
                    <a:pt x="7375" y="4733"/>
                  </a:lnTo>
                  <a:lnTo>
                    <a:pt x="7374" y="4742"/>
                  </a:lnTo>
                  <a:lnTo>
                    <a:pt x="7360" y="4750"/>
                  </a:lnTo>
                  <a:lnTo>
                    <a:pt x="7341" y="4802"/>
                  </a:lnTo>
                  <a:lnTo>
                    <a:pt x="7359" y="4856"/>
                  </a:lnTo>
                  <a:lnTo>
                    <a:pt x="7364" y="4840"/>
                  </a:lnTo>
                  <a:lnTo>
                    <a:pt x="7387" y="4885"/>
                  </a:lnTo>
                  <a:lnTo>
                    <a:pt x="7402" y="4876"/>
                  </a:lnTo>
                  <a:lnTo>
                    <a:pt x="7411" y="4890"/>
                  </a:lnTo>
                  <a:lnTo>
                    <a:pt x="7415" y="4870"/>
                  </a:lnTo>
                  <a:lnTo>
                    <a:pt x="7425" y="4856"/>
                  </a:lnTo>
                  <a:lnTo>
                    <a:pt x="7433" y="4863"/>
                  </a:lnTo>
                  <a:lnTo>
                    <a:pt x="7436" y="4855"/>
                  </a:lnTo>
                  <a:lnTo>
                    <a:pt x="7441" y="4855"/>
                  </a:lnTo>
                  <a:lnTo>
                    <a:pt x="7448" y="4860"/>
                  </a:lnTo>
                  <a:lnTo>
                    <a:pt x="7458" y="4856"/>
                  </a:lnTo>
                  <a:lnTo>
                    <a:pt x="7453" y="4839"/>
                  </a:lnTo>
                  <a:lnTo>
                    <a:pt x="7460" y="4846"/>
                  </a:lnTo>
                  <a:lnTo>
                    <a:pt x="7470" y="4840"/>
                  </a:lnTo>
                  <a:lnTo>
                    <a:pt x="7465" y="4830"/>
                  </a:lnTo>
                  <a:lnTo>
                    <a:pt x="7473" y="4839"/>
                  </a:lnTo>
                  <a:lnTo>
                    <a:pt x="7473" y="4825"/>
                  </a:lnTo>
                  <a:lnTo>
                    <a:pt x="7480" y="4821"/>
                  </a:lnTo>
                  <a:lnTo>
                    <a:pt x="7490" y="4812"/>
                  </a:lnTo>
                  <a:lnTo>
                    <a:pt x="7486" y="4803"/>
                  </a:lnTo>
                  <a:lnTo>
                    <a:pt x="7521" y="4773"/>
                  </a:lnTo>
                  <a:lnTo>
                    <a:pt x="7527" y="4777"/>
                  </a:lnTo>
                  <a:lnTo>
                    <a:pt x="7532" y="4770"/>
                  </a:lnTo>
                  <a:lnTo>
                    <a:pt x="7531" y="4756"/>
                  </a:lnTo>
                  <a:lnTo>
                    <a:pt x="7517" y="4750"/>
                  </a:lnTo>
                  <a:lnTo>
                    <a:pt x="7526" y="4749"/>
                  </a:lnTo>
                  <a:lnTo>
                    <a:pt x="7525" y="4733"/>
                  </a:lnTo>
                  <a:lnTo>
                    <a:pt x="7541" y="4731"/>
                  </a:lnTo>
                  <a:lnTo>
                    <a:pt x="7547" y="4747"/>
                  </a:lnTo>
                  <a:lnTo>
                    <a:pt x="7556" y="4740"/>
                  </a:lnTo>
                  <a:lnTo>
                    <a:pt x="7566" y="4717"/>
                  </a:lnTo>
                  <a:lnTo>
                    <a:pt x="7564" y="4740"/>
                  </a:lnTo>
                  <a:lnTo>
                    <a:pt x="7572" y="4742"/>
                  </a:lnTo>
                  <a:lnTo>
                    <a:pt x="7575" y="4747"/>
                  </a:lnTo>
                  <a:lnTo>
                    <a:pt x="7599" y="4747"/>
                  </a:lnTo>
                  <a:lnTo>
                    <a:pt x="7601" y="4736"/>
                  </a:lnTo>
                  <a:lnTo>
                    <a:pt x="7612" y="4731"/>
                  </a:lnTo>
                  <a:lnTo>
                    <a:pt x="7615" y="4713"/>
                  </a:lnTo>
                  <a:lnTo>
                    <a:pt x="7623" y="4726"/>
                  </a:lnTo>
                  <a:lnTo>
                    <a:pt x="7630" y="4708"/>
                  </a:lnTo>
                  <a:lnTo>
                    <a:pt x="7642" y="4703"/>
                  </a:lnTo>
                  <a:lnTo>
                    <a:pt x="7648" y="4719"/>
                  </a:lnTo>
                  <a:lnTo>
                    <a:pt x="7671" y="4710"/>
                  </a:lnTo>
                  <a:lnTo>
                    <a:pt x="7673" y="4706"/>
                  </a:lnTo>
                  <a:lnTo>
                    <a:pt x="7704" y="4689"/>
                  </a:lnTo>
                  <a:lnTo>
                    <a:pt x="7709" y="4696"/>
                  </a:lnTo>
                  <a:lnTo>
                    <a:pt x="7725" y="4680"/>
                  </a:lnTo>
                  <a:lnTo>
                    <a:pt x="7744" y="4676"/>
                  </a:lnTo>
                  <a:lnTo>
                    <a:pt x="7750" y="4668"/>
                  </a:lnTo>
                  <a:lnTo>
                    <a:pt x="7769" y="4666"/>
                  </a:lnTo>
                  <a:lnTo>
                    <a:pt x="7768" y="4659"/>
                  </a:lnTo>
                  <a:lnTo>
                    <a:pt x="7787" y="4657"/>
                  </a:lnTo>
                  <a:lnTo>
                    <a:pt x="7783" y="4646"/>
                  </a:lnTo>
                  <a:lnTo>
                    <a:pt x="7793" y="4650"/>
                  </a:lnTo>
                  <a:lnTo>
                    <a:pt x="7816" y="4650"/>
                  </a:lnTo>
                  <a:lnTo>
                    <a:pt x="7809" y="4643"/>
                  </a:lnTo>
                  <a:lnTo>
                    <a:pt x="7822" y="4634"/>
                  </a:lnTo>
                  <a:lnTo>
                    <a:pt x="7830" y="4643"/>
                  </a:lnTo>
                  <a:lnTo>
                    <a:pt x="7854" y="4634"/>
                  </a:lnTo>
                  <a:lnTo>
                    <a:pt x="7846" y="4623"/>
                  </a:lnTo>
                  <a:lnTo>
                    <a:pt x="7809" y="4622"/>
                  </a:lnTo>
                  <a:lnTo>
                    <a:pt x="7805" y="4615"/>
                  </a:lnTo>
                  <a:lnTo>
                    <a:pt x="7824" y="4597"/>
                  </a:lnTo>
                  <a:lnTo>
                    <a:pt x="7801" y="4571"/>
                  </a:lnTo>
                  <a:lnTo>
                    <a:pt x="7779" y="4578"/>
                  </a:lnTo>
                  <a:lnTo>
                    <a:pt x="7762" y="4567"/>
                  </a:lnTo>
                  <a:lnTo>
                    <a:pt x="7758" y="4544"/>
                  </a:lnTo>
                  <a:lnTo>
                    <a:pt x="7744" y="4549"/>
                  </a:lnTo>
                  <a:lnTo>
                    <a:pt x="7713" y="4572"/>
                  </a:lnTo>
                  <a:lnTo>
                    <a:pt x="7702" y="4574"/>
                  </a:lnTo>
                  <a:lnTo>
                    <a:pt x="7690" y="4572"/>
                  </a:lnTo>
                  <a:lnTo>
                    <a:pt x="7681" y="4579"/>
                  </a:lnTo>
                  <a:lnTo>
                    <a:pt x="7689" y="4565"/>
                  </a:lnTo>
                  <a:lnTo>
                    <a:pt x="7679" y="4558"/>
                  </a:lnTo>
                  <a:lnTo>
                    <a:pt x="7642" y="4555"/>
                  </a:lnTo>
                  <a:lnTo>
                    <a:pt x="7645" y="4562"/>
                  </a:lnTo>
                  <a:lnTo>
                    <a:pt x="7625" y="4563"/>
                  </a:lnTo>
                  <a:lnTo>
                    <a:pt x="7620" y="4553"/>
                  </a:lnTo>
                  <a:lnTo>
                    <a:pt x="7611" y="4553"/>
                  </a:lnTo>
                  <a:lnTo>
                    <a:pt x="7605" y="4546"/>
                  </a:lnTo>
                  <a:lnTo>
                    <a:pt x="7580" y="4549"/>
                  </a:lnTo>
                  <a:lnTo>
                    <a:pt x="7571" y="4535"/>
                  </a:lnTo>
                  <a:lnTo>
                    <a:pt x="7547" y="4525"/>
                  </a:lnTo>
                  <a:lnTo>
                    <a:pt x="7550" y="4516"/>
                  </a:lnTo>
                  <a:lnTo>
                    <a:pt x="7566" y="4518"/>
                  </a:lnTo>
                  <a:lnTo>
                    <a:pt x="7580" y="4509"/>
                  </a:lnTo>
                  <a:lnTo>
                    <a:pt x="7547" y="4498"/>
                  </a:lnTo>
                  <a:lnTo>
                    <a:pt x="7546" y="4504"/>
                  </a:lnTo>
                  <a:lnTo>
                    <a:pt x="7539" y="4496"/>
                  </a:lnTo>
                  <a:lnTo>
                    <a:pt x="7502" y="4493"/>
                  </a:lnTo>
                  <a:lnTo>
                    <a:pt x="7502" y="4484"/>
                  </a:lnTo>
                  <a:lnTo>
                    <a:pt x="7486" y="4452"/>
                  </a:lnTo>
                  <a:lnTo>
                    <a:pt x="7485" y="4440"/>
                  </a:lnTo>
                  <a:lnTo>
                    <a:pt x="7488" y="4431"/>
                  </a:lnTo>
                  <a:lnTo>
                    <a:pt x="7477" y="4422"/>
                  </a:lnTo>
                  <a:lnTo>
                    <a:pt x="7472" y="4428"/>
                  </a:lnTo>
                  <a:lnTo>
                    <a:pt x="7466" y="4399"/>
                  </a:lnTo>
                  <a:lnTo>
                    <a:pt x="7476" y="4380"/>
                  </a:lnTo>
                  <a:lnTo>
                    <a:pt x="7473" y="4368"/>
                  </a:lnTo>
                  <a:lnTo>
                    <a:pt x="7420" y="4368"/>
                  </a:lnTo>
                  <a:lnTo>
                    <a:pt x="7460" y="4337"/>
                  </a:lnTo>
                  <a:lnTo>
                    <a:pt x="7462" y="4321"/>
                  </a:lnTo>
                  <a:lnTo>
                    <a:pt x="7470" y="4321"/>
                  </a:lnTo>
                  <a:lnTo>
                    <a:pt x="7464" y="4303"/>
                  </a:lnTo>
                  <a:lnTo>
                    <a:pt x="7474" y="4286"/>
                  </a:lnTo>
                  <a:lnTo>
                    <a:pt x="7490" y="4270"/>
                  </a:lnTo>
                  <a:lnTo>
                    <a:pt x="7474" y="4259"/>
                  </a:lnTo>
                  <a:lnTo>
                    <a:pt x="7453" y="4270"/>
                  </a:lnTo>
                  <a:lnTo>
                    <a:pt x="7453" y="4256"/>
                  </a:lnTo>
                  <a:lnTo>
                    <a:pt x="7397" y="4287"/>
                  </a:lnTo>
                  <a:lnTo>
                    <a:pt x="7383" y="4250"/>
                  </a:lnTo>
                  <a:lnTo>
                    <a:pt x="7375" y="4243"/>
                  </a:lnTo>
                  <a:lnTo>
                    <a:pt x="7325" y="4227"/>
                  </a:lnTo>
                  <a:lnTo>
                    <a:pt x="7313" y="4222"/>
                  </a:lnTo>
                  <a:lnTo>
                    <a:pt x="7341" y="4210"/>
                  </a:lnTo>
                  <a:lnTo>
                    <a:pt x="7374" y="4206"/>
                  </a:lnTo>
                  <a:lnTo>
                    <a:pt x="7411" y="4222"/>
                  </a:lnTo>
                  <a:lnTo>
                    <a:pt x="7436" y="4219"/>
                  </a:lnTo>
                  <a:lnTo>
                    <a:pt x="7470" y="4189"/>
                  </a:lnTo>
                  <a:lnTo>
                    <a:pt x="7515" y="4169"/>
                  </a:lnTo>
                  <a:lnTo>
                    <a:pt x="7531" y="4155"/>
                  </a:lnTo>
                  <a:lnTo>
                    <a:pt x="7537" y="4139"/>
                  </a:lnTo>
                  <a:lnTo>
                    <a:pt x="7529" y="4107"/>
                  </a:lnTo>
                  <a:lnTo>
                    <a:pt x="7523" y="4095"/>
                  </a:lnTo>
                  <a:lnTo>
                    <a:pt x="7501" y="4076"/>
                  </a:lnTo>
                  <a:lnTo>
                    <a:pt x="7461" y="4056"/>
                  </a:lnTo>
                  <a:lnTo>
                    <a:pt x="7421" y="4053"/>
                  </a:lnTo>
                  <a:lnTo>
                    <a:pt x="7355" y="4062"/>
                  </a:lnTo>
                  <a:lnTo>
                    <a:pt x="7129" y="4155"/>
                  </a:lnTo>
                  <a:lnTo>
                    <a:pt x="7040" y="4219"/>
                  </a:lnTo>
                  <a:lnTo>
                    <a:pt x="6991" y="4271"/>
                  </a:lnTo>
                  <a:lnTo>
                    <a:pt x="6945" y="4335"/>
                  </a:lnTo>
                  <a:lnTo>
                    <a:pt x="6914" y="4368"/>
                  </a:lnTo>
                  <a:lnTo>
                    <a:pt x="6897" y="4377"/>
                  </a:lnTo>
                  <a:lnTo>
                    <a:pt x="6865" y="4424"/>
                  </a:lnTo>
                  <a:lnTo>
                    <a:pt x="6888" y="4361"/>
                  </a:lnTo>
                  <a:lnTo>
                    <a:pt x="6908" y="4321"/>
                  </a:lnTo>
                  <a:lnTo>
                    <a:pt x="6926" y="4303"/>
                  </a:lnTo>
                  <a:lnTo>
                    <a:pt x="6987" y="4208"/>
                  </a:lnTo>
                  <a:lnTo>
                    <a:pt x="7000" y="4194"/>
                  </a:lnTo>
                  <a:lnTo>
                    <a:pt x="7015" y="4169"/>
                  </a:lnTo>
                  <a:lnTo>
                    <a:pt x="7084" y="4092"/>
                  </a:lnTo>
                  <a:lnTo>
                    <a:pt x="7133" y="4053"/>
                  </a:lnTo>
                  <a:lnTo>
                    <a:pt x="7157" y="4044"/>
                  </a:lnTo>
                  <a:lnTo>
                    <a:pt x="7203" y="4037"/>
                  </a:lnTo>
                  <a:lnTo>
                    <a:pt x="7229" y="4023"/>
                  </a:lnTo>
                  <a:lnTo>
                    <a:pt x="7243" y="4000"/>
                  </a:lnTo>
                  <a:lnTo>
                    <a:pt x="7252" y="3963"/>
                  </a:lnTo>
                  <a:lnTo>
                    <a:pt x="7276" y="3922"/>
                  </a:lnTo>
                  <a:lnTo>
                    <a:pt x="7298" y="3903"/>
                  </a:lnTo>
                  <a:lnTo>
                    <a:pt x="7322" y="3889"/>
                  </a:lnTo>
                  <a:lnTo>
                    <a:pt x="7400" y="3880"/>
                  </a:lnTo>
                  <a:lnTo>
                    <a:pt x="7569" y="3890"/>
                  </a:lnTo>
                  <a:lnTo>
                    <a:pt x="7633" y="3883"/>
                  </a:lnTo>
                  <a:lnTo>
                    <a:pt x="7785" y="3894"/>
                  </a:lnTo>
                  <a:lnTo>
                    <a:pt x="7934" y="3873"/>
                  </a:lnTo>
                  <a:lnTo>
                    <a:pt x="7976" y="3857"/>
                  </a:lnTo>
                  <a:lnTo>
                    <a:pt x="8002" y="3838"/>
                  </a:lnTo>
                  <a:lnTo>
                    <a:pt x="8032" y="3808"/>
                  </a:lnTo>
                  <a:lnTo>
                    <a:pt x="8092" y="3725"/>
                  </a:lnTo>
                  <a:lnTo>
                    <a:pt x="8161" y="3719"/>
                  </a:lnTo>
                  <a:lnTo>
                    <a:pt x="8196" y="3711"/>
                  </a:lnTo>
                  <a:lnTo>
                    <a:pt x="8245" y="3707"/>
                  </a:lnTo>
                  <a:lnTo>
                    <a:pt x="8274" y="3688"/>
                  </a:lnTo>
                  <a:lnTo>
                    <a:pt x="8323" y="3644"/>
                  </a:lnTo>
                  <a:lnTo>
                    <a:pt x="8356" y="3623"/>
                  </a:lnTo>
                  <a:lnTo>
                    <a:pt x="8373" y="3597"/>
                  </a:lnTo>
                  <a:lnTo>
                    <a:pt x="8328" y="3531"/>
                  </a:lnTo>
                  <a:lnTo>
                    <a:pt x="8346" y="3500"/>
                  </a:lnTo>
                  <a:lnTo>
                    <a:pt x="8349" y="3475"/>
                  </a:lnTo>
                  <a:lnTo>
                    <a:pt x="8362" y="3445"/>
                  </a:lnTo>
                  <a:lnTo>
                    <a:pt x="8361" y="3433"/>
                  </a:lnTo>
                  <a:lnTo>
                    <a:pt x="8351" y="3413"/>
                  </a:lnTo>
                  <a:lnTo>
                    <a:pt x="8304" y="3380"/>
                  </a:lnTo>
                  <a:lnTo>
                    <a:pt x="8276" y="3366"/>
                  </a:lnTo>
                  <a:lnTo>
                    <a:pt x="8229" y="3394"/>
                  </a:lnTo>
                  <a:lnTo>
                    <a:pt x="8216" y="3373"/>
                  </a:lnTo>
                  <a:lnTo>
                    <a:pt x="8214" y="3364"/>
                  </a:lnTo>
                  <a:lnTo>
                    <a:pt x="8230" y="3332"/>
                  </a:lnTo>
                  <a:lnTo>
                    <a:pt x="8216" y="3307"/>
                  </a:lnTo>
                  <a:lnTo>
                    <a:pt x="8186" y="3290"/>
                  </a:lnTo>
                  <a:lnTo>
                    <a:pt x="8136" y="3297"/>
                  </a:lnTo>
                  <a:lnTo>
                    <a:pt x="8081" y="3332"/>
                  </a:lnTo>
                  <a:lnTo>
                    <a:pt x="8027" y="3387"/>
                  </a:lnTo>
                  <a:lnTo>
                    <a:pt x="7976" y="3401"/>
                  </a:lnTo>
                  <a:lnTo>
                    <a:pt x="7923" y="3426"/>
                  </a:lnTo>
                  <a:lnTo>
                    <a:pt x="7935" y="3387"/>
                  </a:lnTo>
                  <a:lnTo>
                    <a:pt x="7934" y="3360"/>
                  </a:lnTo>
                  <a:lnTo>
                    <a:pt x="7948" y="3341"/>
                  </a:lnTo>
                  <a:lnTo>
                    <a:pt x="7960" y="3336"/>
                  </a:lnTo>
                  <a:lnTo>
                    <a:pt x="8006" y="3332"/>
                  </a:lnTo>
                  <a:lnTo>
                    <a:pt x="8034" y="3316"/>
                  </a:lnTo>
                  <a:lnTo>
                    <a:pt x="8059" y="3286"/>
                  </a:lnTo>
                  <a:lnTo>
                    <a:pt x="8097" y="3269"/>
                  </a:lnTo>
                  <a:lnTo>
                    <a:pt x="8127" y="3267"/>
                  </a:lnTo>
                  <a:lnTo>
                    <a:pt x="8190" y="3235"/>
                  </a:lnTo>
                  <a:lnTo>
                    <a:pt x="8200" y="3217"/>
                  </a:lnTo>
                  <a:lnTo>
                    <a:pt x="8088" y="3186"/>
                  </a:lnTo>
                  <a:lnTo>
                    <a:pt x="8013" y="3136"/>
                  </a:lnTo>
                  <a:lnTo>
                    <a:pt x="7977" y="3124"/>
                  </a:lnTo>
                  <a:lnTo>
                    <a:pt x="7943" y="3129"/>
                  </a:lnTo>
                  <a:lnTo>
                    <a:pt x="7914" y="3142"/>
                  </a:lnTo>
                  <a:lnTo>
                    <a:pt x="7891" y="3138"/>
                  </a:lnTo>
                  <a:lnTo>
                    <a:pt x="7910" y="3080"/>
                  </a:lnTo>
                  <a:lnTo>
                    <a:pt x="7911" y="3066"/>
                  </a:lnTo>
                  <a:lnTo>
                    <a:pt x="7902" y="3043"/>
                  </a:lnTo>
                  <a:lnTo>
                    <a:pt x="7824" y="2974"/>
                  </a:lnTo>
                  <a:lnTo>
                    <a:pt x="7805" y="2960"/>
                  </a:lnTo>
                  <a:lnTo>
                    <a:pt x="7776" y="2958"/>
                  </a:lnTo>
                  <a:lnTo>
                    <a:pt x="7758" y="2940"/>
                  </a:lnTo>
                  <a:lnTo>
                    <a:pt x="7744" y="2902"/>
                  </a:lnTo>
                  <a:lnTo>
                    <a:pt x="7735" y="2885"/>
                  </a:lnTo>
                  <a:lnTo>
                    <a:pt x="7723" y="2871"/>
                  </a:lnTo>
                  <a:lnTo>
                    <a:pt x="7719" y="2858"/>
                  </a:lnTo>
                  <a:lnTo>
                    <a:pt x="7734" y="2853"/>
                  </a:lnTo>
                  <a:lnTo>
                    <a:pt x="7767" y="2862"/>
                  </a:lnTo>
                  <a:lnTo>
                    <a:pt x="7796" y="2865"/>
                  </a:lnTo>
                  <a:lnTo>
                    <a:pt x="7813" y="2857"/>
                  </a:lnTo>
                  <a:lnTo>
                    <a:pt x="7817" y="2851"/>
                  </a:lnTo>
                  <a:lnTo>
                    <a:pt x="7816" y="2820"/>
                  </a:lnTo>
                  <a:lnTo>
                    <a:pt x="7801" y="2802"/>
                  </a:lnTo>
                  <a:lnTo>
                    <a:pt x="7768" y="2788"/>
                  </a:lnTo>
                  <a:lnTo>
                    <a:pt x="7732" y="2745"/>
                  </a:lnTo>
                  <a:lnTo>
                    <a:pt x="7751" y="2733"/>
                  </a:lnTo>
                  <a:lnTo>
                    <a:pt x="7768" y="2726"/>
                  </a:lnTo>
                  <a:lnTo>
                    <a:pt x="7762" y="2698"/>
                  </a:lnTo>
                  <a:lnTo>
                    <a:pt x="7750" y="2678"/>
                  </a:lnTo>
                  <a:lnTo>
                    <a:pt x="7718" y="2668"/>
                  </a:lnTo>
                  <a:lnTo>
                    <a:pt x="7702" y="2659"/>
                  </a:lnTo>
                  <a:lnTo>
                    <a:pt x="7695" y="2645"/>
                  </a:lnTo>
                  <a:lnTo>
                    <a:pt x="7679" y="2585"/>
                  </a:lnTo>
                  <a:lnTo>
                    <a:pt x="7653" y="2588"/>
                  </a:lnTo>
                  <a:lnTo>
                    <a:pt x="7649" y="2562"/>
                  </a:lnTo>
                  <a:lnTo>
                    <a:pt x="7664" y="2539"/>
                  </a:lnTo>
                  <a:lnTo>
                    <a:pt x="7652" y="2513"/>
                  </a:lnTo>
                  <a:lnTo>
                    <a:pt x="7607" y="2454"/>
                  </a:lnTo>
                  <a:lnTo>
                    <a:pt x="7580" y="2393"/>
                  </a:lnTo>
                  <a:lnTo>
                    <a:pt x="7546" y="2352"/>
                  </a:lnTo>
                  <a:lnTo>
                    <a:pt x="7519" y="2306"/>
                  </a:lnTo>
                  <a:lnTo>
                    <a:pt x="7489" y="2276"/>
                  </a:lnTo>
                  <a:lnTo>
                    <a:pt x="7466" y="2329"/>
                  </a:lnTo>
                  <a:lnTo>
                    <a:pt x="7458" y="2340"/>
                  </a:lnTo>
                  <a:lnTo>
                    <a:pt x="7415" y="2347"/>
                  </a:lnTo>
                  <a:lnTo>
                    <a:pt x="7403" y="2357"/>
                  </a:lnTo>
                  <a:lnTo>
                    <a:pt x="7403" y="2382"/>
                  </a:lnTo>
                  <a:lnTo>
                    <a:pt x="7432" y="2421"/>
                  </a:lnTo>
                  <a:lnTo>
                    <a:pt x="7408" y="2451"/>
                  </a:lnTo>
                  <a:lnTo>
                    <a:pt x="7387" y="2470"/>
                  </a:lnTo>
                  <a:lnTo>
                    <a:pt x="7372" y="2516"/>
                  </a:lnTo>
                  <a:lnTo>
                    <a:pt x="7367" y="2574"/>
                  </a:lnTo>
                  <a:lnTo>
                    <a:pt x="7366" y="2580"/>
                  </a:lnTo>
                  <a:lnTo>
                    <a:pt x="7335" y="2525"/>
                  </a:lnTo>
                  <a:lnTo>
                    <a:pt x="7326" y="2514"/>
                  </a:lnTo>
                  <a:lnTo>
                    <a:pt x="7313" y="2514"/>
                  </a:lnTo>
                  <a:lnTo>
                    <a:pt x="7298" y="2557"/>
                  </a:lnTo>
                  <a:lnTo>
                    <a:pt x="7278" y="2585"/>
                  </a:lnTo>
                  <a:lnTo>
                    <a:pt x="7251" y="2599"/>
                  </a:lnTo>
                  <a:lnTo>
                    <a:pt x="7199" y="2606"/>
                  </a:lnTo>
                  <a:lnTo>
                    <a:pt x="7186" y="2610"/>
                  </a:lnTo>
                  <a:lnTo>
                    <a:pt x="7163" y="2624"/>
                  </a:lnTo>
                  <a:lnTo>
                    <a:pt x="7150" y="2599"/>
                  </a:lnTo>
                  <a:lnTo>
                    <a:pt x="7154" y="2590"/>
                  </a:lnTo>
                  <a:lnTo>
                    <a:pt x="7154" y="2569"/>
                  </a:lnTo>
                  <a:lnTo>
                    <a:pt x="7137" y="2543"/>
                  </a:lnTo>
                  <a:lnTo>
                    <a:pt x="7106" y="2518"/>
                  </a:lnTo>
                  <a:lnTo>
                    <a:pt x="7095" y="2516"/>
                  </a:lnTo>
                  <a:lnTo>
                    <a:pt x="7044" y="2525"/>
                  </a:lnTo>
                  <a:lnTo>
                    <a:pt x="6994" y="2557"/>
                  </a:lnTo>
                  <a:lnTo>
                    <a:pt x="6978" y="2536"/>
                  </a:lnTo>
                  <a:lnTo>
                    <a:pt x="6983" y="2483"/>
                  </a:lnTo>
                  <a:lnTo>
                    <a:pt x="7018" y="2486"/>
                  </a:lnTo>
                  <a:lnTo>
                    <a:pt x="7030" y="2472"/>
                  </a:lnTo>
                  <a:lnTo>
                    <a:pt x="7031" y="2446"/>
                  </a:lnTo>
                  <a:lnTo>
                    <a:pt x="7020" y="2412"/>
                  </a:lnTo>
                  <a:lnTo>
                    <a:pt x="6995" y="2252"/>
                  </a:lnTo>
                  <a:lnTo>
                    <a:pt x="7002" y="2215"/>
                  </a:lnTo>
                  <a:lnTo>
                    <a:pt x="7027" y="2189"/>
                  </a:lnTo>
                  <a:lnTo>
                    <a:pt x="7027" y="2157"/>
                  </a:lnTo>
                  <a:lnTo>
                    <a:pt x="7012" y="2132"/>
                  </a:lnTo>
                  <a:lnTo>
                    <a:pt x="6995" y="2150"/>
                  </a:lnTo>
                  <a:lnTo>
                    <a:pt x="6965" y="2152"/>
                  </a:lnTo>
                  <a:lnTo>
                    <a:pt x="6877" y="2124"/>
                  </a:lnTo>
                  <a:lnTo>
                    <a:pt x="6803" y="2085"/>
                  </a:lnTo>
                  <a:lnTo>
                    <a:pt x="6785" y="2065"/>
                  </a:lnTo>
                  <a:lnTo>
                    <a:pt x="6798" y="2034"/>
                  </a:lnTo>
                  <a:lnTo>
                    <a:pt x="6762" y="1998"/>
                  </a:lnTo>
                  <a:lnTo>
                    <a:pt x="6723" y="1968"/>
                  </a:lnTo>
                  <a:lnTo>
                    <a:pt x="6679" y="1921"/>
                  </a:lnTo>
                  <a:lnTo>
                    <a:pt x="6634" y="1889"/>
                  </a:lnTo>
                  <a:lnTo>
                    <a:pt x="6609" y="1882"/>
                  </a:lnTo>
                  <a:lnTo>
                    <a:pt x="6599" y="1887"/>
                  </a:lnTo>
                  <a:lnTo>
                    <a:pt x="6552" y="1908"/>
                  </a:lnTo>
                  <a:lnTo>
                    <a:pt x="6505" y="1921"/>
                  </a:lnTo>
                  <a:lnTo>
                    <a:pt x="6441" y="1919"/>
                  </a:lnTo>
                  <a:lnTo>
                    <a:pt x="6409" y="1914"/>
                  </a:lnTo>
                  <a:lnTo>
                    <a:pt x="6281" y="1864"/>
                  </a:lnTo>
                  <a:lnTo>
                    <a:pt x="6246" y="1859"/>
                  </a:lnTo>
                  <a:lnTo>
                    <a:pt x="6221" y="1875"/>
                  </a:lnTo>
                  <a:lnTo>
                    <a:pt x="6194" y="1900"/>
                  </a:lnTo>
                  <a:lnTo>
                    <a:pt x="6181" y="1935"/>
                  </a:lnTo>
                  <a:lnTo>
                    <a:pt x="6184" y="1977"/>
                  </a:lnTo>
                  <a:lnTo>
                    <a:pt x="6194" y="2000"/>
                  </a:lnTo>
                  <a:lnTo>
                    <a:pt x="6222" y="2021"/>
                  </a:lnTo>
                  <a:lnTo>
                    <a:pt x="6235" y="2037"/>
                  </a:lnTo>
                  <a:lnTo>
                    <a:pt x="6235" y="2048"/>
                  </a:lnTo>
                  <a:lnTo>
                    <a:pt x="6213" y="2104"/>
                  </a:lnTo>
                  <a:lnTo>
                    <a:pt x="6165" y="2177"/>
                  </a:lnTo>
                  <a:lnTo>
                    <a:pt x="6242" y="2185"/>
                  </a:lnTo>
                  <a:lnTo>
                    <a:pt x="6242" y="2206"/>
                  </a:lnTo>
                  <a:lnTo>
                    <a:pt x="6230" y="2236"/>
                  </a:lnTo>
                  <a:lnTo>
                    <a:pt x="6232" y="2252"/>
                  </a:lnTo>
                  <a:lnTo>
                    <a:pt x="6247" y="2283"/>
                  </a:lnTo>
                  <a:lnTo>
                    <a:pt x="6254" y="2312"/>
                  </a:lnTo>
                  <a:lnTo>
                    <a:pt x="6259" y="2352"/>
                  </a:lnTo>
                  <a:lnTo>
                    <a:pt x="6247" y="2373"/>
                  </a:lnTo>
                  <a:lnTo>
                    <a:pt x="6226" y="2375"/>
                  </a:lnTo>
                  <a:lnTo>
                    <a:pt x="6216" y="2382"/>
                  </a:lnTo>
                  <a:lnTo>
                    <a:pt x="6179" y="2483"/>
                  </a:lnTo>
                  <a:lnTo>
                    <a:pt x="6140" y="2523"/>
                  </a:lnTo>
                  <a:lnTo>
                    <a:pt x="6136" y="2530"/>
                  </a:lnTo>
                  <a:lnTo>
                    <a:pt x="6149" y="2559"/>
                  </a:lnTo>
                  <a:lnTo>
                    <a:pt x="6156" y="2562"/>
                  </a:lnTo>
                  <a:lnTo>
                    <a:pt x="6176" y="2581"/>
                  </a:lnTo>
                  <a:lnTo>
                    <a:pt x="6192" y="2592"/>
                  </a:lnTo>
                  <a:lnTo>
                    <a:pt x="6241" y="2633"/>
                  </a:lnTo>
                  <a:lnTo>
                    <a:pt x="6262" y="2654"/>
                  </a:lnTo>
                  <a:lnTo>
                    <a:pt x="6303" y="2708"/>
                  </a:lnTo>
                  <a:lnTo>
                    <a:pt x="6313" y="2733"/>
                  </a:lnTo>
                  <a:lnTo>
                    <a:pt x="6324" y="2772"/>
                  </a:lnTo>
                  <a:lnTo>
                    <a:pt x="6336" y="2851"/>
                  </a:lnTo>
                  <a:lnTo>
                    <a:pt x="6333" y="2890"/>
                  </a:lnTo>
                  <a:lnTo>
                    <a:pt x="6323" y="2940"/>
                  </a:lnTo>
                  <a:lnTo>
                    <a:pt x="6303" y="2981"/>
                  </a:lnTo>
                  <a:lnTo>
                    <a:pt x="6258" y="3050"/>
                  </a:lnTo>
                  <a:lnTo>
                    <a:pt x="6124" y="3163"/>
                  </a:lnTo>
                  <a:lnTo>
                    <a:pt x="6030" y="3200"/>
                  </a:lnTo>
                  <a:lnTo>
                    <a:pt x="6045" y="3267"/>
                  </a:lnTo>
                  <a:lnTo>
                    <a:pt x="6062" y="3286"/>
                  </a:lnTo>
                  <a:lnTo>
                    <a:pt x="6091" y="3299"/>
                  </a:lnTo>
                  <a:lnTo>
                    <a:pt x="6103" y="3316"/>
                  </a:lnTo>
                  <a:lnTo>
                    <a:pt x="6107" y="3351"/>
                  </a:lnTo>
                  <a:lnTo>
                    <a:pt x="6081" y="3351"/>
                  </a:lnTo>
                  <a:lnTo>
                    <a:pt x="6100" y="3426"/>
                  </a:lnTo>
                  <a:lnTo>
                    <a:pt x="6100" y="3464"/>
                  </a:lnTo>
                  <a:lnTo>
                    <a:pt x="6111" y="3517"/>
                  </a:lnTo>
                  <a:lnTo>
                    <a:pt x="6127" y="3551"/>
                  </a:lnTo>
                  <a:lnTo>
                    <a:pt x="6135" y="3586"/>
                  </a:lnTo>
                  <a:lnTo>
                    <a:pt x="6128" y="3625"/>
                  </a:lnTo>
                  <a:lnTo>
                    <a:pt x="6104" y="3663"/>
                  </a:lnTo>
                  <a:lnTo>
                    <a:pt x="6114" y="3695"/>
                  </a:lnTo>
                  <a:lnTo>
                    <a:pt x="6108" y="3733"/>
                  </a:lnTo>
                  <a:lnTo>
                    <a:pt x="6102" y="3758"/>
                  </a:lnTo>
                  <a:lnTo>
                    <a:pt x="6074" y="3702"/>
                  </a:lnTo>
                  <a:lnTo>
                    <a:pt x="6057" y="3689"/>
                  </a:lnTo>
                  <a:lnTo>
                    <a:pt x="6032" y="3718"/>
                  </a:lnTo>
                  <a:lnTo>
                    <a:pt x="6026" y="3742"/>
                  </a:lnTo>
                  <a:lnTo>
                    <a:pt x="6037" y="3762"/>
                  </a:lnTo>
                  <a:lnTo>
                    <a:pt x="6051" y="3808"/>
                  </a:lnTo>
                  <a:lnTo>
                    <a:pt x="5979" y="3737"/>
                  </a:lnTo>
                  <a:lnTo>
                    <a:pt x="5951" y="3735"/>
                  </a:lnTo>
                  <a:lnTo>
                    <a:pt x="5947" y="3725"/>
                  </a:lnTo>
                  <a:lnTo>
                    <a:pt x="5930" y="3684"/>
                  </a:lnTo>
                  <a:lnTo>
                    <a:pt x="5900" y="3642"/>
                  </a:lnTo>
                  <a:lnTo>
                    <a:pt x="5857" y="3609"/>
                  </a:lnTo>
                  <a:lnTo>
                    <a:pt x="5816" y="3600"/>
                  </a:lnTo>
                  <a:lnTo>
                    <a:pt x="5818" y="3575"/>
                  </a:lnTo>
                  <a:lnTo>
                    <a:pt x="5816" y="3540"/>
                  </a:lnTo>
                  <a:lnTo>
                    <a:pt x="5805" y="3516"/>
                  </a:lnTo>
                  <a:lnTo>
                    <a:pt x="5783" y="3491"/>
                  </a:lnTo>
                  <a:lnTo>
                    <a:pt x="5756" y="3473"/>
                  </a:lnTo>
                  <a:lnTo>
                    <a:pt x="5756" y="3457"/>
                  </a:lnTo>
                  <a:lnTo>
                    <a:pt x="5769" y="3415"/>
                  </a:lnTo>
                  <a:lnTo>
                    <a:pt x="5774" y="3343"/>
                  </a:lnTo>
                  <a:lnTo>
                    <a:pt x="5771" y="3313"/>
                  </a:lnTo>
                  <a:lnTo>
                    <a:pt x="5758" y="3288"/>
                  </a:lnTo>
                  <a:lnTo>
                    <a:pt x="5750" y="3267"/>
                  </a:lnTo>
                  <a:lnTo>
                    <a:pt x="5758" y="3205"/>
                  </a:lnTo>
                  <a:lnTo>
                    <a:pt x="5769" y="3154"/>
                  </a:lnTo>
                  <a:lnTo>
                    <a:pt x="5753" y="3140"/>
                  </a:lnTo>
                  <a:lnTo>
                    <a:pt x="5636" y="3113"/>
                  </a:lnTo>
                  <a:lnTo>
                    <a:pt x="5599" y="3119"/>
                  </a:lnTo>
                  <a:lnTo>
                    <a:pt x="5579" y="3115"/>
                  </a:lnTo>
                  <a:lnTo>
                    <a:pt x="5548" y="3122"/>
                  </a:lnTo>
                  <a:lnTo>
                    <a:pt x="5523" y="3115"/>
                  </a:lnTo>
                  <a:lnTo>
                    <a:pt x="5481" y="3096"/>
                  </a:lnTo>
                  <a:lnTo>
                    <a:pt x="5437" y="3066"/>
                  </a:lnTo>
                  <a:lnTo>
                    <a:pt x="5408" y="3050"/>
                  </a:lnTo>
                  <a:lnTo>
                    <a:pt x="5253" y="3000"/>
                  </a:lnTo>
                  <a:lnTo>
                    <a:pt x="5211" y="2932"/>
                  </a:lnTo>
                  <a:lnTo>
                    <a:pt x="5126" y="2864"/>
                  </a:lnTo>
                  <a:lnTo>
                    <a:pt x="4986" y="2807"/>
                  </a:lnTo>
                  <a:lnTo>
                    <a:pt x="4962" y="2795"/>
                  </a:lnTo>
                  <a:lnTo>
                    <a:pt x="4930" y="2790"/>
                  </a:lnTo>
                  <a:lnTo>
                    <a:pt x="4875" y="2791"/>
                  </a:lnTo>
                  <a:lnTo>
                    <a:pt x="4793" y="2825"/>
                  </a:lnTo>
                  <a:lnTo>
                    <a:pt x="4761" y="2823"/>
                  </a:lnTo>
                  <a:lnTo>
                    <a:pt x="4767" y="2754"/>
                  </a:lnTo>
                  <a:lnTo>
                    <a:pt x="4758" y="2705"/>
                  </a:lnTo>
                  <a:lnTo>
                    <a:pt x="4704" y="2559"/>
                  </a:lnTo>
                  <a:lnTo>
                    <a:pt x="4687" y="2536"/>
                  </a:lnTo>
                  <a:lnTo>
                    <a:pt x="4675" y="2532"/>
                  </a:lnTo>
                  <a:lnTo>
                    <a:pt x="4625" y="2539"/>
                  </a:lnTo>
                  <a:lnTo>
                    <a:pt x="4595" y="2539"/>
                  </a:lnTo>
                  <a:lnTo>
                    <a:pt x="4583" y="2532"/>
                  </a:lnTo>
                  <a:lnTo>
                    <a:pt x="4573" y="2530"/>
                  </a:lnTo>
                  <a:lnTo>
                    <a:pt x="4546" y="2502"/>
                  </a:lnTo>
                  <a:lnTo>
                    <a:pt x="4535" y="2393"/>
                  </a:lnTo>
                  <a:lnTo>
                    <a:pt x="4542" y="2349"/>
                  </a:lnTo>
                  <a:lnTo>
                    <a:pt x="4539" y="2317"/>
                  </a:lnTo>
                  <a:lnTo>
                    <a:pt x="4576" y="2168"/>
                  </a:lnTo>
                  <a:lnTo>
                    <a:pt x="4625" y="2071"/>
                  </a:lnTo>
                  <a:lnTo>
                    <a:pt x="4667" y="2053"/>
                  </a:lnTo>
                  <a:lnTo>
                    <a:pt x="4680" y="2035"/>
                  </a:lnTo>
                  <a:lnTo>
                    <a:pt x="4670" y="1979"/>
                  </a:lnTo>
                  <a:lnTo>
                    <a:pt x="4689" y="1958"/>
                  </a:lnTo>
                  <a:lnTo>
                    <a:pt x="4753" y="1903"/>
                  </a:lnTo>
                  <a:lnTo>
                    <a:pt x="4800" y="1878"/>
                  </a:lnTo>
                  <a:lnTo>
                    <a:pt x="4820" y="1843"/>
                  </a:lnTo>
                  <a:lnTo>
                    <a:pt x="4765" y="1808"/>
                  </a:lnTo>
                  <a:lnTo>
                    <a:pt x="4781" y="1787"/>
                  </a:lnTo>
                  <a:lnTo>
                    <a:pt x="4803" y="1792"/>
                  </a:lnTo>
                  <a:lnTo>
                    <a:pt x="4867" y="1797"/>
                  </a:lnTo>
                  <a:lnTo>
                    <a:pt x="4916" y="1781"/>
                  </a:lnTo>
                  <a:lnTo>
                    <a:pt x="4944" y="1753"/>
                  </a:lnTo>
                  <a:lnTo>
                    <a:pt x="4944" y="1737"/>
                  </a:lnTo>
                  <a:lnTo>
                    <a:pt x="4930" y="1716"/>
                  </a:lnTo>
                  <a:lnTo>
                    <a:pt x="4905" y="1698"/>
                  </a:lnTo>
                  <a:lnTo>
                    <a:pt x="4844" y="1676"/>
                  </a:lnTo>
                  <a:lnTo>
                    <a:pt x="4774" y="1663"/>
                  </a:lnTo>
                  <a:lnTo>
                    <a:pt x="4680" y="1591"/>
                  </a:lnTo>
                  <a:lnTo>
                    <a:pt x="4851" y="1624"/>
                  </a:lnTo>
                  <a:lnTo>
                    <a:pt x="4924" y="1660"/>
                  </a:lnTo>
                  <a:lnTo>
                    <a:pt x="4983" y="1669"/>
                  </a:lnTo>
                  <a:lnTo>
                    <a:pt x="4986" y="1669"/>
                  </a:lnTo>
                  <a:lnTo>
                    <a:pt x="5018" y="1665"/>
                  </a:lnTo>
                  <a:lnTo>
                    <a:pt x="5019" y="1653"/>
                  </a:lnTo>
                  <a:lnTo>
                    <a:pt x="5004" y="1605"/>
                  </a:lnTo>
                  <a:lnTo>
                    <a:pt x="5010" y="1550"/>
                  </a:lnTo>
                  <a:lnTo>
                    <a:pt x="5055" y="1582"/>
                  </a:lnTo>
                  <a:lnTo>
                    <a:pt x="5097" y="1593"/>
                  </a:lnTo>
                  <a:lnTo>
                    <a:pt x="5132" y="1589"/>
                  </a:lnTo>
                  <a:lnTo>
                    <a:pt x="5165" y="1575"/>
                  </a:lnTo>
                  <a:lnTo>
                    <a:pt x="5256" y="1479"/>
                  </a:lnTo>
                  <a:lnTo>
                    <a:pt x="5285" y="1385"/>
                  </a:lnTo>
                  <a:lnTo>
                    <a:pt x="5239" y="1384"/>
                  </a:lnTo>
                  <a:lnTo>
                    <a:pt x="5186" y="1373"/>
                  </a:lnTo>
                  <a:lnTo>
                    <a:pt x="5113" y="1336"/>
                  </a:lnTo>
                  <a:lnTo>
                    <a:pt x="5036" y="1269"/>
                  </a:lnTo>
                  <a:lnTo>
                    <a:pt x="4920" y="1227"/>
                  </a:lnTo>
                  <a:lnTo>
                    <a:pt x="4974" y="1212"/>
                  </a:lnTo>
                  <a:lnTo>
                    <a:pt x="4986" y="1211"/>
                  </a:lnTo>
                  <a:lnTo>
                    <a:pt x="5027" y="1211"/>
                  </a:lnTo>
                  <a:lnTo>
                    <a:pt x="5053" y="1219"/>
                  </a:lnTo>
                  <a:lnTo>
                    <a:pt x="5086" y="1242"/>
                  </a:lnTo>
                  <a:lnTo>
                    <a:pt x="5139" y="1262"/>
                  </a:lnTo>
                  <a:lnTo>
                    <a:pt x="5149" y="1269"/>
                  </a:lnTo>
                  <a:lnTo>
                    <a:pt x="5186" y="1311"/>
                  </a:lnTo>
                  <a:lnTo>
                    <a:pt x="5223" y="1331"/>
                  </a:lnTo>
                  <a:lnTo>
                    <a:pt x="5247" y="1331"/>
                  </a:lnTo>
                  <a:lnTo>
                    <a:pt x="5274" y="1315"/>
                  </a:lnTo>
                  <a:lnTo>
                    <a:pt x="5391" y="1191"/>
                  </a:lnTo>
                  <a:lnTo>
                    <a:pt x="5399" y="1175"/>
                  </a:lnTo>
                  <a:lnTo>
                    <a:pt x="5341" y="1138"/>
                  </a:lnTo>
                  <a:lnTo>
                    <a:pt x="5314" y="1117"/>
                  </a:lnTo>
                  <a:lnTo>
                    <a:pt x="5325" y="1096"/>
                  </a:lnTo>
                  <a:lnTo>
                    <a:pt x="5408" y="1085"/>
                  </a:lnTo>
                  <a:lnTo>
                    <a:pt x="5458" y="1087"/>
                  </a:lnTo>
                  <a:lnTo>
                    <a:pt x="5485" y="1142"/>
                  </a:lnTo>
                  <a:lnTo>
                    <a:pt x="5501" y="1152"/>
                  </a:lnTo>
                  <a:lnTo>
                    <a:pt x="5558" y="1145"/>
                  </a:lnTo>
                  <a:lnTo>
                    <a:pt x="5588" y="1152"/>
                  </a:lnTo>
                  <a:lnTo>
                    <a:pt x="5620" y="1147"/>
                  </a:lnTo>
                  <a:lnTo>
                    <a:pt x="5555" y="1068"/>
                  </a:lnTo>
                  <a:lnTo>
                    <a:pt x="5494" y="1022"/>
                  </a:lnTo>
                  <a:lnTo>
                    <a:pt x="5523" y="997"/>
                  </a:lnTo>
                  <a:lnTo>
                    <a:pt x="5546" y="1003"/>
                  </a:lnTo>
                  <a:lnTo>
                    <a:pt x="5572" y="1025"/>
                  </a:lnTo>
                  <a:lnTo>
                    <a:pt x="5645" y="1110"/>
                  </a:lnTo>
                  <a:lnTo>
                    <a:pt x="5679" y="1133"/>
                  </a:lnTo>
                  <a:lnTo>
                    <a:pt x="5728" y="1089"/>
                  </a:lnTo>
                  <a:lnTo>
                    <a:pt x="5758" y="1082"/>
                  </a:lnTo>
                  <a:lnTo>
                    <a:pt x="5820" y="1013"/>
                  </a:lnTo>
                  <a:lnTo>
                    <a:pt x="5840" y="997"/>
                  </a:lnTo>
                  <a:lnTo>
                    <a:pt x="5860" y="941"/>
                  </a:lnTo>
                  <a:lnTo>
                    <a:pt x="5858" y="913"/>
                  </a:lnTo>
                  <a:lnTo>
                    <a:pt x="5772" y="813"/>
                  </a:lnTo>
                  <a:lnTo>
                    <a:pt x="5742" y="748"/>
                  </a:lnTo>
                  <a:lnTo>
                    <a:pt x="5722" y="672"/>
                  </a:lnTo>
                  <a:lnTo>
                    <a:pt x="5758" y="647"/>
                  </a:lnTo>
                  <a:lnTo>
                    <a:pt x="5769" y="647"/>
                  </a:lnTo>
                  <a:lnTo>
                    <a:pt x="5801" y="695"/>
                  </a:lnTo>
                  <a:lnTo>
                    <a:pt x="5812" y="700"/>
                  </a:lnTo>
                  <a:lnTo>
                    <a:pt x="5830" y="691"/>
                  </a:lnTo>
                  <a:lnTo>
                    <a:pt x="5853" y="666"/>
                  </a:lnTo>
                  <a:lnTo>
                    <a:pt x="5841" y="571"/>
                  </a:lnTo>
                  <a:lnTo>
                    <a:pt x="5821" y="552"/>
                  </a:lnTo>
                  <a:lnTo>
                    <a:pt x="5796" y="559"/>
                  </a:lnTo>
                  <a:lnTo>
                    <a:pt x="5774" y="559"/>
                  </a:lnTo>
                  <a:lnTo>
                    <a:pt x="5716" y="497"/>
                  </a:lnTo>
                  <a:lnTo>
                    <a:pt x="5563" y="439"/>
                  </a:lnTo>
                  <a:lnTo>
                    <a:pt x="5538" y="437"/>
                  </a:lnTo>
                  <a:lnTo>
                    <a:pt x="5519" y="444"/>
                  </a:lnTo>
                  <a:lnTo>
                    <a:pt x="5485" y="441"/>
                  </a:lnTo>
                  <a:lnTo>
                    <a:pt x="5458" y="465"/>
                  </a:lnTo>
                  <a:lnTo>
                    <a:pt x="5456" y="548"/>
                  </a:lnTo>
                  <a:lnTo>
                    <a:pt x="5538" y="612"/>
                  </a:lnTo>
                  <a:lnTo>
                    <a:pt x="5532" y="659"/>
                  </a:lnTo>
                  <a:lnTo>
                    <a:pt x="5518" y="666"/>
                  </a:lnTo>
                  <a:lnTo>
                    <a:pt x="5457" y="658"/>
                  </a:lnTo>
                  <a:lnTo>
                    <a:pt x="5446" y="675"/>
                  </a:lnTo>
                  <a:lnTo>
                    <a:pt x="5420" y="804"/>
                  </a:lnTo>
                  <a:lnTo>
                    <a:pt x="5393" y="842"/>
                  </a:lnTo>
                  <a:lnTo>
                    <a:pt x="5359" y="877"/>
                  </a:lnTo>
                  <a:lnTo>
                    <a:pt x="5350" y="937"/>
                  </a:lnTo>
                  <a:lnTo>
                    <a:pt x="5334" y="948"/>
                  </a:lnTo>
                  <a:lnTo>
                    <a:pt x="5293" y="964"/>
                  </a:lnTo>
                  <a:lnTo>
                    <a:pt x="5268" y="978"/>
                  </a:lnTo>
                  <a:lnTo>
                    <a:pt x="5248" y="953"/>
                  </a:lnTo>
                  <a:lnTo>
                    <a:pt x="5221" y="909"/>
                  </a:lnTo>
                  <a:lnTo>
                    <a:pt x="5171" y="851"/>
                  </a:lnTo>
                  <a:lnTo>
                    <a:pt x="5154" y="813"/>
                  </a:lnTo>
                  <a:lnTo>
                    <a:pt x="5155" y="776"/>
                  </a:lnTo>
                  <a:lnTo>
                    <a:pt x="5165" y="749"/>
                  </a:lnTo>
                  <a:lnTo>
                    <a:pt x="5200" y="758"/>
                  </a:lnTo>
                  <a:lnTo>
                    <a:pt x="5215" y="755"/>
                  </a:lnTo>
                  <a:lnTo>
                    <a:pt x="5223" y="716"/>
                  </a:lnTo>
                  <a:lnTo>
                    <a:pt x="5214" y="675"/>
                  </a:lnTo>
                  <a:lnTo>
                    <a:pt x="5192" y="640"/>
                  </a:lnTo>
                  <a:lnTo>
                    <a:pt x="5146" y="589"/>
                  </a:lnTo>
                  <a:lnTo>
                    <a:pt x="5113" y="562"/>
                  </a:lnTo>
                  <a:lnTo>
                    <a:pt x="5090" y="561"/>
                  </a:lnTo>
                  <a:lnTo>
                    <a:pt x="5061" y="599"/>
                  </a:lnTo>
                  <a:lnTo>
                    <a:pt x="5031" y="703"/>
                  </a:lnTo>
                  <a:lnTo>
                    <a:pt x="5004" y="737"/>
                  </a:lnTo>
                  <a:lnTo>
                    <a:pt x="4987" y="744"/>
                  </a:lnTo>
                  <a:lnTo>
                    <a:pt x="4986" y="744"/>
                  </a:lnTo>
                  <a:lnTo>
                    <a:pt x="4971" y="749"/>
                  </a:lnTo>
                  <a:lnTo>
                    <a:pt x="4970" y="673"/>
                  </a:lnTo>
                  <a:lnTo>
                    <a:pt x="4955" y="619"/>
                  </a:lnTo>
                  <a:lnTo>
                    <a:pt x="4920" y="576"/>
                  </a:lnTo>
                  <a:lnTo>
                    <a:pt x="4916" y="562"/>
                  </a:lnTo>
                  <a:lnTo>
                    <a:pt x="4941" y="541"/>
                  </a:lnTo>
                  <a:lnTo>
                    <a:pt x="4955" y="509"/>
                  </a:lnTo>
                  <a:lnTo>
                    <a:pt x="4891" y="476"/>
                  </a:lnTo>
                  <a:lnTo>
                    <a:pt x="4864" y="476"/>
                  </a:lnTo>
                  <a:lnTo>
                    <a:pt x="4847" y="488"/>
                  </a:lnTo>
                  <a:lnTo>
                    <a:pt x="4811" y="485"/>
                  </a:lnTo>
                  <a:lnTo>
                    <a:pt x="4765" y="462"/>
                  </a:lnTo>
                  <a:lnTo>
                    <a:pt x="4744" y="456"/>
                  </a:lnTo>
                  <a:lnTo>
                    <a:pt x="4761" y="404"/>
                  </a:lnTo>
                  <a:lnTo>
                    <a:pt x="4783" y="379"/>
                  </a:lnTo>
                  <a:lnTo>
                    <a:pt x="4827" y="375"/>
                  </a:lnTo>
                  <a:lnTo>
                    <a:pt x="4843" y="344"/>
                  </a:lnTo>
                  <a:lnTo>
                    <a:pt x="4793" y="296"/>
                  </a:lnTo>
                  <a:lnTo>
                    <a:pt x="4757" y="248"/>
                  </a:lnTo>
                  <a:lnTo>
                    <a:pt x="4702" y="199"/>
                  </a:lnTo>
                  <a:lnTo>
                    <a:pt x="4712" y="141"/>
                  </a:lnTo>
                  <a:lnTo>
                    <a:pt x="4704" y="103"/>
                  </a:lnTo>
                  <a:lnTo>
                    <a:pt x="4684" y="71"/>
                  </a:lnTo>
                  <a:lnTo>
                    <a:pt x="4630" y="27"/>
                  </a:lnTo>
                  <a:lnTo>
                    <a:pt x="4597" y="9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26" name="Freeform 63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1949" y="1924"/>
              <a:ext cx="97" cy="107"/>
            </a:xfrm>
            <a:custGeom>
              <a:avLst/>
              <a:gdLst>
                <a:gd name="T0" fmla="*/ 117 w 646"/>
                <a:gd name="T1" fmla="*/ 316 h 730"/>
                <a:gd name="T2" fmla="*/ 131 w 646"/>
                <a:gd name="T3" fmla="*/ 380 h 730"/>
                <a:gd name="T4" fmla="*/ 106 w 646"/>
                <a:gd name="T5" fmla="*/ 374 h 730"/>
                <a:gd name="T6" fmla="*/ 62 w 646"/>
                <a:gd name="T7" fmla="*/ 436 h 730"/>
                <a:gd name="T8" fmla="*/ 88 w 646"/>
                <a:gd name="T9" fmla="*/ 475 h 730"/>
                <a:gd name="T10" fmla="*/ 8 w 646"/>
                <a:gd name="T11" fmla="*/ 535 h 730"/>
                <a:gd name="T12" fmla="*/ 8 w 646"/>
                <a:gd name="T13" fmla="*/ 577 h 730"/>
                <a:gd name="T14" fmla="*/ 120 w 646"/>
                <a:gd name="T15" fmla="*/ 575 h 730"/>
                <a:gd name="T16" fmla="*/ 293 w 646"/>
                <a:gd name="T17" fmla="*/ 595 h 730"/>
                <a:gd name="T18" fmla="*/ 317 w 646"/>
                <a:gd name="T19" fmla="*/ 561 h 730"/>
                <a:gd name="T20" fmla="*/ 350 w 646"/>
                <a:gd name="T21" fmla="*/ 593 h 730"/>
                <a:gd name="T22" fmla="*/ 374 w 646"/>
                <a:gd name="T23" fmla="*/ 602 h 730"/>
                <a:gd name="T24" fmla="*/ 413 w 646"/>
                <a:gd name="T25" fmla="*/ 575 h 730"/>
                <a:gd name="T26" fmla="*/ 416 w 646"/>
                <a:gd name="T27" fmla="*/ 609 h 730"/>
                <a:gd name="T28" fmla="*/ 342 w 646"/>
                <a:gd name="T29" fmla="*/ 672 h 730"/>
                <a:gd name="T30" fmla="*/ 343 w 646"/>
                <a:gd name="T31" fmla="*/ 695 h 730"/>
                <a:gd name="T32" fmla="*/ 404 w 646"/>
                <a:gd name="T33" fmla="*/ 675 h 730"/>
                <a:gd name="T34" fmla="*/ 449 w 646"/>
                <a:gd name="T35" fmla="*/ 625 h 730"/>
                <a:gd name="T36" fmla="*/ 483 w 646"/>
                <a:gd name="T37" fmla="*/ 597 h 730"/>
                <a:gd name="T38" fmla="*/ 513 w 646"/>
                <a:gd name="T39" fmla="*/ 575 h 730"/>
                <a:gd name="T40" fmla="*/ 531 w 646"/>
                <a:gd name="T41" fmla="*/ 628 h 730"/>
                <a:gd name="T42" fmla="*/ 513 w 646"/>
                <a:gd name="T43" fmla="*/ 691 h 730"/>
                <a:gd name="T44" fmla="*/ 556 w 646"/>
                <a:gd name="T45" fmla="*/ 665 h 730"/>
                <a:gd name="T46" fmla="*/ 572 w 646"/>
                <a:gd name="T47" fmla="*/ 716 h 730"/>
                <a:gd name="T48" fmla="*/ 612 w 646"/>
                <a:gd name="T49" fmla="*/ 730 h 730"/>
                <a:gd name="T50" fmla="*/ 645 w 646"/>
                <a:gd name="T51" fmla="*/ 609 h 730"/>
                <a:gd name="T52" fmla="*/ 604 w 646"/>
                <a:gd name="T53" fmla="*/ 590 h 730"/>
                <a:gd name="T54" fmla="*/ 584 w 646"/>
                <a:gd name="T55" fmla="*/ 549 h 730"/>
                <a:gd name="T56" fmla="*/ 563 w 646"/>
                <a:gd name="T57" fmla="*/ 579 h 730"/>
                <a:gd name="T58" fmla="*/ 546 w 646"/>
                <a:gd name="T59" fmla="*/ 537 h 730"/>
                <a:gd name="T60" fmla="*/ 539 w 646"/>
                <a:gd name="T61" fmla="*/ 505 h 730"/>
                <a:gd name="T62" fmla="*/ 597 w 646"/>
                <a:gd name="T63" fmla="*/ 480 h 730"/>
                <a:gd name="T64" fmla="*/ 608 w 646"/>
                <a:gd name="T65" fmla="*/ 452 h 730"/>
                <a:gd name="T66" fmla="*/ 556 w 646"/>
                <a:gd name="T67" fmla="*/ 464 h 730"/>
                <a:gd name="T68" fmla="*/ 523 w 646"/>
                <a:gd name="T69" fmla="*/ 438 h 730"/>
                <a:gd name="T70" fmla="*/ 556 w 646"/>
                <a:gd name="T71" fmla="*/ 369 h 730"/>
                <a:gd name="T72" fmla="*/ 543 w 646"/>
                <a:gd name="T73" fmla="*/ 334 h 730"/>
                <a:gd name="T74" fmla="*/ 474 w 646"/>
                <a:gd name="T75" fmla="*/ 316 h 730"/>
                <a:gd name="T76" fmla="*/ 446 w 646"/>
                <a:gd name="T77" fmla="*/ 348 h 730"/>
                <a:gd name="T78" fmla="*/ 339 w 646"/>
                <a:gd name="T79" fmla="*/ 306 h 730"/>
                <a:gd name="T80" fmla="*/ 367 w 646"/>
                <a:gd name="T81" fmla="*/ 246 h 730"/>
                <a:gd name="T82" fmla="*/ 298 w 646"/>
                <a:gd name="T83" fmla="*/ 237 h 730"/>
                <a:gd name="T84" fmla="*/ 258 w 646"/>
                <a:gd name="T85" fmla="*/ 288 h 730"/>
                <a:gd name="T86" fmla="*/ 249 w 646"/>
                <a:gd name="T87" fmla="*/ 267 h 730"/>
                <a:gd name="T88" fmla="*/ 348 w 646"/>
                <a:gd name="T89" fmla="*/ 78 h 730"/>
                <a:gd name="T90" fmla="*/ 343 w 646"/>
                <a:gd name="T91" fmla="*/ 39 h 730"/>
                <a:gd name="T92" fmla="*/ 383 w 646"/>
                <a:gd name="T93" fmla="*/ 22 h 730"/>
                <a:gd name="T94" fmla="*/ 368 w 646"/>
                <a:gd name="T95" fmla="*/ 0 h 730"/>
                <a:gd name="T96" fmla="*/ 289 w 646"/>
                <a:gd name="T97" fmla="*/ 27 h 730"/>
                <a:gd name="T98" fmla="*/ 192 w 646"/>
                <a:gd name="T99" fmla="*/ 149 h 730"/>
                <a:gd name="T100" fmla="*/ 120 w 646"/>
                <a:gd name="T101" fmla="*/ 302 h 73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46"/>
                <a:gd name="T154" fmla="*/ 0 h 730"/>
                <a:gd name="T155" fmla="*/ 646 w 646"/>
                <a:gd name="T156" fmla="*/ 730 h 73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46" h="730">
                  <a:moveTo>
                    <a:pt x="120" y="302"/>
                  </a:moveTo>
                  <a:lnTo>
                    <a:pt x="117" y="316"/>
                  </a:lnTo>
                  <a:lnTo>
                    <a:pt x="148" y="360"/>
                  </a:lnTo>
                  <a:lnTo>
                    <a:pt x="131" y="380"/>
                  </a:lnTo>
                  <a:lnTo>
                    <a:pt x="118" y="380"/>
                  </a:lnTo>
                  <a:lnTo>
                    <a:pt x="106" y="374"/>
                  </a:lnTo>
                  <a:lnTo>
                    <a:pt x="90" y="385"/>
                  </a:lnTo>
                  <a:lnTo>
                    <a:pt x="62" y="436"/>
                  </a:lnTo>
                  <a:lnTo>
                    <a:pt x="115" y="452"/>
                  </a:lnTo>
                  <a:lnTo>
                    <a:pt x="88" y="475"/>
                  </a:lnTo>
                  <a:lnTo>
                    <a:pt x="65" y="485"/>
                  </a:lnTo>
                  <a:lnTo>
                    <a:pt x="8" y="535"/>
                  </a:lnTo>
                  <a:lnTo>
                    <a:pt x="0" y="547"/>
                  </a:lnTo>
                  <a:lnTo>
                    <a:pt x="8" y="577"/>
                  </a:lnTo>
                  <a:lnTo>
                    <a:pt x="16" y="590"/>
                  </a:lnTo>
                  <a:lnTo>
                    <a:pt x="120" y="575"/>
                  </a:lnTo>
                  <a:lnTo>
                    <a:pt x="246" y="598"/>
                  </a:lnTo>
                  <a:lnTo>
                    <a:pt x="293" y="595"/>
                  </a:lnTo>
                  <a:lnTo>
                    <a:pt x="311" y="581"/>
                  </a:lnTo>
                  <a:lnTo>
                    <a:pt x="317" y="561"/>
                  </a:lnTo>
                  <a:lnTo>
                    <a:pt x="351" y="560"/>
                  </a:lnTo>
                  <a:lnTo>
                    <a:pt x="350" y="593"/>
                  </a:lnTo>
                  <a:lnTo>
                    <a:pt x="355" y="604"/>
                  </a:lnTo>
                  <a:lnTo>
                    <a:pt x="374" y="602"/>
                  </a:lnTo>
                  <a:lnTo>
                    <a:pt x="387" y="572"/>
                  </a:lnTo>
                  <a:lnTo>
                    <a:pt x="413" y="575"/>
                  </a:lnTo>
                  <a:lnTo>
                    <a:pt x="445" y="584"/>
                  </a:lnTo>
                  <a:lnTo>
                    <a:pt x="416" y="609"/>
                  </a:lnTo>
                  <a:lnTo>
                    <a:pt x="396" y="642"/>
                  </a:lnTo>
                  <a:lnTo>
                    <a:pt x="342" y="672"/>
                  </a:lnTo>
                  <a:lnTo>
                    <a:pt x="335" y="681"/>
                  </a:lnTo>
                  <a:lnTo>
                    <a:pt x="343" y="695"/>
                  </a:lnTo>
                  <a:lnTo>
                    <a:pt x="384" y="698"/>
                  </a:lnTo>
                  <a:lnTo>
                    <a:pt x="404" y="675"/>
                  </a:lnTo>
                  <a:lnTo>
                    <a:pt x="429" y="639"/>
                  </a:lnTo>
                  <a:lnTo>
                    <a:pt x="449" y="625"/>
                  </a:lnTo>
                  <a:lnTo>
                    <a:pt x="465" y="616"/>
                  </a:lnTo>
                  <a:lnTo>
                    <a:pt x="483" y="597"/>
                  </a:lnTo>
                  <a:lnTo>
                    <a:pt x="501" y="570"/>
                  </a:lnTo>
                  <a:lnTo>
                    <a:pt x="513" y="575"/>
                  </a:lnTo>
                  <a:lnTo>
                    <a:pt x="532" y="607"/>
                  </a:lnTo>
                  <a:lnTo>
                    <a:pt x="531" y="628"/>
                  </a:lnTo>
                  <a:lnTo>
                    <a:pt x="510" y="673"/>
                  </a:lnTo>
                  <a:lnTo>
                    <a:pt x="513" y="691"/>
                  </a:lnTo>
                  <a:lnTo>
                    <a:pt x="531" y="691"/>
                  </a:lnTo>
                  <a:lnTo>
                    <a:pt x="556" y="665"/>
                  </a:lnTo>
                  <a:lnTo>
                    <a:pt x="559" y="707"/>
                  </a:lnTo>
                  <a:lnTo>
                    <a:pt x="572" y="716"/>
                  </a:lnTo>
                  <a:lnTo>
                    <a:pt x="604" y="725"/>
                  </a:lnTo>
                  <a:lnTo>
                    <a:pt x="612" y="730"/>
                  </a:lnTo>
                  <a:lnTo>
                    <a:pt x="646" y="621"/>
                  </a:lnTo>
                  <a:lnTo>
                    <a:pt x="645" y="609"/>
                  </a:lnTo>
                  <a:lnTo>
                    <a:pt x="611" y="607"/>
                  </a:lnTo>
                  <a:lnTo>
                    <a:pt x="604" y="590"/>
                  </a:lnTo>
                  <a:lnTo>
                    <a:pt x="608" y="560"/>
                  </a:lnTo>
                  <a:lnTo>
                    <a:pt x="584" y="549"/>
                  </a:lnTo>
                  <a:lnTo>
                    <a:pt x="571" y="567"/>
                  </a:lnTo>
                  <a:lnTo>
                    <a:pt x="563" y="579"/>
                  </a:lnTo>
                  <a:lnTo>
                    <a:pt x="550" y="565"/>
                  </a:lnTo>
                  <a:lnTo>
                    <a:pt x="546" y="537"/>
                  </a:lnTo>
                  <a:lnTo>
                    <a:pt x="534" y="514"/>
                  </a:lnTo>
                  <a:lnTo>
                    <a:pt x="539" y="505"/>
                  </a:lnTo>
                  <a:lnTo>
                    <a:pt x="580" y="498"/>
                  </a:lnTo>
                  <a:lnTo>
                    <a:pt x="597" y="480"/>
                  </a:lnTo>
                  <a:lnTo>
                    <a:pt x="608" y="463"/>
                  </a:lnTo>
                  <a:lnTo>
                    <a:pt x="608" y="452"/>
                  </a:lnTo>
                  <a:lnTo>
                    <a:pt x="595" y="445"/>
                  </a:lnTo>
                  <a:lnTo>
                    <a:pt x="556" y="464"/>
                  </a:lnTo>
                  <a:lnTo>
                    <a:pt x="546" y="463"/>
                  </a:lnTo>
                  <a:lnTo>
                    <a:pt x="523" y="438"/>
                  </a:lnTo>
                  <a:lnTo>
                    <a:pt x="509" y="417"/>
                  </a:lnTo>
                  <a:lnTo>
                    <a:pt x="556" y="369"/>
                  </a:lnTo>
                  <a:lnTo>
                    <a:pt x="569" y="350"/>
                  </a:lnTo>
                  <a:lnTo>
                    <a:pt x="543" y="334"/>
                  </a:lnTo>
                  <a:lnTo>
                    <a:pt x="506" y="320"/>
                  </a:lnTo>
                  <a:lnTo>
                    <a:pt x="474" y="316"/>
                  </a:lnTo>
                  <a:lnTo>
                    <a:pt x="461" y="320"/>
                  </a:lnTo>
                  <a:lnTo>
                    <a:pt x="446" y="348"/>
                  </a:lnTo>
                  <a:lnTo>
                    <a:pt x="413" y="350"/>
                  </a:lnTo>
                  <a:lnTo>
                    <a:pt x="339" y="306"/>
                  </a:lnTo>
                  <a:lnTo>
                    <a:pt x="329" y="291"/>
                  </a:lnTo>
                  <a:lnTo>
                    <a:pt x="367" y="246"/>
                  </a:lnTo>
                  <a:lnTo>
                    <a:pt x="318" y="224"/>
                  </a:lnTo>
                  <a:lnTo>
                    <a:pt x="298" y="237"/>
                  </a:lnTo>
                  <a:lnTo>
                    <a:pt x="277" y="276"/>
                  </a:lnTo>
                  <a:lnTo>
                    <a:pt x="258" y="288"/>
                  </a:lnTo>
                  <a:lnTo>
                    <a:pt x="253" y="288"/>
                  </a:lnTo>
                  <a:lnTo>
                    <a:pt x="249" y="267"/>
                  </a:lnTo>
                  <a:lnTo>
                    <a:pt x="261" y="232"/>
                  </a:lnTo>
                  <a:lnTo>
                    <a:pt x="348" y="78"/>
                  </a:lnTo>
                  <a:lnTo>
                    <a:pt x="332" y="48"/>
                  </a:lnTo>
                  <a:lnTo>
                    <a:pt x="343" y="39"/>
                  </a:lnTo>
                  <a:lnTo>
                    <a:pt x="368" y="36"/>
                  </a:lnTo>
                  <a:lnTo>
                    <a:pt x="383" y="22"/>
                  </a:lnTo>
                  <a:lnTo>
                    <a:pt x="376" y="6"/>
                  </a:lnTo>
                  <a:lnTo>
                    <a:pt x="368" y="0"/>
                  </a:lnTo>
                  <a:lnTo>
                    <a:pt x="310" y="15"/>
                  </a:lnTo>
                  <a:lnTo>
                    <a:pt x="289" y="27"/>
                  </a:lnTo>
                  <a:lnTo>
                    <a:pt x="256" y="59"/>
                  </a:lnTo>
                  <a:lnTo>
                    <a:pt x="192" y="149"/>
                  </a:lnTo>
                  <a:lnTo>
                    <a:pt x="143" y="242"/>
                  </a:lnTo>
                  <a:lnTo>
                    <a:pt x="120" y="302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27" name="Freeform 64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1919" y="2022"/>
              <a:ext cx="24" cy="33"/>
            </a:xfrm>
            <a:custGeom>
              <a:avLst/>
              <a:gdLst>
                <a:gd name="T0" fmla="*/ 135 w 158"/>
                <a:gd name="T1" fmla="*/ 125 h 219"/>
                <a:gd name="T2" fmla="*/ 122 w 158"/>
                <a:gd name="T3" fmla="*/ 122 h 219"/>
                <a:gd name="T4" fmla="*/ 94 w 158"/>
                <a:gd name="T5" fmla="*/ 141 h 219"/>
                <a:gd name="T6" fmla="*/ 64 w 158"/>
                <a:gd name="T7" fmla="*/ 183 h 219"/>
                <a:gd name="T8" fmla="*/ 57 w 158"/>
                <a:gd name="T9" fmla="*/ 185 h 219"/>
                <a:gd name="T10" fmla="*/ 33 w 158"/>
                <a:gd name="T11" fmla="*/ 169 h 219"/>
                <a:gd name="T12" fmla="*/ 44 w 158"/>
                <a:gd name="T13" fmla="*/ 139 h 219"/>
                <a:gd name="T14" fmla="*/ 81 w 158"/>
                <a:gd name="T15" fmla="*/ 111 h 219"/>
                <a:gd name="T16" fmla="*/ 90 w 158"/>
                <a:gd name="T17" fmla="*/ 88 h 219"/>
                <a:gd name="T18" fmla="*/ 97 w 158"/>
                <a:gd name="T19" fmla="*/ 58 h 219"/>
                <a:gd name="T20" fmla="*/ 113 w 158"/>
                <a:gd name="T21" fmla="*/ 30 h 219"/>
                <a:gd name="T22" fmla="*/ 76 w 158"/>
                <a:gd name="T23" fmla="*/ 0 h 219"/>
                <a:gd name="T24" fmla="*/ 3 w 158"/>
                <a:gd name="T25" fmla="*/ 118 h 219"/>
                <a:gd name="T26" fmla="*/ 0 w 158"/>
                <a:gd name="T27" fmla="*/ 160 h 219"/>
                <a:gd name="T28" fmla="*/ 15 w 158"/>
                <a:gd name="T29" fmla="*/ 197 h 219"/>
                <a:gd name="T30" fmla="*/ 37 w 158"/>
                <a:gd name="T31" fmla="*/ 215 h 219"/>
                <a:gd name="T32" fmla="*/ 58 w 158"/>
                <a:gd name="T33" fmla="*/ 219 h 219"/>
                <a:gd name="T34" fmla="*/ 88 w 158"/>
                <a:gd name="T35" fmla="*/ 215 h 219"/>
                <a:gd name="T36" fmla="*/ 138 w 158"/>
                <a:gd name="T37" fmla="*/ 189 h 219"/>
                <a:gd name="T38" fmla="*/ 148 w 158"/>
                <a:gd name="T39" fmla="*/ 178 h 219"/>
                <a:gd name="T40" fmla="*/ 158 w 158"/>
                <a:gd name="T41" fmla="*/ 155 h 219"/>
                <a:gd name="T42" fmla="*/ 135 w 158"/>
                <a:gd name="T43" fmla="*/ 125 h 21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58"/>
                <a:gd name="T67" fmla="*/ 0 h 219"/>
                <a:gd name="T68" fmla="*/ 158 w 158"/>
                <a:gd name="T69" fmla="*/ 219 h 219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58" h="219">
                  <a:moveTo>
                    <a:pt x="135" y="125"/>
                  </a:moveTo>
                  <a:lnTo>
                    <a:pt x="122" y="122"/>
                  </a:lnTo>
                  <a:lnTo>
                    <a:pt x="94" y="141"/>
                  </a:lnTo>
                  <a:lnTo>
                    <a:pt x="64" y="183"/>
                  </a:lnTo>
                  <a:lnTo>
                    <a:pt x="57" y="185"/>
                  </a:lnTo>
                  <a:lnTo>
                    <a:pt x="33" y="169"/>
                  </a:lnTo>
                  <a:lnTo>
                    <a:pt x="44" y="139"/>
                  </a:lnTo>
                  <a:lnTo>
                    <a:pt x="81" y="111"/>
                  </a:lnTo>
                  <a:lnTo>
                    <a:pt x="90" y="88"/>
                  </a:lnTo>
                  <a:lnTo>
                    <a:pt x="97" y="58"/>
                  </a:lnTo>
                  <a:lnTo>
                    <a:pt x="113" y="30"/>
                  </a:lnTo>
                  <a:lnTo>
                    <a:pt x="76" y="0"/>
                  </a:lnTo>
                  <a:lnTo>
                    <a:pt x="3" y="118"/>
                  </a:lnTo>
                  <a:lnTo>
                    <a:pt x="0" y="160"/>
                  </a:lnTo>
                  <a:lnTo>
                    <a:pt x="15" y="197"/>
                  </a:lnTo>
                  <a:lnTo>
                    <a:pt x="37" y="215"/>
                  </a:lnTo>
                  <a:lnTo>
                    <a:pt x="58" y="219"/>
                  </a:lnTo>
                  <a:lnTo>
                    <a:pt x="88" y="215"/>
                  </a:lnTo>
                  <a:lnTo>
                    <a:pt x="138" y="189"/>
                  </a:lnTo>
                  <a:lnTo>
                    <a:pt x="148" y="178"/>
                  </a:lnTo>
                  <a:lnTo>
                    <a:pt x="158" y="155"/>
                  </a:lnTo>
                  <a:lnTo>
                    <a:pt x="135" y="125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28" name="Freeform 65"/>
            <p:cNvSpPr>
              <a:spLocks/>
            </p:cNvSpPr>
            <p:nvPr>
              <p:custDataLst>
                <p:tags r:id="rId56"/>
              </p:custDataLst>
            </p:nvPr>
          </p:nvSpPr>
          <p:spPr bwMode="auto">
            <a:xfrm>
              <a:off x="933" y="1938"/>
              <a:ext cx="73" cy="56"/>
            </a:xfrm>
            <a:custGeom>
              <a:avLst/>
              <a:gdLst>
                <a:gd name="T0" fmla="*/ 470 w 476"/>
                <a:gd name="T1" fmla="*/ 313 h 366"/>
                <a:gd name="T2" fmla="*/ 449 w 476"/>
                <a:gd name="T3" fmla="*/ 262 h 366"/>
                <a:gd name="T4" fmla="*/ 436 w 476"/>
                <a:gd name="T5" fmla="*/ 248 h 366"/>
                <a:gd name="T6" fmla="*/ 365 w 476"/>
                <a:gd name="T7" fmla="*/ 213 h 366"/>
                <a:gd name="T8" fmla="*/ 350 w 476"/>
                <a:gd name="T9" fmla="*/ 199 h 366"/>
                <a:gd name="T10" fmla="*/ 331 w 476"/>
                <a:gd name="T11" fmla="*/ 171 h 366"/>
                <a:gd name="T12" fmla="*/ 311 w 476"/>
                <a:gd name="T13" fmla="*/ 127 h 366"/>
                <a:gd name="T14" fmla="*/ 267 w 476"/>
                <a:gd name="T15" fmla="*/ 72 h 366"/>
                <a:gd name="T16" fmla="*/ 189 w 476"/>
                <a:gd name="T17" fmla="*/ 58 h 366"/>
                <a:gd name="T18" fmla="*/ 146 w 476"/>
                <a:gd name="T19" fmla="*/ 44 h 366"/>
                <a:gd name="T20" fmla="*/ 58 w 476"/>
                <a:gd name="T21" fmla="*/ 3 h 366"/>
                <a:gd name="T22" fmla="*/ 44 w 476"/>
                <a:gd name="T23" fmla="*/ 0 h 366"/>
                <a:gd name="T24" fmla="*/ 1 w 476"/>
                <a:gd name="T25" fmla="*/ 8 h 366"/>
                <a:gd name="T26" fmla="*/ 0 w 476"/>
                <a:gd name="T27" fmla="*/ 17 h 366"/>
                <a:gd name="T28" fmla="*/ 11 w 476"/>
                <a:gd name="T29" fmla="*/ 33 h 366"/>
                <a:gd name="T30" fmla="*/ 103 w 476"/>
                <a:gd name="T31" fmla="*/ 127 h 366"/>
                <a:gd name="T32" fmla="*/ 120 w 476"/>
                <a:gd name="T33" fmla="*/ 134 h 366"/>
                <a:gd name="T34" fmla="*/ 146 w 476"/>
                <a:gd name="T35" fmla="*/ 127 h 366"/>
                <a:gd name="T36" fmla="*/ 188 w 476"/>
                <a:gd name="T37" fmla="*/ 162 h 366"/>
                <a:gd name="T38" fmla="*/ 175 w 476"/>
                <a:gd name="T39" fmla="*/ 181 h 366"/>
                <a:gd name="T40" fmla="*/ 184 w 476"/>
                <a:gd name="T41" fmla="*/ 201 h 366"/>
                <a:gd name="T42" fmla="*/ 217 w 476"/>
                <a:gd name="T43" fmla="*/ 206 h 366"/>
                <a:gd name="T44" fmla="*/ 229 w 476"/>
                <a:gd name="T45" fmla="*/ 206 h 366"/>
                <a:gd name="T46" fmla="*/ 250 w 476"/>
                <a:gd name="T47" fmla="*/ 229 h 366"/>
                <a:gd name="T48" fmla="*/ 244 w 476"/>
                <a:gd name="T49" fmla="*/ 261 h 366"/>
                <a:gd name="T50" fmla="*/ 261 w 476"/>
                <a:gd name="T51" fmla="*/ 273 h 366"/>
                <a:gd name="T52" fmla="*/ 274 w 476"/>
                <a:gd name="T53" fmla="*/ 278 h 366"/>
                <a:gd name="T54" fmla="*/ 292 w 476"/>
                <a:gd name="T55" fmla="*/ 261 h 366"/>
                <a:gd name="T56" fmla="*/ 338 w 476"/>
                <a:gd name="T57" fmla="*/ 261 h 366"/>
                <a:gd name="T58" fmla="*/ 322 w 476"/>
                <a:gd name="T59" fmla="*/ 292 h 366"/>
                <a:gd name="T60" fmla="*/ 319 w 476"/>
                <a:gd name="T61" fmla="*/ 305 h 366"/>
                <a:gd name="T62" fmla="*/ 328 w 476"/>
                <a:gd name="T63" fmla="*/ 317 h 366"/>
                <a:gd name="T64" fmla="*/ 387 w 476"/>
                <a:gd name="T65" fmla="*/ 347 h 366"/>
                <a:gd name="T66" fmla="*/ 445 w 476"/>
                <a:gd name="T67" fmla="*/ 366 h 366"/>
                <a:gd name="T68" fmla="*/ 463 w 476"/>
                <a:gd name="T69" fmla="*/ 365 h 366"/>
                <a:gd name="T70" fmla="*/ 476 w 476"/>
                <a:gd name="T71" fmla="*/ 342 h 366"/>
                <a:gd name="T72" fmla="*/ 470 w 476"/>
                <a:gd name="T73" fmla="*/ 313 h 36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476"/>
                <a:gd name="T112" fmla="*/ 0 h 366"/>
                <a:gd name="T113" fmla="*/ 476 w 476"/>
                <a:gd name="T114" fmla="*/ 366 h 36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476" h="366">
                  <a:moveTo>
                    <a:pt x="470" y="313"/>
                  </a:moveTo>
                  <a:lnTo>
                    <a:pt x="449" y="262"/>
                  </a:lnTo>
                  <a:lnTo>
                    <a:pt x="436" y="248"/>
                  </a:lnTo>
                  <a:lnTo>
                    <a:pt x="365" y="213"/>
                  </a:lnTo>
                  <a:lnTo>
                    <a:pt x="350" y="199"/>
                  </a:lnTo>
                  <a:lnTo>
                    <a:pt x="331" y="171"/>
                  </a:lnTo>
                  <a:lnTo>
                    <a:pt x="311" y="127"/>
                  </a:lnTo>
                  <a:lnTo>
                    <a:pt x="267" y="72"/>
                  </a:lnTo>
                  <a:lnTo>
                    <a:pt x="189" y="58"/>
                  </a:lnTo>
                  <a:lnTo>
                    <a:pt x="146" y="44"/>
                  </a:lnTo>
                  <a:lnTo>
                    <a:pt x="58" y="3"/>
                  </a:lnTo>
                  <a:lnTo>
                    <a:pt x="44" y="0"/>
                  </a:lnTo>
                  <a:lnTo>
                    <a:pt x="1" y="8"/>
                  </a:lnTo>
                  <a:lnTo>
                    <a:pt x="0" y="17"/>
                  </a:lnTo>
                  <a:lnTo>
                    <a:pt x="11" y="33"/>
                  </a:lnTo>
                  <a:lnTo>
                    <a:pt x="103" y="127"/>
                  </a:lnTo>
                  <a:lnTo>
                    <a:pt x="120" y="134"/>
                  </a:lnTo>
                  <a:lnTo>
                    <a:pt x="146" y="127"/>
                  </a:lnTo>
                  <a:lnTo>
                    <a:pt x="188" y="162"/>
                  </a:lnTo>
                  <a:lnTo>
                    <a:pt x="175" y="181"/>
                  </a:lnTo>
                  <a:lnTo>
                    <a:pt x="184" y="201"/>
                  </a:lnTo>
                  <a:lnTo>
                    <a:pt x="217" y="206"/>
                  </a:lnTo>
                  <a:lnTo>
                    <a:pt x="229" y="206"/>
                  </a:lnTo>
                  <a:lnTo>
                    <a:pt x="250" y="229"/>
                  </a:lnTo>
                  <a:lnTo>
                    <a:pt x="244" y="261"/>
                  </a:lnTo>
                  <a:lnTo>
                    <a:pt x="261" y="273"/>
                  </a:lnTo>
                  <a:lnTo>
                    <a:pt x="274" y="278"/>
                  </a:lnTo>
                  <a:lnTo>
                    <a:pt x="292" y="261"/>
                  </a:lnTo>
                  <a:lnTo>
                    <a:pt x="338" y="261"/>
                  </a:lnTo>
                  <a:lnTo>
                    <a:pt x="322" y="292"/>
                  </a:lnTo>
                  <a:lnTo>
                    <a:pt x="319" y="305"/>
                  </a:lnTo>
                  <a:lnTo>
                    <a:pt x="328" y="317"/>
                  </a:lnTo>
                  <a:lnTo>
                    <a:pt x="387" y="347"/>
                  </a:lnTo>
                  <a:lnTo>
                    <a:pt x="445" y="366"/>
                  </a:lnTo>
                  <a:lnTo>
                    <a:pt x="463" y="365"/>
                  </a:lnTo>
                  <a:lnTo>
                    <a:pt x="476" y="342"/>
                  </a:lnTo>
                  <a:lnTo>
                    <a:pt x="470" y="313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29" name="Freeform 66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865" y="1865"/>
              <a:ext cx="16" cy="18"/>
            </a:xfrm>
            <a:custGeom>
              <a:avLst/>
              <a:gdLst>
                <a:gd name="T0" fmla="*/ 2 w 119"/>
                <a:gd name="T1" fmla="*/ 41 h 126"/>
                <a:gd name="T2" fmla="*/ 11 w 119"/>
                <a:gd name="T3" fmla="*/ 66 h 126"/>
                <a:gd name="T4" fmla="*/ 52 w 119"/>
                <a:gd name="T5" fmla="*/ 126 h 126"/>
                <a:gd name="T6" fmla="*/ 75 w 119"/>
                <a:gd name="T7" fmla="*/ 111 h 126"/>
                <a:gd name="T8" fmla="*/ 100 w 119"/>
                <a:gd name="T9" fmla="*/ 106 h 126"/>
                <a:gd name="T10" fmla="*/ 101 w 119"/>
                <a:gd name="T11" fmla="*/ 83 h 126"/>
                <a:gd name="T12" fmla="*/ 109 w 119"/>
                <a:gd name="T13" fmla="*/ 44 h 126"/>
                <a:gd name="T14" fmla="*/ 119 w 119"/>
                <a:gd name="T15" fmla="*/ 27 h 126"/>
                <a:gd name="T16" fmla="*/ 113 w 119"/>
                <a:gd name="T17" fmla="*/ 16 h 126"/>
                <a:gd name="T18" fmla="*/ 100 w 119"/>
                <a:gd name="T19" fmla="*/ 7 h 126"/>
                <a:gd name="T20" fmla="*/ 72 w 119"/>
                <a:gd name="T21" fmla="*/ 13 h 126"/>
                <a:gd name="T22" fmla="*/ 36 w 119"/>
                <a:gd name="T23" fmla="*/ 0 h 126"/>
                <a:gd name="T24" fmla="*/ 23 w 119"/>
                <a:gd name="T25" fmla="*/ 4 h 126"/>
                <a:gd name="T26" fmla="*/ 6 w 119"/>
                <a:gd name="T27" fmla="*/ 0 h 126"/>
                <a:gd name="T28" fmla="*/ 0 w 119"/>
                <a:gd name="T29" fmla="*/ 7 h 126"/>
                <a:gd name="T30" fmla="*/ 2 w 119"/>
                <a:gd name="T31" fmla="*/ 41 h 12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19"/>
                <a:gd name="T49" fmla="*/ 0 h 126"/>
                <a:gd name="T50" fmla="*/ 119 w 119"/>
                <a:gd name="T51" fmla="*/ 126 h 12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19" h="126">
                  <a:moveTo>
                    <a:pt x="2" y="41"/>
                  </a:moveTo>
                  <a:lnTo>
                    <a:pt x="11" y="66"/>
                  </a:lnTo>
                  <a:lnTo>
                    <a:pt x="52" y="126"/>
                  </a:lnTo>
                  <a:lnTo>
                    <a:pt x="75" y="111"/>
                  </a:lnTo>
                  <a:lnTo>
                    <a:pt x="100" y="106"/>
                  </a:lnTo>
                  <a:lnTo>
                    <a:pt x="101" y="83"/>
                  </a:lnTo>
                  <a:lnTo>
                    <a:pt x="109" y="44"/>
                  </a:lnTo>
                  <a:lnTo>
                    <a:pt x="119" y="27"/>
                  </a:lnTo>
                  <a:lnTo>
                    <a:pt x="113" y="16"/>
                  </a:lnTo>
                  <a:lnTo>
                    <a:pt x="100" y="7"/>
                  </a:lnTo>
                  <a:lnTo>
                    <a:pt x="72" y="13"/>
                  </a:lnTo>
                  <a:lnTo>
                    <a:pt x="36" y="0"/>
                  </a:lnTo>
                  <a:lnTo>
                    <a:pt x="23" y="4"/>
                  </a:lnTo>
                  <a:lnTo>
                    <a:pt x="6" y="0"/>
                  </a:lnTo>
                  <a:lnTo>
                    <a:pt x="0" y="7"/>
                  </a:lnTo>
                  <a:lnTo>
                    <a:pt x="2" y="41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30" name="Freeform 67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3383" y="1703"/>
              <a:ext cx="599" cy="328"/>
            </a:xfrm>
            <a:custGeom>
              <a:avLst/>
              <a:gdLst>
                <a:gd name="T0" fmla="*/ 3636 w 4003"/>
                <a:gd name="T1" fmla="*/ 708 h 2214"/>
                <a:gd name="T2" fmla="*/ 3389 w 4003"/>
                <a:gd name="T3" fmla="*/ 663 h 2214"/>
                <a:gd name="T4" fmla="*/ 3030 w 4003"/>
                <a:gd name="T5" fmla="*/ 294 h 2214"/>
                <a:gd name="T6" fmla="*/ 2914 w 4003"/>
                <a:gd name="T7" fmla="*/ 186 h 2214"/>
                <a:gd name="T8" fmla="*/ 2699 w 4003"/>
                <a:gd name="T9" fmla="*/ 294 h 2214"/>
                <a:gd name="T10" fmla="*/ 2654 w 4003"/>
                <a:gd name="T11" fmla="*/ 229 h 2214"/>
                <a:gd name="T12" fmla="*/ 2546 w 4003"/>
                <a:gd name="T13" fmla="*/ 218 h 2214"/>
                <a:gd name="T14" fmla="*/ 2440 w 4003"/>
                <a:gd name="T15" fmla="*/ 208 h 2214"/>
                <a:gd name="T16" fmla="*/ 2411 w 4003"/>
                <a:gd name="T17" fmla="*/ 98 h 2214"/>
                <a:gd name="T18" fmla="*/ 2225 w 4003"/>
                <a:gd name="T19" fmla="*/ 0 h 2214"/>
                <a:gd name="T20" fmla="*/ 2096 w 4003"/>
                <a:gd name="T21" fmla="*/ 89 h 2214"/>
                <a:gd name="T22" fmla="*/ 1725 w 4003"/>
                <a:gd name="T23" fmla="*/ 183 h 2214"/>
                <a:gd name="T24" fmla="*/ 1451 w 4003"/>
                <a:gd name="T25" fmla="*/ 230 h 2214"/>
                <a:gd name="T26" fmla="*/ 1536 w 4003"/>
                <a:gd name="T27" fmla="*/ 373 h 2214"/>
                <a:gd name="T28" fmla="*/ 1426 w 4003"/>
                <a:gd name="T29" fmla="*/ 488 h 2214"/>
                <a:gd name="T30" fmla="*/ 1366 w 4003"/>
                <a:gd name="T31" fmla="*/ 578 h 2214"/>
                <a:gd name="T32" fmla="*/ 1476 w 4003"/>
                <a:gd name="T33" fmla="*/ 703 h 2214"/>
                <a:gd name="T34" fmla="*/ 1297 w 4003"/>
                <a:gd name="T35" fmla="*/ 773 h 2214"/>
                <a:gd name="T36" fmla="*/ 1106 w 4003"/>
                <a:gd name="T37" fmla="*/ 719 h 2214"/>
                <a:gd name="T38" fmla="*/ 885 w 4003"/>
                <a:gd name="T39" fmla="*/ 754 h 2214"/>
                <a:gd name="T40" fmla="*/ 785 w 4003"/>
                <a:gd name="T41" fmla="*/ 761 h 2214"/>
                <a:gd name="T42" fmla="*/ 600 w 4003"/>
                <a:gd name="T43" fmla="*/ 629 h 2214"/>
                <a:gd name="T44" fmla="*/ 461 w 4003"/>
                <a:gd name="T45" fmla="*/ 604 h 2214"/>
                <a:gd name="T46" fmla="*/ 281 w 4003"/>
                <a:gd name="T47" fmla="*/ 727 h 2214"/>
                <a:gd name="T48" fmla="*/ 160 w 4003"/>
                <a:gd name="T49" fmla="*/ 847 h 2214"/>
                <a:gd name="T50" fmla="*/ 32 w 4003"/>
                <a:gd name="T51" fmla="*/ 955 h 2214"/>
                <a:gd name="T52" fmla="*/ 65 w 4003"/>
                <a:gd name="T53" fmla="*/ 1145 h 2214"/>
                <a:gd name="T54" fmla="*/ 176 w 4003"/>
                <a:gd name="T55" fmla="*/ 1221 h 2214"/>
                <a:gd name="T56" fmla="*/ 200 w 4003"/>
                <a:gd name="T57" fmla="*/ 1344 h 2214"/>
                <a:gd name="T58" fmla="*/ 363 w 4003"/>
                <a:gd name="T59" fmla="*/ 1353 h 2214"/>
                <a:gd name="T60" fmla="*/ 526 w 4003"/>
                <a:gd name="T61" fmla="*/ 1322 h 2214"/>
                <a:gd name="T62" fmla="*/ 648 w 4003"/>
                <a:gd name="T63" fmla="*/ 1327 h 2214"/>
                <a:gd name="T64" fmla="*/ 645 w 4003"/>
                <a:gd name="T65" fmla="*/ 1460 h 2214"/>
                <a:gd name="T66" fmla="*/ 591 w 4003"/>
                <a:gd name="T67" fmla="*/ 1541 h 2214"/>
                <a:gd name="T68" fmla="*/ 471 w 4003"/>
                <a:gd name="T69" fmla="*/ 1573 h 2214"/>
                <a:gd name="T70" fmla="*/ 490 w 4003"/>
                <a:gd name="T71" fmla="*/ 1663 h 2214"/>
                <a:gd name="T72" fmla="*/ 367 w 4003"/>
                <a:gd name="T73" fmla="*/ 1689 h 2214"/>
                <a:gd name="T74" fmla="*/ 470 w 4003"/>
                <a:gd name="T75" fmla="*/ 1806 h 2214"/>
                <a:gd name="T76" fmla="*/ 538 w 4003"/>
                <a:gd name="T77" fmla="*/ 1908 h 2214"/>
                <a:gd name="T78" fmla="*/ 605 w 4003"/>
                <a:gd name="T79" fmla="*/ 1966 h 2214"/>
                <a:gd name="T80" fmla="*/ 611 w 4003"/>
                <a:gd name="T81" fmla="*/ 2030 h 2214"/>
                <a:gd name="T82" fmla="*/ 870 w 4003"/>
                <a:gd name="T83" fmla="*/ 2113 h 2214"/>
                <a:gd name="T84" fmla="*/ 1438 w 4003"/>
                <a:gd name="T85" fmla="*/ 1709 h 2214"/>
                <a:gd name="T86" fmla="*/ 1899 w 4003"/>
                <a:gd name="T87" fmla="*/ 1903 h 2214"/>
                <a:gd name="T88" fmla="*/ 2011 w 4003"/>
                <a:gd name="T89" fmla="*/ 2146 h 2214"/>
                <a:gd name="T90" fmla="*/ 2169 w 4003"/>
                <a:gd name="T91" fmla="*/ 2214 h 2214"/>
                <a:gd name="T92" fmla="*/ 2273 w 4003"/>
                <a:gd name="T93" fmla="*/ 2072 h 2214"/>
                <a:gd name="T94" fmla="*/ 2397 w 4003"/>
                <a:gd name="T95" fmla="*/ 1973 h 2214"/>
                <a:gd name="T96" fmla="*/ 2678 w 4003"/>
                <a:gd name="T97" fmla="*/ 1864 h 2214"/>
                <a:gd name="T98" fmla="*/ 2956 w 4003"/>
                <a:gd name="T99" fmla="*/ 1892 h 2214"/>
                <a:gd name="T100" fmla="*/ 3208 w 4003"/>
                <a:gd name="T101" fmla="*/ 1913 h 2214"/>
                <a:gd name="T102" fmla="*/ 3296 w 4003"/>
                <a:gd name="T103" fmla="*/ 1936 h 2214"/>
                <a:gd name="T104" fmla="*/ 3319 w 4003"/>
                <a:gd name="T105" fmla="*/ 1644 h 2214"/>
                <a:gd name="T106" fmla="*/ 3443 w 4003"/>
                <a:gd name="T107" fmla="*/ 1548 h 2214"/>
                <a:gd name="T108" fmla="*/ 3516 w 4003"/>
                <a:gd name="T109" fmla="*/ 1492 h 2214"/>
                <a:gd name="T110" fmla="*/ 3814 w 4003"/>
                <a:gd name="T111" fmla="*/ 1293 h 2214"/>
                <a:gd name="T112" fmla="*/ 3913 w 4003"/>
                <a:gd name="T113" fmla="*/ 1080 h 2214"/>
                <a:gd name="T114" fmla="*/ 3999 w 4003"/>
                <a:gd name="T115" fmla="*/ 971 h 221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4003"/>
                <a:gd name="T175" fmla="*/ 0 h 2214"/>
                <a:gd name="T176" fmla="*/ 4003 w 4003"/>
                <a:gd name="T177" fmla="*/ 2214 h 221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4003" h="2214">
                  <a:moveTo>
                    <a:pt x="3918" y="905"/>
                  </a:moveTo>
                  <a:lnTo>
                    <a:pt x="3896" y="930"/>
                  </a:lnTo>
                  <a:lnTo>
                    <a:pt x="3812" y="919"/>
                  </a:lnTo>
                  <a:lnTo>
                    <a:pt x="3758" y="835"/>
                  </a:lnTo>
                  <a:lnTo>
                    <a:pt x="3716" y="824"/>
                  </a:lnTo>
                  <a:lnTo>
                    <a:pt x="3701" y="782"/>
                  </a:lnTo>
                  <a:lnTo>
                    <a:pt x="3636" y="708"/>
                  </a:lnTo>
                  <a:lnTo>
                    <a:pt x="3593" y="712"/>
                  </a:lnTo>
                  <a:lnTo>
                    <a:pt x="3515" y="743"/>
                  </a:lnTo>
                  <a:lnTo>
                    <a:pt x="3445" y="743"/>
                  </a:lnTo>
                  <a:lnTo>
                    <a:pt x="3426" y="712"/>
                  </a:lnTo>
                  <a:lnTo>
                    <a:pt x="3405" y="712"/>
                  </a:lnTo>
                  <a:lnTo>
                    <a:pt x="3405" y="686"/>
                  </a:lnTo>
                  <a:lnTo>
                    <a:pt x="3389" y="663"/>
                  </a:lnTo>
                  <a:lnTo>
                    <a:pt x="3348" y="663"/>
                  </a:lnTo>
                  <a:lnTo>
                    <a:pt x="3331" y="698"/>
                  </a:lnTo>
                  <a:lnTo>
                    <a:pt x="3317" y="717"/>
                  </a:lnTo>
                  <a:lnTo>
                    <a:pt x="3294" y="736"/>
                  </a:lnTo>
                  <a:lnTo>
                    <a:pt x="3133" y="423"/>
                  </a:lnTo>
                  <a:lnTo>
                    <a:pt x="3086" y="349"/>
                  </a:lnTo>
                  <a:lnTo>
                    <a:pt x="3030" y="294"/>
                  </a:lnTo>
                  <a:lnTo>
                    <a:pt x="2994" y="273"/>
                  </a:lnTo>
                  <a:lnTo>
                    <a:pt x="2945" y="230"/>
                  </a:lnTo>
                  <a:lnTo>
                    <a:pt x="2950" y="204"/>
                  </a:lnTo>
                  <a:lnTo>
                    <a:pt x="2973" y="197"/>
                  </a:lnTo>
                  <a:lnTo>
                    <a:pt x="2973" y="165"/>
                  </a:lnTo>
                  <a:lnTo>
                    <a:pt x="2938" y="170"/>
                  </a:lnTo>
                  <a:lnTo>
                    <a:pt x="2914" y="186"/>
                  </a:lnTo>
                  <a:lnTo>
                    <a:pt x="2880" y="202"/>
                  </a:lnTo>
                  <a:lnTo>
                    <a:pt x="2838" y="239"/>
                  </a:lnTo>
                  <a:lnTo>
                    <a:pt x="2789" y="257"/>
                  </a:lnTo>
                  <a:lnTo>
                    <a:pt x="2756" y="289"/>
                  </a:lnTo>
                  <a:lnTo>
                    <a:pt x="2743" y="310"/>
                  </a:lnTo>
                  <a:lnTo>
                    <a:pt x="2719" y="297"/>
                  </a:lnTo>
                  <a:lnTo>
                    <a:pt x="2699" y="294"/>
                  </a:lnTo>
                  <a:lnTo>
                    <a:pt x="2665" y="299"/>
                  </a:lnTo>
                  <a:lnTo>
                    <a:pt x="2646" y="308"/>
                  </a:lnTo>
                  <a:lnTo>
                    <a:pt x="2632" y="294"/>
                  </a:lnTo>
                  <a:lnTo>
                    <a:pt x="2646" y="262"/>
                  </a:lnTo>
                  <a:lnTo>
                    <a:pt x="2665" y="250"/>
                  </a:lnTo>
                  <a:lnTo>
                    <a:pt x="2671" y="229"/>
                  </a:lnTo>
                  <a:lnTo>
                    <a:pt x="2654" y="229"/>
                  </a:lnTo>
                  <a:lnTo>
                    <a:pt x="2636" y="245"/>
                  </a:lnTo>
                  <a:lnTo>
                    <a:pt x="2615" y="236"/>
                  </a:lnTo>
                  <a:lnTo>
                    <a:pt x="2597" y="215"/>
                  </a:lnTo>
                  <a:lnTo>
                    <a:pt x="2576" y="213"/>
                  </a:lnTo>
                  <a:lnTo>
                    <a:pt x="2567" y="223"/>
                  </a:lnTo>
                  <a:lnTo>
                    <a:pt x="2562" y="234"/>
                  </a:lnTo>
                  <a:lnTo>
                    <a:pt x="2546" y="218"/>
                  </a:lnTo>
                  <a:lnTo>
                    <a:pt x="2531" y="192"/>
                  </a:lnTo>
                  <a:lnTo>
                    <a:pt x="2518" y="183"/>
                  </a:lnTo>
                  <a:lnTo>
                    <a:pt x="2503" y="199"/>
                  </a:lnTo>
                  <a:lnTo>
                    <a:pt x="2487" y="193"/>
                  </a:lnTo>
                  <a:lnTo>
                    <a:pt x="2471" y="204"/>
                  </a:lnTo>
                  <a:lnTo>
                    <a:pt x="2452" y="197"/>
                  </a:lnTo>
                  <a:lnTo>
                    <a:pt x="2440" y="208"/>
                  </a:lnTo>
                  <a:lnTo>
                    <a:pt x="2417" y="202"/>
                  </a:lnTo>
                  <a:lnTo>
                    <a:pt x="2411" y="183"/>
                  </a:lnTo>
                  <a:lnTo>
                    <a:pt x="2425" y="181"/>
                  </a:lnTo>
                  <a:lnTo>
                    <a:pt x="2422" y="156"/>
                  </a:lnTo>
                  <a:lnTo>
                    <a:pt x="2428" y="137"/>
                  </a:lnTo>
                  <a:lnTo>
                    <a:pt x="2432" y="114"/>
                  </a:lnTo>
                  <a:lnTo>
                    <a:pt x="2411" y="98"/>
                  </a:lnTo>
                  <a:lnTo>
                    <a:pt x="2404" y="82"/>
                  </a:lnTo>
                  <a:lnTo>
                    <a:pt x="2406" y="58"/>
                  </a:lnTo>
                  <a:lnTo>
                    <a:pt x="2390" y="28"/>
                  </a:lnTo>
                  <a:lnTo>
                    <a:pt x="2350" y="31"/>
                  </a:lnTo>
                  <a:lnTo>
                    <a:pt x="2323" y="38"/>
                  </a:lnTo>
                  <a:lnTo>
                    <a:pt x="2289" y="21"/>
                  </a:lnTo>
                  <a:lnTo>
                    <a:pt x="2225" y="0"/>
                  </a:lnTo>
                  <a:lnTo>
                    <a:pt x="2192" y="2"/>
                  </a:lnTo>
                  <a:lnTo>
                    <a:pt x="2188" y="21"/>
                  </a:lnTo>
                  <a:lnTo>
                    <a:pt x="2162" y="33"/>
                  </a:lnTo>
                  <a:lnTo>
                    <a:pt x="2139" y="36"/>
                  </a:lnTo>
                  <a:lnTo>
                    <a:pt x="2139" y="58"/>
                  </a:lnTo>
                  <a:lnTo>
                    <a:pt x="2122" y="84"/>
                  </a:lnTo>
                  <a:lnTo>
                    <a:pt x="2096" y="89"/>
                  </a:lnTo>
                  <a:lnTo>
                    <a:pt x="2012" y="95"/>
                  </a:lnTo>
                  <a:lnTo>
                    <a:pt x="1924" y="125"/>
                  </a:lnTo>
                  <a:lnTo>
                    <a:pt x="1872" y="126"/>
                  </a:lnTo>
                  <a:lnTo>
                    <a:pt x="1844" y="151"/>
                  </a:lnTo>
                  <a:lnTo>
                    <a:pt x="1834" y="176"/>
                  </a:lnTo>
                  <a:lnTo>
                    <a:pt x="1820" y="170"/>
                  </a:lnTo>
                  <a:lnTo>
                    <a:pt x="1725" y="183"/>
                  </a:lnTo>
                  <a:lnTo>
                    <a:pt x="1693" y="192"/>
                  </a:lnTo>
                  <a:lnTo>
                    <a:pt x="1648" y="193"/>
                  </a:lnTo>
                  <a:lnTo>
                    <a:pt x="1586" y="223"/>
                  </a:lnTo>
                  <a:lnTo>
                    <a:pt x="1570" y="236"/>
                  </a:lnTo>
                  <a:lnTo>
                    <a:pt x="1513" y="236"/>
                  </a:lnTo>
                  <a:lnTo>
                    <a:pt x="1466" y="225"/>
                  </a:lnTo>
                  <a:lnTo>
                    <a:pt x="1451" y="230"/>
                  </a:lnTo>
                  <a:lnTo>
                    <a:pt x="1443" y="268"/>
                  </a:lnTo>
                  <a:lnTo>
                    <a:pt x="1447" y="299"/>
                  </a:lnTo>
                  <a:lnTo>
                    <a:pt x="1460" y="315"/>
                  </a:lnTo>
                  <a:lnTo>
                    <a:pt x="1447" y="320"/>
                  </a:lnTo>
                  <a:lnTo>
                    <a:pt x="1447" y="345"/>
                  </a:lnTo>
                  <a:lnTo>
                    <a:pt x="1495" y="352"/>
                  </a:lnTo>
                  <a:lnTo>
                    <a:pt x="1536" y="373"/>
                  </a:lnTo>
                  <a:lnTo>
                    <a:pt x="1532" y="391"/>
                  </a:lnTo>
                  <a:lnTo>
                    <a:pt x="1508" y="396"/>
                  </a:lnTo>
                  <a:lnTo>
                    <a:pt x="1460" y="386"/>
                  </a:lnTo>
                  <a:lnTo>
                    <a:pt x="1429" y="400"/>
                  </a:lnTo>
                  <a:lnTo>
                    <a:pt x="1399" y="435"/>
                  </a:lnTo>
                  <a:lnTo>
                    <a:pt x="1405" y="454"/>
                  </a:lnTo>
                  <a:lnTo>
                    <a:pt x="1426" y="488"/>
                  </a:lnTo>
                  <a:lnTo>
                    <a:pt x="1411" y="509"/>
                  </a:lnTo>
                  <a:lnTo>
                    <a:pt x="1385" y="520"/>
                  </a:lnTo>
                  <a:lnTo>
                    <a:pt x="1352" y="544"/>
                  </a:lnTo>
                  <a:lnTo>
                    <a:pt x="1331" y="550"/>
                  </a:lnTo>
                  <a:lnTo>
                    <a:pt x="1339" y="569"/>
                  </a:lnTo>
                  <a:lnTo>
                    <a:pt x="1349" y="569"/>
                  </a:lnTo>
                  <a:lnTo>
                    <a:pt x="1366" y="578"/>
                  </a:lnTo>
                  <a:lnTo>
                    <a:pt x="1364" y="590"/>
                  </a:lnTo>
                  <a:lnTo>
                    <a:pt x="1380" y="599"/>
                  </a:lnTo>
                  <a:lnTo>
                    <a:pt x="1409" y="604"/>
                  </a:lnTo>
                  <a:lnTo>
                    <a:pt x="1419" y="626"/>
                  </a:lnTo>
                  <a:lnTo>
                    <a:pt x="1472" y="638"/>
                  </a:lnTo>
                  <a:lnTo>
                    <a:pt x="1483" y="656"/>
                  </a:lnTo>
                  <a:lnTo>
                    <a:pt x="1476" y="703"/>
                  </a:lnTo>
                  <a:lnTo>
                    <a:pt x="1471" y="725"/>
                  </a:lnTo>
                  <a:lnTo>
                    <a:pt x="1401" y="754"/>
                  </a:lnTo>
                  <a:lnTo>
                    <a:pt x="1360" y="752"/>
                  </a:lnTo>
                  <a:lnTo>
                    <a:pt x="1343" y="727"/>
                  </a:lnTo>
                  <a:lnTo>
                    <a:pt x="1332" y="727"/>
                  </a:lnTo>
                  <a:lnTo>
                    <a:pt x="1325" y="748"/>
                  </a:lnTo>
                  <a:lnTo>
                    <a:pt x="1297" y="773"/>
                  </a:lnTo>
                  <a:lnTo>
                    <a:pt x="1279" y="761"/>
                  </a:lnTo>
                  <a:lnTo>
                    <a:pt x="1245" y="752"/>
                  </a:lnTo>
                  <a:lnTo>
                    <a:pt x="1205" y="729"/>
                  </a:lnTo>
                  <a:lnTo>
                    <a:pt x="1192" y="691"/>
                  </a:lnTo>
                  <a:lnTo>
                    <a:pt x="1159" y="684"/>
                  </a:lnTo>
                  <a:lnTo>
                    <a:pt x="1112" y="691"/>
                  </a:lnTo>
                  <a:lnTo>
                    <a:pt x="1106" y="719"/>
                  </a:lnTo>
                  <a:lnTo>
                    <a:pt x="1079" y="725"/>
                  </a:lnTo>
                  <a:lnTo>
                    <a:pt x="1051" y="696"/>
                  </a:lnTo>
                  <a:lnTo>
                    <a:pt x="985" y="689"/>
                  </a:lnTo>
                  <a:lnTo>
                    <a:pt x="961" y="714"/>
                  </a:lnTo>
                  <a:lnTo>
                    <a:pt x="934" y="759"/>
                  </a:lnTo>
                  <a:lnTo>
                    <a:pt x="904" y="769"/>
                  </a:lnTo>
                  <a:lnTo>
                    <a:pt x="885" y="754"/>
                  </a:lnTo>
                  <a:lnTo>
                    <a:pt x="855" y="743"/>
                  </a:lnTo>
                  <a:lnTo>
                    <a:pt x="830" y="705"/>
                  </a:lnTo>
                  <a:lnTo>
                    <a:pt x="797" y="700"/>
                  </a:lnTo>
                  <a:lnTo>
                    <a:pt x="799" y="717"/>
                  </a:lnTo>
                  <a:lnTo>
                    <a:pt x="808" y="752"/>
                  </a:lnTo>
                  <a:lnTo>
                    <a:pt x="797" y="769"/>
                  </a:lnTo>
                  <a:lnTo>
                    <a:pt x="785" y="761"/>
                  </a:lnTo>
                  <a:lnTo>
                    <a:pt x="783" y="719"/>
                  </a:lnTo>
                  <a:lnTo>
                    <a:pt x="764" y="700"/>
                  </a:lnTo>
                  <a:lnTo>
                    <a:pt x="704" y="663"/>
                  </a:lnTo>
                  <a:lnTo>
                    <a:pt x="704" y="638"/>
                  </a:lnTo>
                  <a:lnTo>
                    <a:pt x="661" y="626"/>
                  </a:lnTo>
                  <a:lnTo>
                    <a:pt x="634" y="631"/>
                  </a:lnTo>
                  <a:lnTo>
                    <a:pt x="600" y="629"/>
                  </a:lnTo>
                  <a:lnTo>
                    <a:pt x="581" y="592"/>
                  </a:lnTo>
                  <a:lnTo>
                    <a:pt x="563" y="589"/>
                  </a:lnTo>
                  <a:lnTo>
                    <a:pt x="536" y="604"/>
                  </a:lnTo>
                  <a:lnTo>
                    <a:pt x="525" y="615"/>
                  </a:lnTo>
                  <a:lnTo>
                    <a:pt x="495" y="624"/>
                  </a:lnTo>
                  <a:lnTo>
                    <a:pt x="482" y="604"/>
                  </a:lnTo>
                  <a:lnTo>
                    <a:pt x="461" y="604"/>
                  </a:lnTo>
                  <a:lnTo>
                    <a:pt x="432" y="599"/>
                  </a:lnTo>
                  <a:lnTo>
                    <a:pt x="385" y="645"/>
                  </a:lnTo>
                  <a:lnTo>
                    <a:pt x="350" y="671"/>
                  </a:lnTo>
                  <a:lnTo>
                    <a:pt x="326" y="677"/>
                  </a:lnTo>
                  <a:lnTo>
                    <a:pt x="304" y="689"/>
                  </a:lnTo>
                  <a:lnTo>
                    <a:pt x="289" y="710"/>
                  </a:lnTo>
                  <a:lnTo>
                    <a:pt x="281" y="727"/>
                  </a:lnTo>
                  <a:lnTo>
                    <a:pt x="223" y="769"/>
                  </a:lnTo>
                  <a:lnTo>
                    <a:pt x="225" y="801"/>
                  </a:lnTo>
                  <a:lnTo>
                    <a:pt x="232" y="829"/>
                  </a:lnTo>
                  <a:lnTo>
                    <a:pt x="229" y="859"/>
                  </a:lnTo>
                  <a:lnTo>
                    <a:pt x="211" y="875"/>
                  </a:lnTo>
                  <a:lnTo>
                    <a:pt x="182" y="875"/>
                  </a:lnTo>
                  <a:lnTo>
                    <a:pt x="160" y="847"/>
                  </a:lnTo>
                  <a:lnTo>
                    <a:pt x="138" y="810"/>
                  </a:lnTo>
                  <a:lnTo>
                    <a:pt x="116" y="794"/>
                  </a:lnTo>
                  <a:lnTo>
                    <a:pt x="97" y="798"/>
                  </a:lnTo>
                  <a:lnTo>
                    <a:pt x="93" y="819"/>
                  </a:lnTo>
                  <a:lnTo>
                    <a:pt x="78" y="858"/>
                  </a:lnTo>
                  <a:lnTo>
                    <a:pt x="41" y="866"/>
                  </a:lnTo>
                  <a:lnTo>
                    <a:pt x="32" y="955"/>
                  </a:lnTo>
                  <a:lnTo>
                    <a:pt x="47" y="967"/>
                  </a:lnTo>
                  <a:lnTo>
                    <a:pt x="57" y="986"/>
                  </a:lnTo>
                  <a:lnTo>
                    <a:pt x="47" y="1001"/>
                  </a:lnTo>
                  <a:lnTo>
                    <a:pt x="28" y="1018"/>
                  </a:lnTo>
                  <a:lnTo>
                    <a:pt x="0" y="1098"/>
                  </a:lnTo>
                  <a:lnTo>
                    <a:pt x="59" y="1120"/>
                  </a:lnTo>
                  <a:lnTo>
                    <a:pt x="65" y="1145"/>
                  </a:lnTo>
                  <a:lnTo>
                    <a:pt x="62" y="1166"/>
                  </a:lnTo>
                  <a:lnTo>
                    <a:pt x="86" y="1200"/>
                  </a:lnTo>
                  <a:lnTo>
                    <a:pt x="90" y="1177"/>
                  </a:lnTo>
                  <a:lnTo>
                    <a:pt x="116" y="1191"/>
                  </a:lnTo>
                  <a:lnTo>
                    <a:pt x="130" y="1189"/>
                  </a:lnTo>
                  <a:lnTo>
                    <a:pt x="154" y="1191"/>
                  </a:lnTo>
                  <a:lnTo>
                    <a:pt x="176" y="1221"/>
                  </a:lnTo>
                  <a:lnTo>
                    <a:pt x="197" y="1235"/>
                  </a:lnTo>
                  <a:lnTo>
                    <a:pt x="212" y="1269"/>
                  </a:lnTo>
                  <a:lnTo>
                    <a:pt x="255" y="1344"/>
                  </a:lnTo>
                  <a:lnTo>
                    <a:pt x="249" y="1350"/>
                  </a:lnTo>
                  <a:lnTo>
                    <a:pt x="229" y="1344"/>
                  </a:lnTo>
                  <a:lnTo>
                    <a:pt x="215" y="1337"/>
                  </a:lnTo>
                  <a:lnTo>
                    <a:pt x="200" y="1344"/>
                  </a:lnTo>
                  <a:lnTo>
                    <a:pt x="203" y="1364"/>
                  </a:lnTo>
                  <a:lnTo>
                    <a:pt x="241" y="1389"/>
                  </a:lnTo>
                  <a:lnTo>
                    <a:pt x="268" y="1401"/>
                  </a:lnTo>
                  <a:lnTo>
                    <a:pt x="290" y="1374"/>
                  </a:lnTo>
                  <a:lnTo>
                    <a:pt x="309" y="1374"/>
                  </a:lnTo>
                  <a:lnTo>
                    <a:pt x="330" y="1371"/>
                  </a:lnTo>
                  <a:lnTo>
                    <a:pt x="363" y="1353"/>
                  </a:lnTo>
                  <a:lnTo>
                    <a:pt x="397" y="1320"/>
                  </a:lnTo>
                  <a:lnTo>
                    <a:pt x="416" y="1318"/>
                  </a:lnTo>
                  <a:lnTo>
                    <a:pt x="445" y="1297"/>
                  </a:lnTo>
                  <a:lnTo>
                    <a:pt x="470" y="1293"/>
                  </a:lnTo>
                  <a:lnTo>
                    <a:pt x="499" y="1300"/>
                  </a:lnTo>
                  <a:lnTo>
                    <a:pt x="511" y="1306"/>
                  </a:lnTo>
                  <a:lnTo>
                    <a:pt x="526" y="1322"/>
                  </a:lnTo>
                  <a:lnTo>
                    <a:pt x="546" y="1330"/>
                  </a:lnTo>
                  <a:lnTo>
                    <a:pt x="569" y="1325"/>
                  </a:lnTo>
                  <a:lnTo>
                    <a:pt x="578" y="1320"/>
                  </a:lnTo>
                  <a:lnTo>
                    <a:pt x="587" y="1309"/>
                  </a:lnTo>
                  <a:lnTo>
                    <a:pt x="617" y="1316"/>
                  </a:lnTo>
                  <a:lnTo>
                    <a:pt x="633" y="1318"/>
                  </a:lnTo>
                  <a:lnTo>
                    <a:pt x="648" y="1327"/>
                  </a:lnTo>
                  <a:lnTo>
                    <a:pt x="652" y="1346"/>
                  </a:lnTo>
                  <a:lnTo>
                    <a:pt x="658" y="1353"/>
                  </a:lnTo>
                  <a:lnTo>
                    <a:pt x="646" y="1367"/>
                  </a:lnTo>
                  <a:lnTo>
                    <a:pt x="642" y="1380"/>
                  </a:lnTo>
                  <a:lnTo>
                    <a:pt x="655" y="1406"/>
                  </a:lnTo>
                  <a:lnTo>
                    <a:pt x="649" y="1426"/>
                  </a:lnTo>
                  <a:lnTo>
                    <a:pt x="645" y="1460"/>
                  </a:lnTo>
                  <a:lnTo>
                    <a:pt x="634" y="1478"/>
                  </a:lnTo>
                  <a:lnTo>
                    <a:pt x="613" y="1506"/>
                  </a:lnTo>
                  <a:lnTo>
                    <a:pt x="615" y="1525"/>
                  </a:lnTo>
                  <a:lnTo>
                    <a:pt x="636" y="1534"/>
                  </a:lnTo>
                  <a:lnTo>
                    <a:pt x="658" y="1552"/>
                  </a:lnTo>
                  <a:lnTo>
                    <a:pt x="636" y="1550"/>
                  </a:lnTo>
                  <a:lnTo>
                    <a:pt x="591" y="1541"/>
                  </a:lnTo>
                  <a:lnTo>
                    <a:pt x="532" y="1543"/>
                  </a:lnTo>
                  <a:lnTo>
                    <a:pt x="517" y="1536"/>
                  </a:lnTo>
                  <a:lnTo>
                    <a:pt x="510" y="1543"/>
                  </a:lnTo>
                  <a:lnTo>
                    <a:pt x="495" y="1548"/>
                  </a:lnTo>
                  <a:lnTo>
                    <a:pt x="485" y="1545"/>
                  </a:lnTo>
                  <a:lnTo>
                    <a:pt x="478" y="1554"/>
                  </a:lnTo>
                  <a:lnTo>
                    <a:pt x="471" y="1573"/>
                  </a:lnTo>
                  <a:lnTo>
                    <a:pt x="466" y="1591"/>
                  </a:lnTo>
                  <a:lnTo>
                    <a:pt x="455" y="1592"/>
                  </a:lnTo>
                  <a:lnTo>
                    <a:pt x="444" y="1617"/>
                  </a:lnTo>
                  <a:lnTo>
                    <a:pt x="452" y="1631"/>
                  </a:lnTo>
                  <a:lnTo>
                    <a:pt x="470" y="1645"/>
                  </a:lnTo>
                  <a:lnTo>
                    <a:pt x="482" y="1652"/>
                  </a:lnTo>
                  <a:lnTo>
                    <a:pt x="490" y="1663"/>
                  </a:lnTo>
                  <a:lnTo>
                    <a:pt x="474" y="1668"/>
                  </a:lnTo>
                  <a:lnTo>
                    <a:pt x="466" y="1674"/>
                  </a:lnTo>
                  <a:lnTo>
                    <a:pt x="421" y="1652"/>
                  </a:lnTo>
                  <a:lnTo>
                    <a:pt x="388" y="1651"/>
                  </a:lnTo>
                  <a:lnTo>
                    <a:pt x="375" y="1654"/>
                  </a:lnTo>
                  <a:lnTo>
                    <a:pt x="368" y="1661"/>
                  </a:lnTo>
                  <a:lnTo>
                    <a:pt x="367" y="1689"/>
                  </a:lnTo>
                  <a:lnTo>
                    <a:pt x="374" y="1700"/>
                  </a:lnTo>
                  <a:lnTo>
                    <a:pt x="404" y="1705"/>
                  </a:lnTo>
                  <a:lnTo>
                    <a:pt x="429" y="1714"/>
                  </a:lnTo>
                  <a:lnTo>
                    <a:pt x="433" y="1732"/>
                  </a:lnTo>
                  <a:lnTo>
                    <a:pt x="450" y="1783"/>
                  </a:lnTo>
                  <a:lnTo>
                    <a:pt x="460" y="1799"/>
                  </a:lnTo>
                  <a:lnTo>
                    <a:pt x="470" y="1806"/>
                  </a:lnTo>
                  <a:lnTo>
                    <a:pt x="478" y="1831"/>
                  </a:lnTo>
                  <a:lnTo>
                    <a:pt x="476" y="1848"/>
                  </a:lnTo>
                  <a:lnTo>
                    <a:pt x="476" y="1861"/>
                  </a:lnTo>
                  <a:lnTo>
                    <a:pt x="506" y="1859"/>
                  </a:lnTo>
                  <a:lnTo>
                    <a:pt x="520" y="1876"/>
                  </a:lnTo>
                  <a:lnTo>
                    <a:pt x="531" y="1898"/>
                  </a:lnTo>
                  <a:lnTo>
                    <a:pt x="538" y="1908"/>
                  </a:lnTo>
                  <a:lnTo>
                    <a:pt x="560" y="1903"/>
                  </a:lnTo>
                  <a:lnTo>
                    <a:pt x="569" y="1913"/>
                  </a:lnTo>
                  <a:lnTo>
                    <a:pt x="588" y="1908"/>
                  </a:lnTo>
                  <a:lnTo>
                    <a:pt x="606" y="1919"/>
                  </a:lnTo>
                  <a:lnTo>
                    <a:pt x="613" y="1935"/>
                  </a:lnTo>
                  <a:lnTo>
                    <a:pt x="606" y="1947"/>
                  </a:lnTo>
                  <a:lnTo>
                    <a:pt x="605" y="1966"/>
                  </a:lnTo>
                  <a:lnTo>
                    <a:pt x="597" y="1986"/>
                  </a:lnTo>
                  <a:lnTo>
                    <a:pt x="588" y="1998"/>
                  </a:lnTo>
                  <a:lnTo>
                    <a:pt x="583" y="2016"/>
                  </a:lnTo>
                  <a:lnTo>
                    <a:pt x="588" y="2023"/>
                  </a:lnTo>
                  <a:lnTo>
                    <a:pt x="591" y="2033"/>
                  </a:lnTo>
                  <a:lnTo>
                    <a:pt x="587" y="2060"/>
                  </a:lnTo>
                  <a:lnTo>
                    <a:pt x="611" y="2030"/>
                  </a:lnTo>
                  <a:lnTo>
                    <a:pt x="650" y="1996"/>
                  </a:lnTo>
                  <a:lnTo>
                    <a:pt x="707" y="1979"/>
                  </a:lnTo>
                  <a:lnTo>
                    <a:pt x="751" y="1973"/>
                  </a:lnTo>
                  <a:lnTo>
                    <a:pt x="773" y="1988"/>
                  </a:lnTo>
                  <a:lnTo>
                    <a:pt x="830" y="2037"/>
                  </a:lnTo>
                  <a:lnTo>
                    <a:pt x="842" y="2069"/>
                  </a:lnTo>
                  <a:lnTo>
                    <a:pt x="870" y="2113"/>
                  </a:lnTo>
                  <a:lnTo>
                    <a:pt x="890" y="2129"/>
                  </a:lnTo>
                  <a:lnTo>
                    <a:pt x="911" y="2125"/>
                  </a:lnTo>
                  <a:lnTo>
                    <a:pt x="927" y="2120"/>
                  </a:lnTo>
                  <a:lnTo>
                    <a:pt x="934" y="2120"/>
                  </a:lnTo>
                  <a:lnTo>
                    <a:pt x="935" y="1599"/>
                  </a:lnTo>
                  <a:lnTo>
                    <a:pt x="1186" y="1515"/>
                  </a:lnTo>
                  <a:lnTo>
                    <a:pt x="1438" y="1709"/>
                  </a:lnTo>
                  <a:lnTo>
                    <a:pt x="1527" y="1815"/>
                  </a:lnTo>
                  <a:lnTo>
                    <a:pt x="1640" y="1793"/>
                  </a:lnTo>
                  <a:lnTo>
                    <a:pt x="1762" y="1806"/>
                  </a:lnTo>
                  <a:lnTo>
                    <a:pt x="1811" y="1779"/>
                  </a:lnTo>
                  <a:lnTo>
                    <a:pt x="1843" y="1825"/>
                  </a:lnTo>
                  <a:lnTo>
                    <a:pt x="1869" y="1839"/>
                  </a:lnTo>
                  <a:lnTo>
                    <a:pt x="1899" y="1903"/>
                  </a:lnTo>
                  <a:lnTo>
                    <a:pt x="1927" y="1883"/>
                  </a:lnTo>
                  <a:lnTo>
                    <a:pt x="1927" y="1949"/>
                  </a:lnTo>
                  <a:lnTo>
                    <a:pt x="1918" y="1975"/>
                  </a:lnTo>
                  <a:lnTo>
                    <a:pt x="1920" y="2023"/>
                  </a:lnTo>
                  <a:lnTo>
                    <a:pt x="1964" y="2023"/>
                  </a:lnTo>
                  <a:lnTo>
                    <a:pt x="1990" y="2142"/>
                  </a:lnTo>
                  <a:lnTo>
                    <a:pt x="2011" y="2146"/>
                  </a:lnTo>
                  <a:lnTo>
                    <a:pt x="2085" y="2138"/>
                  </a:lnTo>
                  <a:lnTo>
                    <a:pt x="2101" y="2138"/>
                  </a:lnTo>
                  <a:lnTo>
                    <a:pt x="2121" y="2158"/>
                  </a:lnTo>
                  <a:lnTo>
                    <a:pt x="2122" y="2175"/>
                  </a:lnTo>
                  <a:lnTo>
                    <a:pt x="2121" y="2193"/>
                  </a:lnTo>
                  <a:lnTo>
                    <a:pt x="2141" y="2214"/>
                  </a:lnTo>
                  <a:lnTo>
                    <a:pt x="2169" y="2214"/>
                  </a:lnTo>
                  <a:lnTo>
                    <a:pt x="2175" y="2204"/>
                  </a:lnTo>
                  <a:lnTo>
                    <a:pt x="2167" y="2177"/>
                  </a:lnTo>
                  <a:lnTo>
                    <a:pt x="2190" y="2151"/>
                  </a:lnTo>
                  <a:lnTo>
                    <a:pt x="2208" y="2138"/>
                  </a:lnTo>
                  <a:lnTo>
                    <a:pt x="2219" y="2107"/>
                  </a:lnTo>
                  <a:lnTo>
                    <a:pt x="2231" y="2097"/>
                  </a:lnTo>
                  <a:lnTo>
                    <a:pt x="2273" y="2072"/>
                  </a:lnTo>
                  <a:lnTo>
                    <a:pt x="2306" y="2060"/>
                  </a:lnTo>
                  <a:lnTo>
                    <a:pt x="2345" y="2012"/>
                  </a:lnTo>
                  <a:lnTo>
                    <a:pt x="2355" y="2009"/>
                  </a:lnTo>
                  <a:lnTo>
                    <a:pt x="2367" y="2018"/>
                  </a:lnTo>
                  <a:lnTo>
                    <a:pt x="2384" y="1993"/>
                  </a:lnTo>
                  <a:lnTo>
                    <a:pt x="2399" y="1991"/>
                  </a:lnTo>
                  <a:lnTo>
                    <a:pt x="2397" y="1973"/>
                  </a:lnTo>
                  <a:lnTo>
                    <a:pt x="2428" y="1922"/>
                  </a:lnTo>
                  <a:lnTo>
                    <a:pt x="2489" y="1908"/>
                  </a:lnTo>
                  <a:lnTo>
                    <a:pt x="2633" y="1954"/>
                  </a:lnTo>
                  <a:lnTo>
                    <a:pt x="2649" y="1961"/>
                  </a:lnTo>
                  <a:lnTo>
                    <a:pt x="2648" y="1933"/>
                  </a:lnTo>
                  <a:lnTo>
                    <a:pt x="2658" y="1887"/>
                  </a:lnTo>
                  <a:lnTo>
                    <a:pt x="2678" y="1864"/>
                  </a:lnTo>
                  <a:lnTo>
                    <a:pt x="2710" y="1855"/>
                  </a:lnTo>
                  <a:lnTo>
                    <a:pt x="2735" y="1861"/>
                  </a:lnTo>
                  <a:lnTo>
                    <a:pt x="2769" y="1878"/>
                  </a:lnTo>
                  <a:lnTo>
                    <a:pt x="2842" y="1906"/>
                  </a:lnTo>
                  <a:lnTo>
                    <a:pt x="2866" y="1912"/>
                  </a:lnTo>
                  <a:lnTo>
                    <a:pt x="2885" y="1894"/>
                  </a:lnTo>
                  <a:lnTo>
                    <a:pt x="2956" y="1892"/>
                  </a:lnTo>
                  <a:lnTo>
                    <a:pt x="2990" y="1883"/>
                  </a:lnTo>
                  <a:lnTo>
                    <a:pt x="3022" y="1898"/>
                  </a:lnTo>
                  <a:lnTo>
                    <a:pt x="3050" y="1905"/>
                  </a:lnTo>
                  <a:lnTo>
                    <a:pt x="3111" y="1906"/>
                  </a:lnTo>
                  <a:lnTo>
                    <a:pt x="3140" y="1901"/>
                  </a:lnTo>
                  <a:lnTo>
                    <a:pt x="3182" y="1917"/>
                  </a:lnTo>
                  <a:lnTo>
                    <a:pt x="3208" y="1913"/>
                  </a:lnTo>
                  <a:lnTo>
                    <a:pt x="3215" y="1935"/>
                  </a:lnTo>
                  <a:lnTo>
                    <a:pt x="3227" y="1945"/>
                  </a:lnTo>
                  <a:lnTo>
                    <a:pt x="3235" y="1961"/>
                  </a:lnTo>
                  <a:lnTo>
                    <a:pt x="3264" y="1961"/>
                  </a:lnTo>
                  <a:lnTo>
                    <a:pt x="3284" y="1968"/>
                  </a:lnTo>
                  <a:lnTo>
                    <a:pt x="3303" y="1991"/>
                  </a:lnTo>
                  <a:lnTo>
                    <a:pt x="3296" y="1936"/>
                  </a:lnTo>
                  <a:lnTo>
                    <a:pt x="3299" y="1912"/>
                  </a:lnTo>
                  <a:lnTo>
                    <a:pt x="3312" y="1887"/>
                  </a:lnTo>
                  <a:lnTo>
                    <a:pt x="3343" y="1852"/>
                  </a:lnTo>
                  <a:lnTo>
                    <a:pt x="3353" y="1831"/>
                  </a:lnTo>
                  <a:lnTo>
                    <a:pt x="3348" y="1801"/>
                  </a:lnTo>
                  <a:lnTo>
                    <a:pt x="3319" y="1732"/>
                  </a:lnTo>
                  <a:lnTo>
                    <a:pt x="3319" y="1644"/>
                  </a:lnTo>
                  <a:lnTo>
                    <a:pt x="3296" y="1635"/>
                  </a:lnTo>
                  <a:lnTo>
                    <a:pt x="3280" y="1638"/>
                  </a:lnTo>
                  <a:lnTo>
                    <a:pt x="3270" y="1628"/>
                  </a:lnTo>
                  <a:lnTo>
                    <a:pt x="3274" y="1614"/>
                  </a:lnTo>
                  <a:lnTo>
                    <a:pt x="3283" y="1594"/>
                  </a:lnTo>
                  <a:lnTo>
                    <a:pt x="3300" y="1582"/>
                  </a:lnTo>
                  <a:lnTo>
                    <a:pt x="3443" y="1548"/>
                  </a:lnTo>
                  <a:lnTo>
                    <a:pt x="3464" y="1559"/>
                  </a:lnTo>
                  <a:lnTo>
                    <a:pt x="3515" y="1575"/>
                  </a:lnTo>
                  <a:lnTo>
                    <a:pt x="3533" y="1569"/>
                  </a:lnTo>
                  <a:lnTo>
                    <a:pt x="3543" y="1561"/>
                  </a:lnTo>
                  <a:lnTo>
                    <a:pt x="3549" y="1545"/>
                  </a:lnTo>
                  <a:lnTo>
                    <a:pt x="3544" y="1525"/>
                  </a:lnTo>
                  <a:lnTo>
                    <a:pt x="3516" y="1492"/>
                  </a:lnTo>
                  <a:lnTo>
                    <a:pt x="3522" y="1465"/>
                  </a:lnTo>
                  <a:lnTo>
                    <a:pt x="3577" y="1297"/>
                  </a:lnTo>
                  <a:lnTo>
                    <a:pt x="3597" y="1263"/>
                  </a:lnTo>
                  <a:lnTo>
                    <a:pt x="3703" y="1299"/>
                  </a:lnTo>
                  <a:lnTo>
                    <a:pt x="3764" y="1304"/>
                  </a:lnTo>
                  <a:lnTo>
                    <a:pt x="3796" y="1300"/>
                  </a:lnTo>
                  <a:lnTo>
                    <a:pt x="3814" y="1293"/>
                  </a:lnTo>
                  <a:lnTo>
                    <a:pt x="3834" y="1267"/>
                  </a:lnTo>
                  <a:lnTo>
                    <a:pt x="3840" y="1240"/>
                  </a:lnTo>
                  <a:lnTo>
                    <a:pt x="3832" y="1195"/>
                  </a:lnTo>
                  <a:lnTo>
                    <a:pt x="3827" y="1143"/>
                  </a:lnTo>
                  <a:lnTo>
                    <a:pt x="3843" y="1105"/>
                  </a:lnTo>
                  <a:lnTo>
                    <a:pt x="3861" y="1085"/>
                  </a:lnTo>
                  <a:lnTo>
                    <a:pt x="3913" y="1080"/>
                  </a:lnTo>
                  <a:lnTo>
                    <a:pt x="3926" y="1076"/>
                  </a:lnTo>
                  <a:lnTo>
                    <a:pt x="3941" y="1060"/>
                  </a:lnTo>
                  <a:lnTo>
                    <a:pt x="3942" y="1009"/>
                  </a:lnTo>
                  <a:lnTo>
                    <a:pt x="3955" y="992"/>
                  </a:lnTo>
                  <a:lnTo>
                    <a:pt x="3979" y="983"/>
                  </a:lnTo>
                  <a:lnTo>
                    <a:pt x="4003" y="979"/>
                  </a:lnTo>
                  <a:lnTo>
                    <a:pt x="3999" y="971"/>
                  </a:lnTo>
                  <a:lnTo>
                    <a:pt x="3974" y="971"/>
                  </a:lnTo>
                  <a:lnTo>
                    <a:pt x="3961" y="937"/>
                  </a:lnTo>
                  <a:lnTo>
                    <a:pt x="3942" y="914"/>
                  </a:lnTo>
                  <a:lnTo>
                    <a:pt x="3945" y="893"/>
                  </a:lnTo>
                  <a:lnTo>
                    <a:pt x="3918" y="905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31" name="Freeform 68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3100" y="1049"/>
              <a:ext cx="2241" cy="969"/>
            </a:xfrm>
            <a:custGeom>
              <a:avLst/>
              <a:gdLst>
                <a:gd name="T0" fmla="*/ 394 w 14950"/>
                <a:gd name="T1" fmla="*/ 3111 h 6547"/>
                <a:gd name="T2" fmla="*/ 77 w 14950"/>
                <a:gd name="T3" fmla="*/ 3695 h 6547"/>
                <a:gd name="T4" fmla="*/ 39 w 14950"/>
                <a:gd name="T5" fmla="*/ 4008 h 6547"/>
                <a:gd name="T6" fmla="*/ 54 w 14950"/>
                <a:gd name="T7" fmla="*/ 4191 h 6547"/>
                <a:gd name="T8" fmla="*/ 239 w 14950"/>
                <a:gd name="T9" fmla="*/ 4350 h 6547"/>
                <a:gd name="T10" fmla="*/ 353 w 14950"/>
                <a:gd name="T11" fmla="*/ 4519 h 6547"/>
                <a:gd name="T12" fmla="*/ 504 w 14950"/>
                <a:gd name="T13" fmla="*/ 4757 h 6547"/>
                <a:gd name="T14" fmla="*/ 608 w 14950"/>
                <a:gd name="T15" fmla="*/ 4903 h 6547"/>
                <a:gd name="T16" fmla="*/ 882 w 14950"/>
                <a:gd name="T17" fmla="*/ 5224 h 6547"/>
                <a:gd name="T18" fmla="*/ 1246 w 14950"/>
                <a:gd name="T19" fmla="*/ 5324 h 6547"/>
                <a:gd name="T20" fmla="*/ 1073 w 14950"/>
                <a:gd name="T21" fmla="*/ 5628 h 6547"/>
                <a:gd name="T22" fmla="*/ 1074 w 14950"/>
                <a:gd name="T23" fmla="*/ 6091 h 6547"/>
                <a:gd name="T24" fmla="*/ 1641 w 14950"/>
                <a:gd name="T25" fmla="*/ 6356 h 6547"/>
                <a:gd name="T26" fmla="*/ 1915 w 14950"/>
                <a:gd name="T27" fmla="*/ 6456 h 6547"/>
                <a:gd name="T28" fmla="*/ 2002 w 14950"/>
                <a:gd name="T29" fmla="*/ 6171 h 6547"/>
                <a:gd name="T30" fmla="*/ 2109 w 14950"/>
                <a:gd name="T31" fmla="*/ 5851 h 6547"/>
                <a:gd name="T32" fmla="*/ 1931 w 14950"/>
                <a:gd name="T33" fmla="*/ 5275 h 6547"/>
                <a:gd name="T34" fmla="*/ 2550 w 14950"/>
                <a:gd name="T35" fmla="*/ 5034 h 6547"/>
                <a:gd name="T36" fmla="*/ 3232 w 14950"/>
                <a:gd name="T37" fmla="*/ 5135 h 6547"/>
                <a:gd name="T38" fmla="*/ 3348 w 14950"/>
                <a:gd name="T39" fmla="*/ 4723 h 6547"/>
                <a:gd name="T40" fmla="*/ 4295 w 14950"/>
                <a:gd name="T41" fmla="*/ 4466 h 6547"/>
                <a:gd name="T42" fmla="*/ 4554 w 14950"/>
                <a:gd name="T43" fmla="*/ 4708 h 6547"/>
                <a:gd name="T44" fmla="*/ 5525 w 14950"/>
                <a:gd name="T45" fmla="*/ 5117 h 6547"/>
                <a:gd name="T46" fmla="*/ 6734 w 14950"/>
                <a:gd name="T47" fmla="*/ 5275 h 6547"/>
                <a:gd name="T48" fmla="*/ 7781 w 14950"/>
                <a:gd name="T49" fmla="*/ 5219 h 6547"/>
                <a:gd name="T50" fmla="*/ 9003 w 14950"/>
                <a:gd name="T51" fmla="*/ 5176 h 6547"/>
                <a:gd name="T52" fmla="*/ 10157 w 14950"/>
                <a:gd name="T53" fmla="*/ 5607 h 6547"/>
                <a:gd name="T54" fmla="*/ 10111 w 14950"/>
                <a:gd name="T55" fmla="*/ 6395 h 6547"/>
                <a:gd name="T56" fmla="*/ 11081 w 14950"/>
                <a:gd name="T57" fmla="*/ 5201 h 6547"/>
                <a:gd name="T58" fmla="*/ 10731 w 14950"/>
                <a:gd name="T59" fmla="*/ 4688 h 6547"/>
                <a:gd name="T60" fmla="*/ 11601 w 14950"/>
                <a:gd name="T61" fmla="*/ 3814 h 6547"/>
                <a:gd name="T62" fmla="*/ 12305 w 14950"/>
                <a:gd name="T63" fmla="*/ 3819 h 6547"/>
                <a:gd name="T64" fmla="*/ 13020 w 14950"/>
                <a:gd name="T65" fmla="*/ 3326 h 6547"/>
                <a:gd name="T66" fmla="*/ 13335 w 14950"/>
                <a:gd name="T67" fmla="*/ 3515 h 6547"/>
                <a:gd name="T68" fmla="*/ 12672 w 14950"/>
                <a:gd name="T69" fmla="*/ 5075 h 6547"/>
                <a:gd name="T70" fmla="*/ 13167 w 14950"/>
                <a:gd name="T71" fmla="*/ 4387 h 6547"/>
                <a:gd name="T72" fmla="*/ 13327 w 14950"/>
                <a:gd name="T73" fmla="*/ 3761 h 6547"/>
                <a:gd name="T74" fmla="*/ 13996 w 14950"/>
                <a:gd name="T75" fmla="*/ 3658 h 6547"/>
                <a:gd name="T76" fmla="*/ 14847 w 14950"/>
                <a:gd name="T77" fmla="*/ 3227 h 6547"/>
                <a:gd name="T78" fmla="*/ 14595 w 14950"/>
                <a:gd name="T79" fmla="*/ 2751 h 6547"/>
                <a:gd name="T80" fmla="*/ 13994 w 14950"/>
                <a:gd name="T81" fmla="*/ 1812 h 6547"/>
                <a:gd name="T82" fmla="*/ 12978 w 14950"/>
                <a:gd name="T83" fmla="*/ 1805 h 6547"/>
                <a:gd name="T84" fmla="*/ 11548 w 14950"/>
                <a:gd name="T85" fmla="*/ 1396 h 6547"/>
                <a:gd name="T86" fmla="*/ 10896 w 14950"/>
                <a:gd name="T87" fmla="*/ 1389 h 6547"/>
                <a:gd name="T88" fmla="*/ 9686 w 14950"/>
                <a:gd name="T89" fmla="*/ 1243 h 6547"/>
                <a:gd name="T90" fmla="*/ 8423 w 14950"/>
                <a:gd name="T91" fmla="*/ 916 h 6547"/>
                <a:gd name="T92" fmla="*/ 8413 w 14950"/>
                <a:gd name="T93" fmla="*/ 511 h 6547"/>
                <a:gd name="T94" fmla="*/ 7515 w 14950"/>
                <a:gd name="T95" fmla="*/ 0 h 6547"/>
                <a:gd name="T96" fmla="*/ 5848 w 14950"/>
                <a:gd name="T97" fmla="*/ 677 h 6547"/>
                <a:gd name="T98" fmla="*/ 5393 w 14950"/>
                <a:gd name="T99" fmla="*/ 1255 h 6547"/>
                <a:gd name="T100" fmla="*/ 4978 w 14950"/>
                <a:gd name="T101" fmla="*/ 1266 h 6547"/>
                <a:gd name="T102" fmla="*/ 4591 w 14950"/>
                <a:gd name="T103" fmla="*/ 1357 h 6547"/>
                <a:gd name="T104" fmla="*/ 4978 w 14950"/>
                <a:gd name="T105" fmla="*/ 2258 h 6547"/>
                <a:gd name="T106" fmla="*/ 4130 w 14950"/>
                <a:gd name="T107" fmla="*/ 2453 h 6547"/>
                <a:gd name="T108" fmla="*/ 4371 w 14950"/>
                <a:gd name="T109" fmla="*/ 1394 h 6547"/>
                <a:gd name="T110" fmla="*/ 3872 w 14950"/>
                <a:gd name="T111" fmla="*/ 1785 h 6547"/>
                <a:gd name="T112" fmla="*/ 3181 w 14950"/>
                <a:gd name="T113" fmla="*/ 2082 h 6547"/>
                <a:gd name="T114" fmla="*/ 2598 w 14950"/>
                <a:gd name="T115" fmla="*/ 2018 h 6547"/>
                <a:gd name="T116" fmla="*/ 1702 w 14950"/>
                <a:gd name="T117" fmla="*/ 2062 h 6547"/>
                <a:gd name="T118" fmla="*/ 1244 w 14950"/>
                <a:gd name="T119" fmla="*/ 2813 h 6547"/>
                <a:gd name="T120" fmla="*/ 714 w 14950"/>
                <a:gd name="T121" fmla="*/ 2635 h 6547"/>
                <a:gd name="T122" fmla="*/ 1326 w 14950"/>
                <a:gd name="T123" fmla="*/ 2209 h 654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950"/>
                <a:gd name="T187" fmla="*/ 0 h 6547"/>
                <a:gd name="T188" fmla="*/ 14950 w 14950"/>
                <a:gd name="T189" fmla="*/ 6547 h 6547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950" h="6547">
                  <a:moveTo>
                    <a:pt x="291" y="1854"/>
                  </a:moveTo>
                  <a:lnTo>
                    <a:pt x="256" y="1865"/>
                  </a:lnTo>
                  <a:lnTo>
                    <a:pt x="210" y="1911"/>
                  </a:lnTo>
                  <a:lnTo>
                    <a:pt x="166" y="1972"/>
                  </a:lnTo>
                  <a:lnTo>
                    <a:pt x="136" y="2001"/>
                  </a:lnTo>
                  <a:lnTo>
                    <a:pt x="135" y="2025"/>
                  </a:lnTo>
                  <a:lnTo>
                    <a:pt x="123" y="2069"/>
                  </a:lnTo>
                  <a:lnTo>
                    <a:pt x="129" y="2117"/>
                  </a:lnTo>
                  <a:lnTo>
                    <a:pt x="153" y="2136"/>
                  </a:lnTo>
                  <a:lnTo>
                    <a:pt x="191" y="2152"/>
                  </a:lnTo>
                  <a:lnTo>
                    <a:pt x="234" y="2198"/>
                  </a:lnTo>
                  <a:lnTo>
                    <a:pt x="258" y="2234"/>
                  </a:lnTo>
                  <a:lnTo>
                    <a:pt x="240" y="2267"/>
                  </a:lnTo>
                  <a:lnTo>
                    <a:pt x="182" y="2337"/>
                  </a:lnTo>
                  <a:lnTo>
                    <a:pt x="168" y="2363"/>
                  </a:lnTo>
                  <a:lnTo>
                    <a:pt x="230" y="2485"/>
                  </a:lnTo>
                  <a:lnTo>
                    <a:pt x="264" y="2589"/>
                  </a:lnTo>
                  <a:lnTo>
                    <a:pt x="255" y="2619"/>
                  </a:lnTo>
                  <a:lnTo>
                    <a:pt x="235" y="2665"/>
                  </a:lnTo>
                  <a:lnTo>
                    <a:pt x="227" y="2700"/>
                  </a:lnTo>
                  <a:lnTo>
                    <a:pt x="226" y="2732"/>
                  </a:lnTo>
                  <a:lnTo>
                    <a:pt x="242" y="2774"/>
                  </a:lnTo>
                  <a:lnTo>
                    <a:pt x="300" y="2893"/>
                  </a:lnTo>
                  <a:lnTo>
                    <a:pt x="305" y="2914"/>
                  </a:lnTo>
                  <a:lnTo>
                    <a:pt x="304" y="2935"/>
                  </a:lnTo>
                  <a:lnTo>
                    <a:pt x="265" y="2986"/>
                  </a:lnTo>
                  <a:lnTo>
                    <a:pt x="284" y="3013"/>
                  </a:lnTo>
                  <a:lnTo>
                    <a:pt x="375" y="3077"/>
                  </a:lnTo>
                  <a:lnTo>
                    <a:pt x="394" y="3111"/>
                  </a:lnTo>
                  <a:lnTo>
                    <a:pt x="402" y="3139"/>
                  </a:lnTo>
                  <a:lnTo>
                    <a:pt x="398" y="3172"/>
                  </a:lnTo>
                  <a:lnTo>
                    <a:pt x="378" y="3215"/>
                  </a:lnTo>
                  <a:lnTo>
                    <a:pt x="351" y="3259"/>
                  </a:lnTo>
                  <a:lnTo>
                    <a:pt x="117" y="3508"/>
                  </a:lnTo>
                  <a:lnTo>
                    <a:pt x="109" y="3531"/>
                  </a:lnTo>
                  <a:lnTo>
                    <a:pt x="119" y="3527"/>
                  </a:lnTo>
                  <a:lnTo>
                    <a:pt x="121" y="3543"/>
                  </a:lnTo>
                  <a:lnTo>
                    <a:pt x="109" y="3576"/>
                  </a:lnTo>
                  <a:lnTo>
                    <a:pt x="123" y="3601"/>
                  </a:lnTo>
                  <a:lnTo>
                    <a:pt x="135" y="3610"/>
                  </a:lnTo>
                  <a:lnTo>
                    <a:pt x="163" y="3617"/>
                  </a:lnTo>
                  <a:lnTo>
                    <a:pt x="215" y="3612"/>
                  </a:lnTo>
                  <a:lnTo>
                    <a:pt x="232" y="3613"/>
                  </a:lnTo>
                  <a:lnTo>
                    <a:pt x="259" y="3638"/>
                  </a:lnTo>
                  <a:lnTo>
                    <a:pt x="276" y="3670"/>
                  </a:lnTo>
                  <a:lnTo>
                    <a:pt x="259" y="3682"/>
                  </a:lnTo>
                  <a:lnTo>
                    <a:pt x="240" y="3682"/>
                  </a:lnTo>
                  <a:lnTo>
                    <a:pt x="206" y="3661"/>
                  </a:lnTo>
                  <a:lnTo>
                    <a:pt x="173" y="3652"/>
                  </a:lnTo>
                  <a:lnTo>
                    <a:pt x="158" y="3666"/>
                  </a:lnTo>
                  <a:lnTo>
                    <a:pt x="145" y="3693"/>
                  </a:lnTo>
                  <a:lnTo>
                    <a:pt x="132" y="3698"/>
                  </a:lnTo>
                  <a:lnTo>
                    <a:pt x="111" y="3682"/>
                  </a:lnTo>
                  <a:lnTo>
                    <a:pt x="98" y="3695"/>
                  </a:lnTo>
                  <a:lnTo>
                    <a:pt x="103" y="3705"/>
                  </a:lnTo>
                  <a:lnTo>
                    <a:pt x="93" y="3712"/>
                  </a:lnTo>
                  <a:lnTo>
                    <a:pt x="83" y="3707"/>
                  </a:lnTo>
                  <a:lnTo>
                    <a:pt x="77" y="3695"/>
                  </a:lnTo>
                  <a:lnTo>
                    <a:pt x="62" y="3698"/>
                  </a:lnTo>
                  <a:lnTo>
                    <a:pt x="58" y="3718"/>
                  </a:lnTo>
                  <a:lnTo>
                    <a:pt x="66" y="3721"/>
                  </a:lnTo>
                  <a:lnTo>
                    <a:pt x="68" y="3731"/>
                  </a:lnTo>
                  <a:lnTo>
                    <a:pt x="76" y="3736"/>
                  </a:lnTo>
                  <a:lnTo>
                    <a:pt x="82" y="3745"/>
                  </a:lnTo>
                  <a:lnTo>
                    <a:pt x="80" y="3759"/>
                  </a:lnTo>
                  <a:lnTo>
                    <a:pt x="72" y="3763"/>
                  </a:lnTo>
                  <a:lnTo>
                    <a:pt x="59" y="3763"/>
                  </a:lnTo>
                  <a:lnTo>
                    <a:pt x="55" y="3766"/>
                  </a:lnTo>
                  <a:lnTo>
                    <a:pt x="44" y="3798"/>
                  </a:lnTo>
                  <a:lnTo>
                    <a:pt x="35" y="3814"/>
                  </a:lnTo>
                  <a:lnTo>
                    <a:pt x="21" y="3824"/>
                  </a:lnTo>
                  <a:lnTo>
                    <a:pt x="11" y="3833"/>
                  </a:lnTo>
                  <a:lnTo>
                    <a:pt x="9" y="3846"/>
                  </a:lnTo>
                  <a:lnTo>
                    <a:pt x="9" y="3858"/>
                  </a:lnTo>
                  <a:lnTo>
                    <a:pt x="15" y="3891"/>
                  </a:lnTo>
                  <a:lnTo>
                    <a:pt x="19" y="3906"/>
                  </a:lnTo>
                  <a:lnTo>
                    <a:pt x="19" y="3918"/>
                  </a:lnTo>
                  <a:lnTo>
                    <a:pt x="11" y="3929"/>
                  </a:lnTo>
                  <a:lnTo>
                    <a:pt x="11" y="3943"/>
                  </a:lnTo>
                  <a:lnTo>
                    <a:pt x="19" y="3960"/>
                  </a:lnTo>
                  <a:lnTo>
                    <a:pt x="28" y="3967"/>
                  </a:lnTo>
                  <a:lnTo>
                    <a:pt x="33" y="3973"/>
                  </a:lnTo>
                  <a:lnTo>
                    <a:pt x="33" y="3985"/>
                  </a:lnTo>
                  <a:lnTo>
                    <a:pt x="35" y="3996"/>
                  </a:lnTo>
                  <a:lnTo>
                    <a:pt x="43" y="3999"/>
                  </a:lnTo>
                  <a:lnTo>
                    <a:pt x="46" y="4003"/>
                  </a:lnTo>
                  <a:lnTo>
                    <a:pt x="39" y="4008"/>
                  </a:lnTo>
                  <a:lnTo>
                    <a:pt x="27" y="4011"/>
                  </a:lnTo>
                  <a:lnTo>
                    <a:pt x="19" y="4017"/>
                  </a:lnTo>
                  <a:lnTo>
                    <a:pt x="13" y="4033"/>
                  </a:lnTo>
                  <a:lnTo>
                    <a:pt x="7" y="4033"/>
                  </a:lnTo>
                  <a:lnTo>
                    <a:pt x="5" y="4049"/>
                  </a:lnTo>
                  <a:lnTo>
                    <a:pt x="0" y="4052"/>
                  </a:lnTo>
                  <a:lnTo>
                    <a:pt x="3" y="4061"/>
                  </a:lnTo>
                  <a:lnTo>
                    <a:pt x="19" y="4061"/>
                  </a:lnTo>
                  <a:lnTo>
                    <a:pt x="19" y="4079"/>
                  </a:lnTo>
                  <a:lnTo>
                    <a:pt x="30" y="4084"/>
                  </a:lnTo>
                  <a:lnTo>
                    <a:pt x="39" y="4091"/>
                  </a:lnTo>
                  <a:lnTo>
                    <a:pt x="43" y="4096"/>
                  </a:lnTo>
                  <a:lnTo>
                    <a:pt x="52" y="4100"/>
                  </a:lnTo>
                  <a:lnTo>
                    <a:pt x="49" y="4116"/>
                  </a:lnTo>
                  <a:lnTo>
                    <a:pt x="49" y="4123"/>
                  </a:lnTo>
                  <a:lnTo>
                    <a:pt x="44" y="4128"/>
                  </a:lnTo>
                  <a:lnTo>
                    <a:pt x="40" y="4128"/>
                  </a:lnTo>
                  <a:lnTo>
                    <a:pt x="35" y="4131"/>
                  </a:lnTo>
                  <a:lnTo>
                    <a:pt x="42" y="4137"/>
                  </a:lnTo>
                  <a:lnTo>
                    <a:pt x="39" y="4147"/>
                  </a:lnTo>
                  <a:lnTo>
                    <a:pt x="40" y="4156"/>
                  </a:lnTo>
                  <a:lnTo>
                    <a:pt x="37" y="4163"/>
                  </a:lnTo>
                  <a:lnTo>
                    <a:pt x="33" y="4168"/>
                  </a:lnTo>
                  <a:lnTo>
                    <a:pt x="30" y="4176"/>
                  </a:lnTo>
                  <a:lnTo>
                    <a:pt x="39" y="4172"/>
                  </a:lnTo>
                  <a:lnTo>
                    <a:pt x="46" y="4170"/>
                  </a:lnTo>
                  <a:lnTo>
                    <a:pt x="58" y="4179"/>
                  </a:lnTo>
                  <a:lnTo>
                    <a:pt x="56" y="4186"/>
                  </a:lnTo>
                  <a:lnTo>
                    <a:pt x="54" y="4191"/>
                  </a:lnTo>
                  <a:lnTo>
                    <a:pt x="59" y="4200"/>
                  </a:lnTo>
                  <a:lnTo>
                    <a:pt x="66" y="4204"/>
                  </a:lnTo>
                  <a:lnTo>
                    <a:pt x="67" y="4216"/>
                  </a:lnTo>
                  <a:lnTo>
                    <a:pt x="72" y="4223"/>
                  </a:lnTo>
                  <a:lnTo>
                    <a:pt x="80" y="4227"/>
                  </a:lnTo>
                  <a:lnTo>
                    <a:pt x="77" y="4234"/>
                  </a:lnTo>
                  <a:lnTo>
                    <a:pt x="83" y="4243"/>
                  </a:lnTo>
                  <a:lnTo>
                    <a:pt x="82" y="4257"/>
                  </a:lnTo>
                  <a:lnTo>
                    <a:pt x="86" y="4273"/>
                  </a:lnTo>
                  <a:lnTo>
                    <a:pt x="83" y="4288"/>
                  </a:lnTo>
                  <a:lnTo>
                    <a:pt x="80" y="4292"/>
                  </a:lnTo>
                  <a:lnTo>
                    <a:pt x="87" y="4303"/>
                  </a:lnTo>
                  <a:lnTo>
                    <a:pt x="98" y="4308"/>
                  </a:lnTo>
                  <a:lnTo>
                    <a:pt x="107" y="4297"/>
                  </a:lnTo>
                  <a:lnTo>
                    <a:pt x="114" y="4299"/>
                  </a:lnTo>
                  <a:lnTo>
                    <a:pt x="129" y="4301"/>
                  </a:lnTo>
                  <a:lnTo>
                    <a:pt x="135" y="4311"/>
                  </a:lnTo>
                  <a:lnTo>
                    <a:pt x="138" y="4324"/>
                  </a:lnTo>
                  <a:lnTo>
                    <a:pt x="172" y="4311"/>
                  </a:lnTo>
                  <a:lnTo>
                    <a:pt x="185" y="4317"/>
                  </a:lnTo>
                  <a:lnTo>
                    <a:pt x="206" y="4322"/>
                  </a:lnTo>
                  <a:lnTo>
                    <a:pt x="206" y="4331"/>
                  </a:lnTo>
                  <a:lnTo>
                    <a:pt x="198" y="4338"/>
                  </a:lnTo>
                  <a:lnTo>
                    <a:pt x="197" y="4345"/>
                  </a:lnTo>
                  <a:lnTo>
                    <a:pt x="201" y="4356"/>
                  </a:lnTo>
                  <a:lnTo>
                    <a:pt x="207" y="4366"/>
                  </a:lnTo>
                  <a:lnTo>
                    <a:pt x="217" y="4366"/>
                  </a:lnTo>
                  <a:lnTo>
                    <a:pt x="226" y="4352"/>
                  </a:lnTo>
                  <a:lnTo>
                    <a:pt x="239" y="4350"/>
                  </a:lnTo>
                  <a:lnTo>
                    <a:pt x="246" y="4350"/>
                  </a:lnTo>
                  <a:lnTo>
                    <a:pt x="252" y="4343"/>
                  </a:lnTo>
                  <a:lnTo>
                    <a:pt x="263" y="4338"/>
                  </a:lnTo>
                  <a:lnTo>
                    <a:pt x="268" y="4341"/>
                  </a:lnTo>
                  <a:lnTo>
                    <a:pt x="272" y="4345"/>
                  </a:lnTo>
                  <a:lnTo>
                    <a:pt x="283" y="4341"/>
                  </a:lnTo>
                  <a:lnTo>
                    <a:pt x="307" y="4350"/>
                  </a:lnTo>
                  <a:lnTo>
                    <a:pt x="313" y="4359"/>
                  </a:lnTo>
                  <a:lnTo>
                    <a:pt x="325" y="4366"/>
                  </a:lnTo>
                  <a:lnTo>
                    <a:pt x="329" y="4375"/>
                  </a:lnTo>
                  <a:lnTo>
                    <a:pt x="337" y="4382"/>
                  </a:lnTo>
                  <a:lnTo>
                    <a:pt x="344" y="4384"/>
                  </a:lnTo>
                  <a:lnTo>
                    <a:pt x="350" y="4382"/>
                  </a:lnTo>
                  <a:lnTo>
                    <a:pt x="351" y="4389"/>
                  </a:lnTo>
                  <a:lnTo>
                    <a:pt x="349" y="4398"/>
                  </a:lnTo>
                  <a:lnTo>
                    <a:pt x="349" y="4405"/>
                  </a:lnTo>
                  <a:lnTo>
                    <a:pt x="346" y="4417"/>
                  </a:lnTo>
                  <a:lnTo>
                    <a:pt x="342" y="4428"/>
                  </a:lnTo>
                  <a:lnTo>
                    <a:pt x="350" y="4448"/>
                  </a:lnTo>
                  <a:lnTo>
                    <a:pt x="357" y="4455"/>
                  </a:lnTo>
                  <a:lnTo>
                    <a:pt x="358" y="4466"/>
                  </a:lnTo>
                  <a:lnTo>
                    <a:pt x="356" y="4476"/>
                  </a:lnTo>
                  <a:lnTo>
                    <a:pt x="351" y="4476"/>
                  </a:lnTo>
                  <a:lnTo>
                    <a:pt x="351" y="4482"/>
                  </a:lnTo>
                  <a:lnTo>
                    <a:pt x="346" y="4489"/>
                  </a:lnTo>
                  <a:lnTo>
                    <a:pt x="342" y="4492"/>
                  </a:lnTo>
                  <a:lnTo>
                    <a:pt x="341" y="4505"/>
                  </a:lnTo>
                  <a:lnTo>
                    <a:pt x="338" y="4515"/>
                  </a:lnTo>
                  <a:lnTo>
                    <a:pt x="353" y="4519"/>
                  </a:lnTo>
                  <a:lnTo>
                    <a:pt x="363" y="4540"/>
                  </a:lnTo>
                  <a:lnTo>
                    <a:pt x="370" y="4536"/>
                  </a:lnTo>
                  <a:lnTo>
                    <a:pt x="377" y="4538"/>
                  </a:lnTo>
                  <a:lnTo>
                    <a:pt x="373" y="4547"/>
                  </a:lnTo>
                  <a:lnTo>
                    <a:pt x="369" y="4556"/>
                  </a:lnTo>
                  <a:lnTo>
                    <a:pt x="370" y="4563"/>
                  </a:lnTo>
                  <a:lnTo>
                    <a:pt x="379" y="4565"/>
                  </a:lnTo>
                  <a:lnTo>
                    <a:pt x="391" y="4600"/>
                  </a:lnTo>
                  <a:lnTo>
                    <a:pt x="412" y="4616"/>
                  </a:lnTo>
                  <a:lnTo>
                    <a:pt x="422" y="4621"/>
                  </a:lnTo>
                  <a:lnTo>
                    <a:pt x="435" y="4626"/>
                  </a:lnTo>
                  <a:lnTo>
                    <a:pt x="442" y="4634"/>
                  </a:lnTo>
                  <a:lnTo>
                    <a:pt x="444" y="4644"/>
                  </a:lnTo>
                  <a:lnTo>
                    <a:pt x="438" y="4672"/>
                  </a:lnTo>
                  <a:lnTo>
                    <a:pt x="444" y="4676"/>
                  </a:lnTo>
                  <a:lnTo>
                    <a:pt x="461" y="4672"/>
                  </a:lnTo>
                  <a:lnTo>
                    <a:pt x="477" y="4676"/>
                  </a:lnTo>
                  <a:lnTo>
                    <a:pt x="505" y="4688"/>
                  </a:lnTo>
                  <a:lnTo>
                    <a:pt x="504" y="4694"/>
                  </a:lnTo>
                  <a:lnTo>
                    <a:pt x="501" y="4697"/>
                  </a:lnTo>
                  <a:lnTo>
                    <a:pt x="497" y="4697"/>
                  </a:lnTo>
                  <a:lnTo>
                    <a:pt x="501" y="4711"/>
                  </a:lnTo>
                  <a:lnTo>
                    <a:pt x="514" y="4722"/>
                  </a:lnTo>
                  <a:lnTo>
                    <a:pt x="526" y="4725"/>
                  </a:lnTo>
                  <a:lnTo>
                    <a:pt x="528" y="4736"/>
                  </a:lnTo>
                  <a:lnTo>
                    <a:pt x="525" y="4746"/>
                  </a:lnTo>
                  <a:lnTo>
                    <a:pt x="513" y="4746"/>
                  </a:lnTo>
                  <a:lnTo>
                    <a:pt x="505" y="4753"/>
                  </a:lnTo>
                  <a:lnTo>
                    <a:pt x="504" y="4757"/>
                  </a:lnTo>
                  <a:lnTo>
                    <a:pt x="484" y="4775"/>
                  </a:lnTo>
                  <a:lnTo>
                    <a:pt x="461" y="4782"/>
                  </a:lnTo>
                  <a:lnTo>
                    <a:pt x="439" y="4782"/>
                  </a:lnTo>
                  <a:lnTo>
                    <a:pt x="430" y="4771"/>
                  </a:lnTo>
                  <a:lnTo>
                    <a:pt x="415" y="4768"/>
                  </a:lnTo>
                  <a:lnTo>
                    <a:pt x="399" y="4769"/>
                  </a:lnTo>
                  <a:lnTo>
                    <a:pt x="389" y="4791"/>
                  </a:lnTo>
                  <a:lnTo>
                    <a:pt x="390" y="4803"/>
                  </a:lnTo>
                  <a:lnTo>
                    <a:pt x="402" y="4821"/>
                  </a:lnTo>
                  <a:lnTo>
                    <a:pt x="415" y="4833"/>
                  </a:lnTo>
                  <a:lnTo>
                    <a:pt x="415" y="4843"/>
                  </a:lnTo>
                  <a:lnTo>
                    <a:pt x="410" y="4849"/>
                  </a:lnTo>
                  <a:lnTo>
                    <a:pt x="414" y="4859"/>
                  </a:lnTo>
                  <a:lnTo>
                    <a:pt x="419" y="4868"/>
                  </a:lnTo>
                  <a:lnTo>
                    <a:pt x="416" y="4875"/>
                  </a:lnTo>
                  <a:lnTo>
                    <a:pt x="419" y="4903"/>
                  </a:lnTo>
                  <a:lnTo>
                    <a:pt x="418" y="4911"/>
                  </a:lnTo>
                  <a:lnTo>
                    <a:pt x="426" y="4916"/>
                  </a:lnTo>
                  <a:lnTo>
                    <a:pt x="428" y="4925"/>
                  </a:lnTo>
                  <a:lnTo>
                    <a:pt x="436" y="4928"/>
                  </a:lnTo>
                  <a:lnTo>
                    <a:pt x="436" y="4939"/>
                  </a:lnTo>
                  <a:lnTo>
                    <a:pt x="452" y="4946"/>
                  </a:lnTo>
                  <a:lnTo>
                    <a:pt x="473" y="4946"/>
                  </a:lnTo>
                  <a:lnTo>
                    <a:pt x="486" y="4935"/>
                  </a:lnTo>
                  <a:lnTo>
                    <a:pt x="500" y="4896"/>
                  </a:lnTo>
                  <a:lnTo>
                    <a:pt x="524" y="4914"/>
                  </a:lnTo>
                  <a:lnTo>
                    <a:pt x="547" y="4912"/>
                  </a:lnTo>
                  <a:lnTo>
                    <a:pt x="577" y="4896"/>
                  </a:lnTo>
                  <a:lnTo>
                    <a:pt x="608" y="4903"/>
                  </a:lnTo>
                  <a:lnTo>
                    <a:pt x="630" y="4895"/>
                  </a:lnTo>
                  <a:lnTo>
                    <a:pt x="639" y="4914"/>
                  </a:lnTo>
                  <a:lnTo>
                    <a:pt x="653" y="4923"/>
                  </a:lnTo>
                  <a:lnTo>
                    <a:pt x="670" y="4960"/>
                  </a:lnTo>
                  <a:lnTo>
                    <a:pt x="680" y="4972"/>
                  </a:lnTo>
                  <a:lnTo>
                    <a:pt x="694" y="4983"/>
                  </a:lnTo>
                  <a:lnTo>
                    <a:pt x="694" y="5002"/>
                  </a:lnTo>
                  <a:lnTo>
                    <a:pt x="680" y="5001"/>
                  </a:lnTo>
                  <a:lnTo>
                    <a:pt x="667" y="5009"/>
                  </a:lnTo>
                  <a:lnTo>
                    <a:pt x="673" y="5029"/>
                  </a:lnTo>
                  <a:lnTo>
                    <a:pt x="677" y="5055"/>
                  </a:lnTo>
                  <a:lnTo>
                    <a:pt x="689" y="5075"/>
                  </a:lnTo>
                  <a:lnTo>
                    <a:pt x="717" y="5075"/>
                  </a:lnTo>
                  <a:lnTo>
                    <a:pt x="725" y="5082"/>
                  </a:lnTo>
                  <a:lnTo>
                    <a:pt x="747" y="5078"/>
                  </a:lnTo>
                  <a:lnTo>
                    <a:pt x="765" y="5080"/>
                  </a:lnTo>
                  <a:lnTo>
                    <a:pt x="765" y="5101"/>
                  </a:lnTo>
                  <a:lnTo>
                    <a:pt x="783" y="5101"/>
                  </a:lnTo>
                  <a:lnTo>
                    <a:pt x="783" y="5126"/>
                  </a:lnTo>
                  <a:lnTo>
                    <a:pt x="791" y="5146"/>
                  </a:lnTo>
                  <a:lnTo>
                    <a:pt x="796" y="5162"/>
                  </a:lnTo>
                  <a:lnTo>
                    <a:pt x="791" y="5174"/>
                  </a:lnTo>
                  <a:lnTo>
                    <a:pt x="796" y="5190"/>
                  </a:lnTo>
                  <a:lnTo>
                    <a:pt x="803" y="5196"/>
                  </a:lnTo>
                  <a:lnTo>
                    <a:pt x="816" y="5217"/>
                  </a:lnTo>
                  <a:lnTo>
                    <a:pt x="828" y="5204"/>
                  </a:lnTo>
                  <a:lnTo>
                    <a:pt x="849" y="5199"/>
                  </a:lnTo>
                  <a:lnTo>
                    <a:pt x="861" y="5204"/>
                  </a:lnTo>
                  <a:lnTo>
                    <a:pt x="882" y="5224"/>
                  </a:lnTo>
                  <a:lnTo>
                    <a:pt x="890" y="5220"/>
                  </a:lnTo>
                  <a:lnTo>
                    <a:pt x="898" y="5220"/>
                  </a:lnTo>
                  <a:lnTo>
                    <a:pt x="906" y="5233"/>
                  </a:lnTo>
                  <a:lnTo>
                    <a:pt x="938" y="5217"/>
                  </a:lnTo>
                  <a:lnTo>
                    <a:pt x="950" y="5217"/>
                  </a:lnTo>
                  <a:lnTo>
                    <a:pt x="991" y="5203"/>
                  </a:lnTo>
                  <a:lnTo>
                    <a:pt x="995" y="5213"/>
                  </a:lnTo>
                  <a:lnTo>
                    <a:pt x="1007" y="5226"/>
                  </a:lnTo>
                  <a:lnTo>
                    <a:pt x="1007" y="5234"/>
                  </a:lnTo>
                  <a:lnTo>
                    <a:pt x="1016" y="5247"/>
                  </a:lnTo>
                  <a:lnTo>
                    <a:pt x="1017" y="5256"/>
                  </a:lnTo>
                  <a:lnTo>
                    <a:pt x="1035" y="5259"/>
                  </a:lnTo>
                  <a:lnTo>
                    <a:pt x="1042" y="5271"/>
                  </a:lnTo>
                  <a:lnTo>
                    <a:pt x="1053" y="5279"/>
                  </a:lnTo>
                  <a:lnTo>
                    <a:pt x="1065" y="5270"/>
                  </a:lnTo>
                  <a:lnTo>
                    <a:pt x="1068" y="5259"/>
                  </a:lnTo>
                  <a:lnTo>
                    <a:pt x="1077" y="5256"/>
                  </a:lnTo>
                  <a:lnTo>
                    <a:pt x="1090" y="5273"/>
                  </a:lnTo>
                  <a:lnTo>
                    <a:pt x="1130" y="5286"/>
                  </a:lnTo>
                  <a:lnTo>
                    <a:pt x="1142" y="5293"/>
                  </a:lnTo>
                  <a:lnTo>
                    <a:pt x="1156" y="5289"/>
                  </a:lnTo>
                  <a:lnTo>
                    <a:pt x="1165" y="5301"/>
                  </a:lnTo>
                  <a:lnTo>
                    <a:pt x="1179" y="5307"/>
                  </a:lnTo>
                  <a:lnTo>
                    <a:pt x="1199" y="5309"/>
                  </a:lnTo>
                  <a:lnTo>
                    <a:pt x="1204" y="5324"/>
                  </a:lnTo>
                  <a:lnTo>
                    <a:pt x="1220" y="5335"/>
                  </a:lnTo>
                  <a:lnTo>
                    <a:pt x="1232" y="5335"/>
                  </a:lnTo>
                  <a:lnTo>
                    <a:pt x="1238" y="5331"/>
                  </a:lnTo>
                  <a:lnTo>
                    <a:pt x="1246" y="5324"/>
                  </a:lnTo>
                  <a:lnTo>
                    <a:pt x="1253" y="5331"/>
                  </a:lnTo>
                  <a:lnTo>
                    <a:pt x="1250" y="5338"/>
                  </a:lnTo>
                  <a:lnTo>
                    <a:pt x="1248" y="5351"/>
                  </a:lnTo>
                  <a:lnTo>
                    <a:pt x="1253" y="5358"/>
                  </a:lnTo>
                  <a:lnTo>
                    <a:pt x="1257" y="5368"/>
                  </a:lnTo>
                  <a:lnTo>
                    <a:pt x="1256" y="5384"/>
                  </a:lnTo>
                  <a:lnTo>
                    <a:pt x="1246" y="5390"/>
                  </a:lnTo>
                  <a:lnTo>
                    <a:pt x="1223" y="5409"/>
                  </a:lnTo>
                  <a:lnTo>
                    <a:pt x="1209" y="5413"/>
                  </a:lnTo>
                  <a:lnTo>
                    <a:pt x="1220" y="5428"/>
                  </a:lnTo>
                  <a:lnTo>
                    <a:pt x="1244" y="5437"/>
                  </a:lnTo>
                  <a:lnTo>
                    <a:pt x="1238" y="5448"/>
                  </a:lnTo>
                  <a:lnTo>
                    <a:pt x="1214" y="5448"/>
                  </a:lnTo>
                  <a:lnTo>
                    <a:pt x="1211" y="5460"/>
                  </a:lnTo>
                  <a:lnTo>
                    <a:pt x="1209" y="5474"/>
                  </a:lnTo>
                  <a:lnTo>
                    <a:pt x="1225" y="5485"/>
                  </a:lnTo>
                  <a:lnTo>
                    <a:pt x="1232" y="5518"/>
                  </a:lnTo>
                  <a:lnTo>
                    <a:pt x="1235" y="5524"/>
                  </a:lnTo>
                  <a:lnTo>
                    <a:pt x="1229" y="5556"/>
                  </a:lnTo>
                  <a:lnTo>
                    <a:pt x="1221" y="5577"/>
                  </a:lnTo>
                  <a:lnTo>
                    <a:pt x="1221" y="5586"/>
                  </a:lnTo>
                  <a:lnTo>
                    <a:pt x="1207" y="5596"/>
                  </a:lnTo>
                  <a:lnTo>
                    <a:pt x="1171" y="5586"/>
                  </a:lnTo>
                  <a:lnTo>
                    <a:pt x="1127" y="5587"/>
                  </a:lnTo>
                  <a:lnTo>
                    <a:pt x="1127" y="5600"/>
                  </a:lnTo>
                  <a:lnTo>
                    <a:pt x="1117" y="5612"/>
                  </a:lnTo>
                  <a:lnTo>
                    <a:pt x="1100" y="5621"/>
                  </a:lnTo>
                  <a:lnTo>
                    <a:pt x="1084" y="5623"/>
                  </a:lnTo>
                  <a:lnTo>
                    <a:pt x="1073" y="5628"/>
                  </a:lnTo>
                  <a:lnTo>
                    <a:pt x="1070" y="5663"/>
                  </a:lnTo>
                  <a:lnTo>
                    <a:pt x="1070" y="5677"/>
                  </a:lnTo>
                  <a:lnTo>
                    <a:pt x="1069" y="5684"/>
                  </a:lnTo>
                  <a:lnTo>
                    <a:pt x="1069" y="5693"/>
                  </a:lnTo>
                  <a:lnTo>
                    <a:pt x="1162" y="5675"/>
                  </a:lnTo>
                  <a:lnTo>
                    <a:pt x="1165" y="5679"/>
                  </a:lnTo>
                  <a:lnTo>
                    <a:pt x="1174" y="5704"/>
                  </a:lnTo>
                  <a:lnTo>
                    <a:pt x="1119" y="5734"/>
                  </a:lnTo>
                  <a:lnTo>
                    <a:pt x="1086" y="5757"/>
                  </a:lnTo>
                  <a:lnTo>
                    <a:pt x="1035" y="5765"/>
                  </a:lnTo>
                  <a:lnTo>
                    <a:pt x="1024" y="5774"/>
                  </a:lnTo>
                  <a:lnTo>
                    <a:pt x="1045" y="5797"/>
                  </a:lnTo>
                  <a:lnTo>
                    <a:pt x="1073" y="5815"/>
                  </a:lnTo>
                  <a:lnTo>
                    <a:pt x="1093" y="5851"/>
                  </a:lnTo>
                  <a:lnTo>
                    <a:pt x="1070" y="5860"/>
                  </a:lnTo>
                  <a:lnTo>
                    <a:pt x="1046" y="5862"/>
                  </a:lnTo>
                  <a:lnTo>
                    <a:pt x="1035" y="5894"/>
                  </a:lnTo>
                  <a:lnTo>
                    <a:pt x="1019" y="5923"/>
                  </a:lnTo>
                  <a:lnTo>
                    <a:pt x="1015" y="5957"/>
                  </a:lnTo>
                  <a:lnTo>
                    <a:pt x="995" y="5962"/>
                  </a:lnTo>
                  <a:lnTo>
                    <a:pt x="972" y="5962"/>
                  </a:lnTo>
                  <a:lnTo>
                    <a:pt x="946" y="5975"/>
                  </a:lnTo>
                  <a:lnTo>
                    <a:pt x="982" y="6019"/>
                  </a:lnTo>
                  <a:lnTo>
                    <a:pt x="996" y="6052"/>
                  </a:lnTo>
                  <a:lnTo>
                    <a:pt x="1011" y="6054"/>
                  </a:lnTo>
                  <a:lnTo>
                    <a:pt x="1025" y="6045"/>
                  </a:lnTo>
                  <a:lnTo>
                    <a:pt x="1036" y="6049"/>
                  </a:lnTo>
                  <a:lnTo>
                    <a:pt x="1058" y="6081"/>
                  </a:lnTo>
                  <a:lnTo>
                    <a:pt x="1074" y="6091"/>
                  </a:lnTo>
                  <a:lnTo>
                    <a:pt x="1103" y="6096"/>
                  </a:lnTo>
                  <a:lnTo>
                    <a:pt x="1139" y="6121"/>
                  </a:lnTo>
                  <a:lnTo>
                    <a:pt x="1254" y="6239"/>
                  </a:lnTo>
                  <a:lnTo>
                    <a:pt x="1258" y="6220"/>
                  </a:lnTo>
                  <a:lnTo>
                    <a:pt x="1270" y="6209"/>
                  </a:lnTo>
                  <a:lnTo>
                    <a:pt x="1282" y="6213"/>
                  </a:lnTo>
                  <a:lnTo>
                    <a:pt x="1285" y="6216"/>
                  </a:lnTo>
                  <a:lnTo>
                    <a:pt x="1324" y="6218"/>
                  </a:lnTo>
                  <a:lnTo>
                    <a:pt x="1356" y="6239"/>
                  </a:lnTo>
                  <a:lnTo>
                    <a:pt x="1365" y="6243"/>
                  </a:lnTo>
                  <a:lnTo>
                    <a:pt x="1389" y="6243"/>
                  </a:lnTo>
                  <a:lnTo>
                    <a:pt x="1398" y="6253"/>
                  </a:lnTo>
                  <a:lnTo>
                    <a:pt x="1424" y="6264"/>
                  </a:lnTo>
                  <a:lnTo>
                    <a:pt x="1440" y="6268"/>
                  </a:lnTo>
                  <a:lnTo>
                    <a:pt x="1453" y="6268"/>
                  </a:lnTo>
                  <a:lnTo>
                    <a:pt x="1473" y="6260"/>
                  </a:lnTo>
                  <a:lnTo>
                    <a:pt x="1495" y="6260"/>
                  </a:lnTo>
                  <a:lnTo>
                    <a:pt x="1514" y="6271"/>
                  </a:lnTo>
                  <a:lnTo>
                    <a:pt x="1520" y="6271"/>
                  </a:lnTo>
                  <a:lnTo>
                    <a:pt x="1535" y="6269"/>
                  </a:lnTo>
                  <a:lnTo>
                    <a:pt x="1549" y="6278"/>
                  </a:lnTo>
                  <a:lnTo>
                    <a:pt x="1553" y="6289"/>
                  </a:lnTo>
                  <a:lnTo>
                    <a:pt x="1567" y="6301"/>
                  </a:lnTo>
                  <a:lnTo>
                    <a:pt x="1589" y="6310"/>
                  </a:lnTo>
                  <a:lnTo>
                    <a:pt x="1605" y="6313"/>
                  </a:lnTo>
                  <a:lnTo>
                    <a:pt x="1629" y="6329"/>
                  </a:lnTo>
                  <a:lnTo>
                    <a:pt x="1623" y="6336"/>
                  </a:lnTo>
                  <a:lnTo>
                    <a:pt x="1621" y="6343"/>
                  </a:lnTo>
                  <a:lnTo>
                    <a:pt x="1641" y="6356"/>
                  </a:lnTo>
                  <a:lnTo>
                    <a:pt x="1653" y="6349"/>
                  </a:lnTo>
                  <a:lnTo>
                    <a:pt x="1665" y="6349"/>
                  </a:lnTo>
                  <a:lnTo>
                    <a:pt x="1677" y="6331"/>
                  </a:lnTo>
                  <a:lnTo>
                    <a:pt x="1686" y="6328"/>
                  </a:lnTo>
                  <a:lnTo>
                    <a:pt x="1702" y="6328"/>
                  </a:lnTo>
                  <a:lnTo>
                    <a:pt x="1714" y="6331"/>
                  </a:lnTo>
                  <a:lnTo>
                    <a:pt x="1721" y="6340"/>
                  </a:lnTo>
                  <a:lnTo>
                    <a:pt x="1728" y="6329"/>
                  </a:lnTo>
                  <a:lnTo>
                    <a:pt x="1732" y="6326"/>
                  </a:lnTo>
                  <a:lnTo>
                    <a:pt x="1737" y="6326"/>
                  </a:lnTo>
                  <a:lnTo>
                    <a:pt x="1748" y="6333"/>
                  </a:lnTo>
                  <a:lnTo>
                    <a:pt x="1753" y="6340"/>
                  </a:lnTo>
                  <a:lnTo>
                    <a:pt x="1764" y="6340"/>
                  </a:lnTo>
                  <a:lnTo>
                    <a:pt x="1772" y="6347"/>
                  </a:lnTo>
                  <a:lnTo>
                    <a:pt x="1781" y="6358"/>
                  </a:lnTo>
                  <a:lnTo>
                    <a:pt x="1813" y="6359"/>
                  </a:lnTo>
                  <a:lnTo>
                    <a:pt x="1819" y="6368"/>
                  </a:lnTo>
                  <a:lnTo>
                    <a:pt x="1813" y="6379"/>
                  </a:lnTo>
                  <a:lnTo>
                    <a:pt x="1809" y="6398"/>
                  </a:lnTo>
                  <a:lnTo>
                    <a:pt x="1823" y="6418"/>
                  </a:lnTo>
                  <a:lnTo>
                    <a:pt x="1837" y="6428"/>
                  </a:lnTo>
                  <a:lnTo>
                    <a:pt x="1860" y="6437"/>
                  </a:lnTo>
                  <a:lnTo>
                    <a:pt x="1871" y="6435"/>
                  </a:lnTo>
                  <a:lnTo>
                    <a:pt x="1882" y="6439"/>
                  </a:lnTo>
                  <a:lnTo>
                    <a:pt x="1887" y="6451"/>
                  </a:lnTo>
                  <a:lnTo>
                    <a:pt x="1898" y="6449"/>
                  </a:lnTo>
                  <a:lnTo>
                    <a:pt x="1898" y="6460"/>
                  </a:lnTo>
                  <a:lnTo>
                    <a:pt x="1908" y="6456"/>
                  </a:lnTo>
                  <a:lnTo>
                    <a:pt x="1915" y="6456"/>
                  </a:lnTo>
                  <a:lnTo>
                    <a:pt x="1921" y="6469"/>
                  </a:lnTo>
                  <a:lnTo>
                    <a:pt x="1944" y="6486"/>
                  </a:lnTo>
                  <a:lnTo>
                    <a:pt x="1946" y="6495"/>
                  </a:lnTo>
                  <a:lnTo>
                    <a:pt x="1952" y="6495"/>
                  </a:lnTo>
                  <a:lnTo>
                    <a:pt x="1964" y="6513"/>
                  </a:lnTo>
                  <a:lnTo>
                    <a:pt x="1964" y="6532"/>
                  </a:lnTo>
                  <a:lnTo>
                    <a:pt x="1990" y="6537"/>
                  </a:lnTo>
                  <a:lnTo>
                    <a:pt x="2010" y="6547"/>
                  </a:lnTo>
                  <a:lnTo>
                    <a:pt x="2027" y="6543"/>
                  </a:lnTo>
                  <a:lnTo>
                    <a:pt x="2034" y="6530"/>
                  </a:lnTo>
                  <a:lnTo>
                    <a:pt x="2049" y="6509"/>
                  </a:lnTo>
                  <a:lnTo>
                    <a:pt x="2060" y="6504"/>
                  </a:lnTo>
                  <a:lnTo>
                    <a:pt x="2083" y="6485"/>
                  </a:lnTo>
                  <a:lnTo>
                    <a:pt x="2095" y="6456"/>
                  </a:lnTo>
                  <a:lnTo>
                    <a:pt x="2093" y="6448"/>
                  </a:lnTo>
                  <a:lnTo>
                    <a:pt x="2076" y="6444"/>
                  </a:lnTo>
                  <a:lnTo>
                    <a:pt x="2070" y="6421"/>
                  </a:lnTo>
                  <a:lnTo>
                    <a:pt x="2050" y="6395"/>
                  </a:lnTo>
                  <a:lnTo>
                    <a:pt x="2025" y="6350"/>
                  </a:lnTo>
                  <a:lnTo>
                    <a:pt x="2013" y="6347"/>
                  </a:lnTo>
                  <a:lnTo>
                    <a:pt x="2007" y="6313"/>
                  </a:lnTo>
                  <a:lnTo>
                    <a:pt x="2002" y="6308"/>
                  </a:lnTo>
                  <a:lnTo>
                    <a:pt x="1986" y="6292"/>
                  </a:lnTo>
                  <a:lnTo>
                    <a:pt x="1988" y="6268"/>
                  </a:lnTo>
                  <a:lnTo>
                    <a:pt x="1994" y="6253"/>
                  </a:lnTo>
                  <a:lnTo>
                    <a:pt x="1989" y="6248"/>
                  </a:lnTo>
                  <a:lnTo>
                    <a:pt x="1986" y="6222"/>
                  </a:lnTo>
                  <a:lnTo>
                    <a:pt x="1997" y="6199"/>
                  </a:lnTo>
                  <a:lnTo>
                    <a:pt x="2002" y="6171"/>
                  </a:lnTo>
                  <a:lnTo>
                    <a:pt x="1995" y="6172"/>
                  </a:lnTo>
                  <a:lnTo>
                    <a:pt x="1990" y="6186"/>
                  </a:lnTo>
                  <a:lnTo>
                    <a:pt x="1986" y="6208"/>
                  </a:lnTo>
                  <a:lnTo>
                    <a:pt x="1982" y="6222"/>
                  </a:lnTo>
                  <a:lnTo>
                    <a:pt x="1979" y="6211"/>
                  </a:lnTo>
                  <a:lnTo>
                    <a:pt x="1984" y="6199"/>
                  </a:lnTo>
                  <a:lnTo>
                    <a:pt x="1986" y="6174"/>
                  </a:lnTo>
                  <a:lnTo>
                    <a:pt x="1962" y="6125"/>
                  </a:lnTo>
                  <a:lnTo>
                    <a:pt x="1952" y="6123"/>
                  </a:lnTo>
                  <a:lnTo>
                    <a:pt x="1945" y="6103"/>
                  </a:lnTo>
                  <a:lnTo>
                    <a:pt x="1931" y="6100"/>
                  </a:lnTo>
                  <a:lnTo>
                    <a:pt x="1915" y="6088"/>
                  </a:lnTo>
                  <a:lnTo>
                    <a:pt x="1912" y="6075"/>
                  </a:lnTo>
                  <a:lnTo>
                    <a:pt x="1919" y="6054"/>
                  </a:lnTo>
                  <a:lnTo>
                    <a:pt x="1933" y="6038"/>
                  </a:lnTo>
                  <a:lnTo>
                    <a:pt x="1946" y="6028"/>
                  </a:lnTo>
                  <a:lnTo>
                    <a:pt x="1985" y="5943"/>
                  </a:lnTo>
                  <a:lnTo>
                    <a:pt x="1994" y="5929"/>
                  </a:lnTo>
                  <a:lnTo>
                    <a:pt x="1989" y="5913"/>
                  </a:lnTo>
                  <a:lnTo>
                    <a:pt x="1993" y="5902"/>
                  </a:lnTo>
                  <a:lnTo>
                    <a:pt x="1997" y="5899"/>
                  </a:lnTo>
                  <a:lnTo>
                    <a:pt x="2005" y="5904"/>
                  </a:lnTo>
                  <a:lnTo>
                    <a:pt x="2017" y="5909"/>
                  </a:lnTo>
                  <a:lnTo>
                    <a:pt x="2030" y="5904"/>
                  </a:lnTo>
                  <a:lnTo>
                    <a:pt x="2058" y="5897"/>
                  </a:lnTo>
                  <a:lnTo>
                    <a:pt x="2091" y="5867"/>
                  </a:lnTo>
                  <a:lnTo>
                    <a:pt x="2104" y="5879"/>
                  </a:lnTo>
                  <a:lnTo>
                    <a:pt x="2109" y="5874"/>
                  </a:lnTo>
                  <a:lnTo>
                    <a:pt x="2109" y="5851"/>
                  </a:lnTo>
                  <a:lnTo>
                    <a:pt x="2116" y="5851"/>
                  </a:lnTo>
                  <a:lnTo>
                    <a:pt x="2132" y="5842"/>
                  </a:lnTo>
                  <a:lnTo>
                    <a:pt x="2149" y="5824"/>
                  </a:lnTo>
                  <a:lnTo>
                    <a:pt x="2157" y="5810"/>
                  </a:lnTo>
                  <a:lnTo>
                    <a:pt x="2130" y="5797"/>
                  </a:lnTo>
                  <a:lnTo>
                    <a:pt x="2092" y="5773"/>
                  </a:lnTo>
                  <a:lnTo>
                    <a:pt x="2088" y="5753"/>
                  </a:lnTo>
                  <a:lnTo>
                    <a:pt x="2104" y="5746"/>
                  </a:lnTo>
                  <a:lnTo>
                    <a:pt x="2119" y="5753"/>
                  </a:lnTo>
                  <a:lnTo>
                    <a:pt x="2137" y="5758"/>
                  </a:lnTo>
                  <a:lnTo>
                    <a:pt x="2144" y="5753"/>
                  </a:lnTo>
                  <a:lnTo>
                    <a:pt x="2100" y="5677"/>
                  </a:lnTo>
                  <a:lnTo>
                    <a:pt x="2086" y="5644"/>
                  </a:lnTo>
                  <a:lnTo>
                    <a:pt x="2064" y="5630"/>
                  </a:lnTo>
                  <a:lnTo>
                    <a:pt x="2043" y="5600"/>
                  </a:lnTo>
                  <a:lnTo>
                    <a:pt x="2019" y="5598"/>
                  </a:lnTo>
                  <a:lnTo>
                    <a:pt x="2005" y="5600"/>
                  </a:lnTo>
                  <a:lnTo>
                    <a:pt x="1979" y="5586"/>
                  </a:lnTo>
                  <a:lnTo>
                    <a:pt x="1974" y="5608"/>
                  </a:lnTo>
                  <a:lnTo>
                    <a:pt x="1951" y="5575"/>
                  </a:lnTo>
                  <a:lnTo>
                    <a:pt x="1954" y="5554"/>
                  </a:lnTo>
                  <a:lnTo>
                    <a:pt x="1948" y="5529"/>
                  </a:lnTo>
                  <a:lnTo>
                    <a:pt x="1888" y="5506"/>
                  </a:lnTo>
                  <a:lnTo>
                    <a:pt x="1917" y="5427"/>
                  </a:lnTo>
                  <a:lnTo>
                    <a:pt x="1936" y="5409"/>
                  </a:lnTo>
                  <a:lnTo>
                    <a:pt x="1946" y="5395"/>
                  </a:lnTo>
                  <a:lnTo>
                    <a:pt x="1936" y="5376"/>
                  </a:lnTo>
                  <a:lnTo>
                    <a:pt x="1921" y="5363"/>
                  </a:lnTo>
                  <a:lnTo>
                    <a:pt x="1931" y="5275"/>
                  </a:lnTo>
                  <a:lnTo>
                    <a:pt x="1968" y="5266"/>
                  </a:lnTo>
                  <a:lnTo>
                    <a:pt x="1982" y="5227"/>
                  </a:lnTo>
                  <a:lnTo>
                    <a:pt x="1986" y="5206"/>
                  </a:lnTo>
                  <a:lnTo>
                    <a:pt x="2005" y="5203"/>
                  </a:lnTo>
                  <a:lnTo>
                    <a:pt x="2026" y="5219"/>
                  </a:lnTo>
                  <a:lnTo>
                    <a:pt x="2049" y="5256"/>
                  </a:lnTo>
                  <a:lnTo>
                    <a:pt x="2071" y="5284"/>
                  </a:lnTo>
                  <a:lnTo>
                    <a:pt x="2099" y="5284"/>
                  </a:lnTo>
                  <a:lnTo>
                    <a:pt x="2119" y="5268"/>
                  </a:lnTo>
                  <a:lnTo>
                    <a:pt x="2121" y="5238"/>
                  </a:lnTo>
                  <a:lnTo>
                    <a:pt x="2113" y="5210"/>
                  </a:lnTo>
                  <a:lnTo>
                    <a:pt x="2111" y="5178"/>
                  </a:lnTo>
                  <a:lnTo>
                    <a:pt x="2170" y="5135"/>
                  </a:lnTo>
                  <a:lnTo>
                    <a:pt x="2178" y="5119"/>
                  </a:lnTo>
                  <a:lnTo>
                    <a:pt x="2193" y="5098"/>
                  </a:lnTo>
                  <a:lnTo>
                    <a:pt x="2215" y="5085"/>
                  </a:lnTo>
                  <a:lnTo>
                    <a:pt x="2239" y="5080"/>
                  </a:lnTo>
                  <a:lnTo>
                    <a:pt x="2274" y="5053"/>
                  </a:lnTo>
                  <a:lnTo>
                    <a:pt x="2320" y="5008"/>
                  </a:lnTo>
                  <a:lnTo>
                    <a:pt x="2350" y="5013"/>
                  </a:lnTo>
                  <a:lnTo>
                    <a:pt x="2370" y="5013"/>
                  </a:lnTo>
                  <a:lnTo>
                    <a:pt x="2383" y="5032"/>
                  </a:lnTo>
                  <a:lnTo>
                    <a:pt x="2414" y="5023"/>
                  </a:lnTo>
                  <a:lnTo>
                    <a:pt x="2426" y="5013"/>
                  </a:lnTo>
                  <a:lnTo>
                    <a:pt x="2452" y="4997"/>
                  </a:lnTo>
                  <a:lnTo>
                    <a:pt x="2469" y="5001"/>
                  </a:lnTo>
                  <a:lnTo>
                    <a:pt x="2489" y="5038"/>
                  </a:lnTo>
                  <a:lnTo>
                    <a:pt x="2523" y="5039"/>
                  </a:lnTo>
                  <a:lnTo>
                    <a:pt x="2550" y="5034"/>
                  </a:lnTo>
                  <a:lnTo>
                    <a:pt x="2593" y="5046"/>
                  </a:lnTo>
                  <a:lnTo>
                    <a:pt x="2593" y="5071"/>
                  </a:lnTo>
                  <a:lnTo>
                    <a:pt x="2653" y="5108"/>
                  </a:lnTo>
                  <a:lnTo>
                    <a:pt x="2672" y="5128"/>
                  </a:lnTo>
                  <a:lnTo>
                    <a:pt x="2674" y="5169"/>
                  </a:lnTo>
                  <a:lnTo>
                    <a:pt x="2686" y="5178"/>
                  </a:lnTo>
                  <a:lnTo>
                    <a:pt x="2697" y="5160"/>
                  </a:lnTo>
                  <a:lnTo>
                    <a:pt x="2688" y="5126"/>
                  </a:lnTo>
                  <a:lnTo>
                    <a:pt x="2686" y="5108"/>
                  </a:lnTo>
                  <a:lnTo>
                    <a:pt x="2718" y="5113"/>
                  </a:lnTo>
                  <a:lnTo>
                    <a:pt x="2743" y="5151"/>
                  </a:lnTo>
                  <a:lnTo>
                    <a:pt x="2774" y="5162"/>
                  </a:lnTo>
                  <a:lnTo>
                    <a:pt x="2792" y="5178"/>
                  </a:lnTo>
                  <a:lnTo>
                    <a:pt x="2823" y="5167"/>
                  </a:lnTo>
                  <a:lnTo>
                    <a:pt x="2851" y="5122"/>
                  </a:lnTo>
                  <a:lnTo>
                    <a:pt x="2874" y="5098"/>
                  </a:lnTo>
                  <a:lnTo>
                    <a:pt x="2939" y="5105"/>
                  </a:lnTo>
                  <a:lnTo>
                    <a:pt x="2968" y="5133"/>
                  </a:lnTo>
                  <a:lnTo>
                    <a:pt x="2995" y="5128"/>
                  </a:lnTo>
                  <a:lnTo>
                    <a:pt x="3000" y="5099"/>
                  </a:lnTo>
                  <a:lnTo>
                    <a:pt x="3048" y="5092"/>
                  </a:lnTo>
                  <a:lnTo>
                    <a:pt x="3081" y="5099"/>
                  </a:lnTo>
                  <a:lnTo>
                    <a:pt x="3094" y="5136"/>
                  </a:lnTo>
                  <a:lnTo>
                    <a:pt x="3134" y="5160"/>
                  </a:lnTo>
                  <a:lnTo>
                    <a:pt x="3168" y="5169"/>
                  </a:lnTo>
                  <a:lnTo>
                    <a:pt x="3186" y="5181"/>
                  </a:lnTo>
                  <a:lnTo>
                    <a:pt x="3213" y="5157"/>
                  </a:lnTo>
                  <a:lnTo>
                    <a:pt x="3221" y="5135"/>
                  </a:lnTo>
                  <a:lnTo>
                    <a:pt x="3232" y="5135"/>
                  </a:lnTo>
                  <a:lnTo>
                    <a:pt x="3248" y="5160"/>
                  </a:lnTo>
                  <a:lnTo>
                    <a:pt x="3290" y="5162"/>
                  </a:lnTo>
                  <a:lnTo>
                    <a:pt x="3359" y="5133"/>
                  </a:lnTo>
                  <a:lnTo>
                    <a:pt x="3365" y="5112"/>
                  </a:lnTo>
                  <a:lnTo>
                    <a:pt x="3371" y="5064"/>
                  </a:lnTo>
                  <a:lnTo>
                    <a:pt x="3360" y="5046"/>
                  </a:lnTo>
                  <a:lnTo>
                    <a:pt x="3309" y="5034"/>
                  </a:lnTo>
                  <a:lnTo>
                    <a:pt x="3297" y="5013"/>
                  </a:lnTo>
                  <a:lnTo>
                    <a:pt x="3269" y="5008"/>
                  </a:lnTo>
                  <a:lnTo>
                    <a:pt x="3253" y="4999"/>
                  </a:lnTo>
                  <a:lnTo>
                    <a:pt x="3256" y="4986"/>
                  </a:lnTo>
                  <a:lnTo>
                    <a:pt x="3237" y="4978"/>
                  </a:lnTo>
                  <a:lnTo>
                    <a:pt x="3228" y="4978"/>
                  </a:lnTo>
                  <a:lnTo>
                    <a:pt x="3220" y="4958"/>
                  </a:lnTo>
                  <a:lnTo>
                    <a:pt x="3241" y="4953"/>
                  </a:lnTo>
                  <a:lnTo>
                    <a:pt x="3273" y="4928"/>
                  </a:lnTo>
                  <a:lnTo>
                    <a:pt x="3299" y="4918"/>
                  </a:lnTo>
                  <a:lnTo>
                    <a:pt x="3315" y="4896"/>
                  </a:lnTo>
                  <a:lnTo>
                    <a:pt x="3294" y="4863"/>
                  </a:lnTo>
                  <a:lnTo>
                    <a:pt x="3289" y="4843"/>
                  </a:lnTo>
                  <a:lnTo>
                    <a:pt x="3318" y="4808"/>
                  </a:lnTo>
                  <a:lnTo>
                    <a:pt x="3348" y="4794"/>
                  </a:lnTo>
                  <a:lnTo>
                    <a:pt x="3396" y="4805"/>
                  </a:lnTo>
                  <a:lnTo>
                    <a:pt x="3420" y="4799"/>
                  </a:lnTo>
                  <a:lnTo>
                    <a:pt x="3425" y="4782"/>
                  </a:lnTo>
                  <a:lnTo>
                    <a:pt x="3383" y="4761"/>
                  </a:lnTo>
                  <a:lnTo>
                    <a:pt x="3335" y="4753"/>
                  </a:lnTo>
                  <a:lnTo>
                    <a:pt x="3335" y="4729"/>
                  </a:lnTo>
                  <a:lnTo>
                    <a:pt x="3348" y="4723"/>
                  </a:lnTo>
                  <a:lnTo>
                    <a:pt x="3335" y="4708"/>
                  </a:lnTo>
                  <a:lnTo>
                    <a:pt x="3332" y="4676"/>
                  </a:lnTo>
                  <a:lnTo>
                    <a:pt x="3340" y="4639"/>
                  </a:lnTo>
                  <a:lnTo>
                    <a:pt x="3355" y="4634"/>
                  </a:lnTo>
                  <a:lnTo>
                    <a:pt x="3402" y="4644"/>
                  </a:lnTo>
                  <a:lnTo>
                    <a:pt x="3458" y="4644"/>
                  </a:lnTo>
                  <a:lnTo>
                    <a:pt x="3475" y="4632"/>
                  </a:lnTo>
                  <a:lnTo>
                    <a:pt x="3537" y="4602"/>
                  </a:lnTo>
                  <a:lnTo>
                    <a:pt x="3581" y="4600"/>
                  </a:lnTo>
                  <a:lnTo>
                    <a:pt x="3614" y="4591"/>
                  </a:lnTo>
                  <a:lnTo>
                    <a:pt x="3709" y="4579"/>
                  </a:lnTo>
                  <a:lnTo>
                    <a:pt x="3723" y="4584"/>
                  </a:lnTo>
                  <a:lnTo>
                    <a:pt x="3732" y="4559"/>
                  </a:lnTo>
                  <a:lnTo>
                    <a:pt x="3761" y="4535"/>
                  </a:lnTo>
                  <a:lnTo>
                    <a:pt x="3813" y="4533"/>
                  </a:lnTo>
                  <a:lnTo>
                    <a:pt x="3902" y="4503"/>
                  </a:lnTo>
                  <a:lnTo>
                    <a:pt x="3985" y="4498"/>
                  </a:lnTo>
                  <a:lnTo>
                    <a:pt x="4011" y="4492"/>
                  </a:lnTo>
                  <a:lnTo>
                    <a:pt x="4027" y="4466"/>
                  </a:lnTo>
                  <a:lnTo>
                    <a:pt x="4027" y="4445"/>
                  </a:lnTo>
                  <a:lnTo>
                    <a:pt x="4050" y="4441"/>
                  </a:lnTo>
                  <a:lnTo>
                    <a:pt x="4076" y="4428"/>
                  </a:lnTo>
                  <a:lnTo>
                    <a:pt x="4081" y="4410"/>
                  </a:lnTo>
                  <a:lnTo>
                    <a:pt x="4113" y="4408"/>
                  </a:lnTo>
                  <a:lnTo>
                    <a:pt x="4178" y="4428"/>
                  </a:lnTo>
                  <a:lnTo>
                    <a:pt x="4211" y="4446"/>
                  </a:lnTo>
                  <a:lnTo>
                    <a:pt x="4238" y="4439"/>
                  </a:lnTo>
                  <a:lnTo>
                    <a:pt x="4279" y="4436"/>
                  </a:lnTo>
                  <a:lnTo>
                    <a:pt x="4295" y="4466"/>
                  </a:lnTo>
                  <a:lnTo>
                    <a:pt x="4293" y="4491"/>
                  </a:lnTo>
                  <a:lnTo>
                    <a:pt x="4299" y="4506"/>
                  </a:lnTo>
                  <a:lnTo>
                    <a:pt x="4321" y="4522"/>
                  </a:lnTo>
                  <a:lnTo>
                    <a:pt x="4317" y="4545"/>
                  </a:lnTo>
                  <a:lnTo>
                    <a:pt x="4311" y="4565"/>
                  </a:lnTo>
                  <a:lnTo>
                    <a:pt x="4314" y="4589"/>
                  </a:lnTo>
                  <a:lnTo>
                    <a:pt x="4299" y="4591"/>
                  </a:lnTo>
                  <a:lnTo>
                    <a:pt x="4307" y="4611"/>
                  </a:lnTo>
                  <a:lnTo>
                    <a:pt x="4329" y="4616"/>
                  </a:lnTo>
                  <a:lnTo>
                    <a:pt x="4341" y="4605"/>
                  </a:lnTo>
                  <a:lnTo>
                    <a:pt x="4360" y="4612"/>
                  </a:lnTo>
                  <a:lnTo>
                    <a:pt x="4377" y="4602"/>
                  </a:lnTo>
                  <a:lnTo>
                    <a:pt x="4393" y="4607"/>
                  </a:lnTo>
                  <a:lnTo>
                    <a:pt x="4407" y="4591"/>
                  </a:lnTo>
                  <a:lnTo>
                    <a:pt x="4420" y="4600"/>
                  </a:lnTo>
                  <a:lnTo>
                    <a:pt x="4434" y="4626"/>
                  </a:lnTo>
                  <a:lnTo>
                    <a:pt x="4451" y="4642"/>
                  </a:lnTo>
                  <a:lnTo>
                    <a:pt x="4456" y="4632"/>
                  </a:lnTo>
                  <a:lnTo>
                    <a:pt x="4465" y="4621"/>
                  </a:lnTo>
                  <a:lnTo>
                    <a:pt x="4485" y="4623"/>
                  </a:lnTo>
                  <a:lnTo>
                    <a:pt x="4504" y="4644"/>
                  </a:lnTo>
                  <a:lnTo>
                    <a:pt x="4525" y="4653"/>
                  </a:lnTo>
                  <a:lnTo>
                    <a:pt x="4544" y="4637"/>
                  </a:lnTo>
                  <a:lnTo>
                    <a:pt x="4561" y="4637"/>
                  </a:lnTo>
                  <a:lnTo>
                    <a:pt x="4554" y="4658"/>
                  </a:lnTo>
                  <a:lnTo>
                    <a:pt x="4534" y="4671"/>
                  </a:lnTo>
                  <a:lnTo>
                    <a:pt x="4520" y="4702"/>
                  </a:lnTo>
                  <a:lnTo>
                    <a:pt x="4534" y="4716"/>
                  </a:lnTo>
                  <a:lnTo>
                    <a:pt x="4554" y="4708"/>
                  </a:lnTo>
                  <a:lnTo>
                    <a:pt x="4588" y="4702"/>
                  </a:lnTo>
                  <a:lnTo>
                    <a:pt x="4607" y="4706"/>
                  </a:lnTo>
                  <a:lnTo>
                    <a:pt x="4631" y="4718"/>
                  </a:lnTo>
                  <a:lnTo>
                    <a:pt x="4644" y="4697"/>
                  </a:lnTo>
                  <a:lnTo>
                    <a:pt x="4679" y="4665"/>
                  </a:lnTo>
                  <a:lnTo>
                    <a:pt x="4727" y="4648"/>
                  </a:lnTo>
                  <a:lnTo>
                    <a:pt x="4769" y="4611"/>
                  </a:lnTo>
                  <a:lnTo>
                    <a:pt x="4803" y="4595"/>
                  </a:lnTo>
                  <a:lnTo>
                    <a:pt x="4827" y="4579"/>
                  </a:lnTo>
                  <a:lnTo>
                    <a:pt x="4862" y="4574"/>
                  </a:lnTo>
                  <a:lnTo>
                    <a:pt x="4862" y="4605"/>
                  </a:lnTo>
                  <a:lnTo>
                    <a:pt x="4839" y="4612"/>
                  </a:lnTo>
                  <a:lnTo>
                    <a:pt x="4835" y="4639"/>
                  </a:lnTo>
                  <a:lnTo>
                    <a:pt x="4884" y="4681"/>
                  </a:lnTo>
                  <a:lnTo>
                    <a:pt x="4918" y="4702"/>
                  </a:lnTo>
                  <a:lnTo>
                    <a:pt x="4975" y="4757"/>
                  </a:lnTo>
                  <a:lnTo>
                    <a:pt x="5023" y="4831"/>
                  </a:lnTo>
                  <a:lnTo>
                    <a:pt x="5183" y="5144"/>
                  </a:lnTo>
                  <a:lnTo>
                    <a:pt x="5207" y="5126"/>
                  </a:lnTo>
                  <a:lnTo>
                    <a:pt x="5220" y="5106"/>
                  </a:lnTo>
                  <a:lnTo>
                    <a:pt x="5236" y="5071"/>
                  </a:lnTo>
                  <a:lnTo>
                    <a:pt x="5278" y="5071"/>
                  </a:lnTo>
                  <a:lnTo>
                    <a:pt x="5294" y="5094"/>
                  </a:lnTo>
                  <a:lnTo>
                    <a:pt x="5294" y="5120"/>
                  </a:lnTo>
                  <a:lnTo>
                    <a:pt x="5315" y="5120"/>
                  </a:lnTo>
                  <a:lnTo>
                    <a:pt x="5334" y="5151"/>
                  </a:lnTo>
                  <a:lnTo>
                    <a:pt x="5404" y="5151"/>
                  </a:lnTo>
                  <a:lnTo>
                    <a:pt x="5482" y="5120"/>
                  </a:lnTo>
                  <a:lnTo>
                    <a:pt x="5525" y="5117"/>
                  </a:lnTo>
                  <a:lnTo>
                    <a:pt x="5590" y="5190"/>
                  </a:lnTo>
                  <a:lnTo>
                    <a:pt x="5605" y="5233"/>
                  </a:lnTo>
                  <a:lnTo>
                    <a:pt x="5646" y="5243"/>
                  </a:lnTo>
                  <a:lnTo>
                    <a:pt x="5702" y="5328"/>
                  </a:lnTo>
                  <a:lnTo>
                    <a:pt x="5785" y="5338"/>
                  </a:lnTo>
                  <a:lnTo>
                    <a:pt x="5806" y="5314"/>
                  </a:lnTo>
                  <a:lnTo>
                    <a:pt x="5834" y="5301"/>
                  </a:lnTo>
                  <a:lnTo>
                    <a:pt x="5830" y="5323"/>
                  </a:lnTo>
                  <a:lnTo>
                    <a:pt x="5850" y="5346"/>
                  </a:lnTo>
                  <a:lnTo>
                    <a:pt x="5863" y="5379"/>
                  </a:lnTo>
                  <a:lnTo>
                    <a:pt x="5888" y="5379"/>
                  </a:lnTo>
                  <a:lnTo>
                    <a:pt x="5891" y="5388"/>
                  </a:lnTo>
                  <a:lnTo>
                    <a:pt x="5927" y="5388"/>
                  </a:lnTo>
                  <a:lnTo>
                    <a:pt x="5945" y="5379"/>
                  </a:lnTo>
                  <a:lnTo>
                    <a:pt x="5980" y="5351"/>
                  </a:lnTo>
                  <a:lnTo>
                    <a:pt x="6005" y="5337"/>
                  </a:lnTo>
                  <a:lnTo>
                    <a:pt x="6067" y="5331"/>
                  </a:lnTo>
                  <a:lnTo>
                    <a:pt x="6095" y="5321"/>
                  </a:lnTo>
                  <a:lnTo>
                    <a:pt x="6125" y="5294"/>
                  </a:lnTo>
                  <a:lnTo>
                    <a:pt x="6127" y="5294"/>
                  </a:lnTo>
                  <a:lnTo>
                    <a:pt x="6170" y="5247"/>
                  </a:lnTo>
                  <a:lnTo>
                    <a:pt x="6203" y="5219"/>
                  </a:lnTo>
                  <a:lnTo>
                    <a:pt x="6321" y="5162"/>
                  </a:lnTo>
                  <a:lnTo>
                    <a:pt x="6358" y="5150"/>
                  </a:lnTo>
                  <a:lnTo>
                    <a:pt x="6559" y="5181"/>
                  </a:lnTo>
                  <a:lnTo>
                    <a:pt x="6607" y="5261"/>
                  </a:lnTo>
                  <a:lnTo>
                    <a:pt x="6639" y="5270"/>
                  </a:lnTo>
                  <a:lnTo>
                    <a:pt x="6702" y="5270"/>
                  </a:lnTo>
                  <a:lnTo>
                    <a:pt x="6734" y="5275"/>
                  </a:lnTo>
                  <a:lnTo>
                    <a:pt x="6811" y="5279"/>
                  </a:lnTo>
                  <a:lnTo>
                    <a:pt x="6824" y="5287"/>
                  </a:lnTo>
                  <a:lnTo>
                    <a:pt x="6849" y="5300"/>
                  </a:lnTo>
                  <a:lnTo>
                    <a:pt x="6874" y="5298"/>
                  </a:lnTo>
                  <a:lnTo>
                    <a:pt x="6909" y="5279"/>
                  </a:lnTo>
                  <a:lnTo>
                    <a:pt x="6922" y="5268"/>
                  </a:lnTo>
                  <a:lnTo>
                    <a:pt x="6954" y="5229"/>
                  </a:lnTo>
                  <a:lnTo>
                    <a:pt x="6962" y="5192"/>
                  </a:lnTo>
                  <a:lnTo>
                    <a:pt x="6955" y="5178"/>
                  </a:lnTo>
                  <a:lnTo>
                    <a:pt x="6939" y="5157"/>
                  </a:lnTo>
                  <a:lnTo>
                    <a:pt x="6921" y="5098"/>
                  </a:lnTo>
                  <a:lnTo>
                    <a:pt x="6925" y="5076"/>
                  </a:lnTo>
                  <a:lnTo>
                    <a:pt x="7021" y="4951"/>
                  </a:lnTo>
                  <a:lnTo>
                    <a:pt x="7058" y="4965"/>
                  </a:lnTo>
                  <a:lnTo>
                    <a:pt x="7103" y="4972"/>
                  </a:lnTo>
                  <a:lnTo>
                    <a:pt x="7227" y="5008"/>
                  </a:lnTo>
                  <a:lnTo>
                    <a:pt x="7301" y="5046"/>
                  </a:lnTo>
                  <a:lnTo>
                    <a:pt x="7335" y="5055"/>
                  </a:lnTo>
                  <a:lnTo>
                    <a:pt x="7341" y="5069"/>
                  </a:lnTo>
                  <a:lnTo>
                    <a:pt x="7341" y="5108"/>
                  </a:lnTo>
                  <a:lnTo>
                    <a:pt x="7350" y="5143"/>
                  </a:lnTo>
                  <a:lnTo>
                    <a:pt x="7368" y="5173"/>
                  </a:lnTo>
                  <a:lnTo>
                    <a:pt x="7385" y="5196"/>
                  </a:lnTo>
                  <a:lnTo>
                    <a:pt x="7458" y="5233"/>
                  </a:lnTo>
                  <a:lnTo>
                    <a:pt x="7487" y="5240"/>
                  </a:lnTo>
                  <a:lnTo>
                    <a:pt x="7597" y="5203"/>
                  </a:lnTo>
                  <a:lnTo>
                    <a:pt x="7633" y="5197"/>
                  </a:lnTo>
                  <a:lnTo>
                    <a:pt x="7747" y="5203"/>
                  </a:lnTo>
                  <a:lnTo>
                    <a:pt x="7781" y="5219"/>
                  </a:lnTo>
                  <a:lnTo>
                    <a:pt x="7867" y="5293"/>
                  </a:lnTo>
                  <a:lnTo>
                    <a:pt x="7917" y="5314"/>
                  </a:lnTo>
                  <a:lnTo>
                    <a:pt x="7953" y="5338"/>
                  </a:lnTo>
                  <a:lnTo>
                    <a:pt x="8051" y="5372"/>
                  </a:lnTo>
                  <a:lnTo>
                    <a:pt x="8127" y="5381"/>
                  </a:lnTo>
                  <a:lnTo>
                    <a:pt x="8355" y="5347"/>
                  </a:lnTo>
                  <a:lnTo>
                    <a:pt x="8379" y="5337"/>
                  </a:lnTo>
                  <a:lnTo>
                    <a:pt x="8406" y="5319"/>
                  </a:lnTo>
                  <a:lnTo>
                    <a:pt x="8424" y="5291"/>
                  </a:lnTo>
                  <a:lnTo>
                    <a:pt x="8457" y="5257"/>
                  </a:lnTo>
                  <a:lnTo>
                    <a:pt x="8509" y="5224"/>
                  </a:lnTo>
                  <a:lnTo>
                    <a:pt x="8524" y="5224"/>
                  </a:lnTo>
                  <a:lnTo>
                    <a:pt x="8550" y="5220"/>
                  </a:lnTo>
                  <a:lnTo>
                    <a:pt x="8583" y="5231"/>
                  </a:lnTo>
                  <a:lnTo>
                    <a:pt x="8618" y="5266"/>
                  </a:lnTo>
                  <a:lnTo>
                    <a:pt x="8632" y="5275"/>
                  </a:lnTo>
                  <a:lnTo>
                    <a:pt x="8669" y="5287"/>
                  </a:lnTo>
                  <a:lnTo>
                    <a:pt x="8725" y="5266"/>
                  </a:lnTo>
                  <a:lnTo>
                    <a:pt x="8751" y="5264"/>
                  </a:lnTo>
                  <a:lnTo>
                    <a:pt x="8792" y="5289"/>
                  </a:lnTo>
                  <a:lnTo>
                    <a:pt x="8843" y="5328"/>
                  </a:lnTo>
                  <a:lnTo>
                    <a:pt x="8857" y="5328"/>
                  </a:lnTo>
                  <a:lnTo>
                    <a:pt x="8877" y="5321"/>
                  </a:lnTo>
                  <a:lnTo>
                    <a:pt x="8983" y="5270"/>
                  </a:lnTo>
                  <a:lnTo>
                    <a:pt x="9019" y="5247"/>
                  </a:lnTo>
                  <a:lnTo>
                    <a:pt x="9024" y="5231"/>
                  </a:lnTo>
                  <a:lnTo>
                    <a:pt x="9022" y="5210"/>
                  </a:lnTo>
                  <a:lnTo>
                    <a:pt x="9006" y="5185"/>
                  </a:lnTo>
                  <a:lnTo>
                    <a:pt x="9003" y="5176"/>
                  </a:lnTo>
                  <a:lnTo>
                    <a:pt x="9007" y="5159"/>
                  </a:lnTo>
                  <a:lnTo>
                    <a:pt x="9027" y="5128"/>
                  </a:lnTo>
                  <a:lnTo>
                    <a:pt x="9074" y="5036"/>
                  </a:lnTo>
                  <a:lnTo>
                    <a:pt x="9101" y="4999"/>
                  </a:lnTo>
                  <a:lnTo>
                    <a:pt x="9162" y="4955"/>
                  </a:lnTo>
                  <a:lnTo>
                    <a:pt x="9168" y="4900"/>
                  </a:lnTo>
                  <a:lnTo>
                    <a:pt x="9164" y="4882"/>
                  </a:lnTo>
                  <a:lnTo>
                    <a:pt x="9143" y="4859"/>
                  </a:lnTo>
                  <a:lnTo>
                    <a:pt x="9118" y="4858"/>
                  </a:lnTo>
                  <a:lnTo>
                    <a:pt x="9082" y="4863"/>
                  </a:lnTo>
                  <a:lnTo>
                    <a:pt x="9087" y="4845"/>
                  </a:lnTo>
                  <a:lnTo>
                    <a:pt x="9156" y="4769"/>
                  </a:lnTo>
                  <a:lnTo>
                    <a:pt x="9204" y="4748"/>
                  </a:lnTo>
                  <a:lnTo>
                    <a:pt x="9417" y="4718"/>
                  </a:lnTo>
                  <a:lnTo>
                    <a:pt x="9467" y="4734"/>
                  </a:lnTo>
                  <a:lnTo>
                    <a:pt x="9511" y="4768"/>
                  </a:lnTo>
                  <a:lnTo>
                    <a:pt x="9543" y="4782"/>
                  </a:lnTo>
                  <a:lnTo>
                    <a:pt x="9604" y="4773"/>
                  </a:lnTo>
                  <a:lnTo>
                    <a:pt x="9627" y="4775"/>
                  </a:lnTo>
                  <a:lnTo>
                    <a:pt x="9661" y="4808"/>
                  </a:lnTo>
                  <a:lnTo>
                    <a:pt x="9694" y="4875"/>
                  </a:lnTo>
                  <a:lnTo>
                    <a:pt x="9825" y="5286"/>
                  </a:lnTo>
                  <a:lnTo>
                    <a:pt x="9843" y="5312"/>
                  </a:lnTo>
                  <a:lnTo>
                    <a:pt x="9920" y="5349"/>
                  </a:lnTo>
                  <a:lnTo>
                    <a:pt x="9987" y="5365"/>
                  </a:lnTo>
                  <a:lnTo>
                    <a:pt x="10104" y="5423"/>
                  </a:lnTo>
                  <a:lnTo>
                    <a:pt x="10113" y="5432"/>
                  </a:lnTo>
                  <a:lnTo>
                    <a:pt x="10146" y="5577"/>
                  </a:lnTo>
                  <a:lnTo>
                    <a:pt x="10157" y="5607"/>
                  </a:lnTo>
                  <a:lnTo>
                    <a:pt x="10289" y="5600"/>
                  </a:lnTo>
                  <a:lnTo>
                    <a:pt x="10358" y="5564"/>
                  </a:lnTo>
                  <a:lnTo>
                    <a:pt x="10471" y="5529"/>
                  </a:lnTo>
                  <a:lnTo>
                    <a:pt x="10510" y="5527"/>
                  </a:lnTo>
                  <a:lnTo>
                    <a:pt x="10521" y="5536"/>
                  </a:lnTo>
                  <a:lnTo>
                    <a:pt x="10529" y="5578"/>
                  </a:lnTo>
                  <a:lnTo>
                    <a:pt x="10530" y="5612"/>
                  </a:lnTo>
                  <a:lnTo>
                    <a:pt x="10505" y="5640"/>
                  </a:lnTo>
                  <a:lnTo>
                    <a:pt x="10475" y="5665"/>
                  </a:lnTo>
                  <a:lnTo>
                    <a:pt x="10450" y="5773"/>
                  </a:lnTo>
                  <a:lnTo>
                    <a:pt x="10399" y="5913"/>
                  </a:lnTo>
                  <a:lnTo>
                    <a:pt x="10361" y="5987"/>
                  </a:lnTo>
                  <a:lnTo>
                    <a:pt x="10340" y="6010"/>
                  </a:lnTo>
                  <a:lnTo>
                    <a:pt x="10315" y="6003"/>
                  </a:lnTo>
                  <a:lnTo>
                    <a:pt x="10255" y="5973"/>
                  </a:lnTo>
                  <a:lnTo>
                    <a:pt x="10238" y="5969"/>
                  </a:lnTo>
                  <a:lnTo>
                    <a:pt x="10164" y="6035"/>
                  </a:lnTo>
                  <a:lnTo>
                    <a:pt x="10162" y="6070"/>
                  </a:lnTo>
                  <a:lnTo>
                    <a:pt x="10177" y="6128"/>
                  </a:lnTo>
                  <a:lnTo>
                    <a:pt x="10180" y="6209"/>
                  </a:lnTo>
                  <a:lnTo>
                    <a:pt x="10178" y="6234"/>
                  </a:lnTo>
                  <a:lnTo>
                    <a:pt x="10174" y="6243"/>
                  </a:lnTo>
                  <a:lnTo>
                    <a:pt x="10178" y="6260"/>
                  </a:lnTo>
                  <a:lnTo>
                    <a:pt x="10173" y="6282"/>
                  </a:lnTo>
                  <a:lnTo>
                    <a:pt x="10149" y="6310"/>
                  </a:lnTo>
                  <a:lnTo>
                    <a:pt x="10094" y="6338"/>
                  </a:lnTo>
                  <a:lnTo>
                    <a:pt x="10089" y="6343"/>
                  </a:lnTo>
                  <a:lnTo>
                    <a:pt x="10103" y="6370"/>
                  </a:lnTo>
                  <a:lnTo>
                    <a:pt x="10111" y="6395"/>
                  </a:lnTo>
                  <a:lnTo>
                    <a:pt x="10113" y="6393"/>
                  </a:lnTo>
                  <a:lnTo>
                    <a:pt x="10223" y="6264"/>
                  </a:lnTo>
                  <a:lnTo>
                    <a:pt x="10250" y="6252"/>
                  </a:lnTo>
                  <a:lnTo>
                    <a:pt x="10231" y="6290"/>
                  </a:lnTo>
                  <a:lnTo>
                    <a:pt x="10251" y="6283"/>
                  </a:lnTo>
                  <a:lnTo>
                    <a:pt x="10280" y="6266"/>
                  </a:lnTo>
                  <a:lnTo>
                    <a:pt x="10296" y="6299"/>
                  </a:lnTo>
                  <a:lnTo>
                    <a:pt x="10310" y="6310"/>
                  </a:lnTo>
                  <a:lnTo>
                    <a:pt x="10322" y="6308"/>
                  </a:lnTo>
                  <a:lnTo>
                    <a:pt x="10345" y="6313"/>
                  </a:lnTo>
                  <a:lnTo>
                    <a:pt x="10357" y="6340"/>
                  </a:lnTo>
                  <a:lnTo>
                    <a:pt x="10473" y="6294"/>
                  </a:lnTo>
                  <a:lnTo>
                    <a:pt x="10514" y="6264"/>
                  </a:lnTo>
                  <a:lnTo>
                    <a:pt x="10554" y="6220"/>
                  </a:lnTo>
                  <a:lnTo>
                    <a:pt x="10598" y="6146"/>
                  </a:lnTo>
                  <a:lnTo>
                    <a:pt x="10624" y="6119"/>
                  </a:lnTo>
                  <a:lnTo>
                    <a:pt x="10659" y="6095"/>
                  </a:lnTo>
                  <a:lnTo>
                    <a:pt x="10673" y="6073"/>
                  </a:lnTo>
                  <a:lnTo>
                    <a:pt x="10684" y="6043"/>
                  </a:lnTo>
                  <a:lnTo>
                    <a:pt x="10704" y="6012"/>
                  </a:lnTo>
                  <a:lnTo>
                    <a:pt x="10824" y="5864"/>
                  </a:lnTo>
                  <a:lnTo>
                    <a:pt x="10850" y="5822"/>
                  </a:lnTo>
                  <a:lnTo>
                    <a:pt x="10885" y="5734"/>
                  </a:lnTo>
                  <a:lnTo>
                    <a:pt x="10945" y="5668"/>
                  </a:lnTo>
                  <a:lnTo>
                    <a:pt x="10954" y="5624"/>
                  </a:lnTo>
                  <a:lnTo>
                    <a:pt x="10970" y="5594"/>
                  </a:lnTo>
                  <a:lnTo>
                    <a:pt x="11056" y="5492"/>
                  </a:lnTo>
                  <a:lnTo>
                    <a:pt x="11093" y="5250"/>
                  </a:lnTo>
                  <a:lnTo>
                    <a:pt x="11081" y="5201"/>
                  </a:lnTo>
                  <a:lnTo>
                    <a:pt x="11080" y="5187"/>
                  </a:lnTo>
                  <a:lnTo>
                    <a:pt x="11087" y="5139"/>
                  </a:lnTo>
                  <a:lnTo>
                    <a:pt x="11119" y="5043"/>
                  </a:lnTo>
                  <a:lnTo>
                    <a:pt x="11159" y="4976"/>
                  </a:lnTo>
                  <a:lnTo>
                    <a:pt x="11170" y="4941"/>
                  </a:lnTo>
                  <a:lnTo>
                    <a:pt x="11162" y="4923"/>
                  </a:lnTo>
                  <a:lnTo>
                    <a:pt x="11139" y="4916"/>
                  </a:lnTo>
                  <a:lnTo>
                    <a:pt x="11154" y="4865"/>
                  </a:lnTo>
                  <a:lnTo>
                    <a:pt x="11150" y="4842"/>
                  </a:lnTo>
                  <a:lnTo>
                    <a:pt x="11129" y="4828"/>
                  </a:lnTo>
                  <a:lnTo>
                    <a:pt x="11154" y="4801"/>
                  </a:lnTo>
                  <a:lnTo>
                    <a:pt x="11156" y="4791"/>
                  </a:lnTo>
                  <a:lnTo>
                    <a:pt x="11135" y="4768"/>
                  </a:lnTo>
                  <a:lnTo>
                    <a:pt x="11117" y="4755"/>
                  </a:lnTo>
                  <a:lnTo>
                    <a:pt x="11080" y="4715"/>
                  </a:lnTo>
                  <a:lnTo>
                    <a:pt x="11057" y="4672"/>
                  </a:lnTo>
                  <a:lnTo>
                    <a:pt x="11028" y="4646"/>
                  </a:lnTo>
                  <a:lnTo>
                    <a:pt x="10987" y="4626"/>
                  </a:lnTo>
                  <a:lnTo>
                    <a:pt x="10893" y="4625"/>
                  </a:lnTo>
                  <a:lnTo>
                    <a:pt x="10892" y="4671"/>
                  </a:lnTo>
                  <a:lnTo>
                    <a:pt x="10876" y="4709"/>
                  </a:lnTo>
                  <a:lnTo>
                    <a:pt x="10850" y="4725"/>
                  </a:lnTo>
                  <a:lnTo>
                    <a:pt x="10778" y="4727"/>
                  </a:lnTo>
                  <a:lnTo>
                    <a:pt x="10761" y="4722"/>
                  </a:lnTo>
                  <a:lnTo>
                    <a:pt x="10766" y="4706"/>
                  </a:lnTo>
                  <a:lnTo>
                    <a:pt x="10784" y="4681"/>
                  </a:lnTo>
                  <a:lnTo>
                    <a:pt x="10791" y="4671"/>
                  </a:lnTo>
                  <a:lnTo>
                    <a:pt x="10758" y="4662"/>
                  </a:lnTo>
                  <a:lnTo>
                    <a:pt x="10731" y="4688"/>
                  </a:lnTo>
                  <a:lnTo>
                    <a:pt x="10704" y="4695"/>
                  </a:lnTo>
                  <a:lnTo>
                    <a:pt x="10690" y="4688"/>
                  </a:lnTo>
                  <a:lnTo>
                    <a:pt x="10688" y="4658"/>
                  </a:lnTo>
                  <a:lnTo>
                    <a:pt x="10704" y="4566"/>
                  </a:lnTo>
                  <a:lnTo>
                    <a:pt x="10675" y="4565"/>
                  </a:lnTo>
                  <a:lnTo>
                    <a:pt x="10629" y="4575"/>
                  </a:lnTo>
                  <a:lnTo>
                    <a:pt x="10587" y="4574"/>
                  </a:lnTo>
                  <a:lnTo>
                    <a:pt x="10567" y="4570"/>
                  </a:lnTo>
                  <a:lnTo>
                    <a:pt x="10547" y="4551"/>
                  </a:lnTo>
                  <a:lnTo>
                    <a:pt x="10547" y="4524"/>
                  </a:lnTo>
                  <a:lnTo>
                    <a:pt x="10557" y="4503"/>
                  </a:lnTo>
                  <a:lnTo>
                    <a:pt x="10583" y="4475"/>
                  </a:lnTo>
                  <a:lnTo>
                    <a:pt x="10706" y="4382"/>
                  </a:lnTo>
                  <a:lnTo>
                    <a:pt x="10935" y="4128"/>
                  </a:lnTo>
                  <a:lnTo>
                    <a:pt x="11050" y="4041"/>
                  </a:lnTo>
                  <a:lnTo>
                    <a:pt x="11096" y="3951"/>
                  </a:lnTo>
                  <a:lnTo>
                    <a:pt x="11105" y="3941"/>
                  </a:lnTo>
                  <a:lnTo>
                    <a:pt x="11180" y="3895"/>
                  </a:lnTo>
                  <a:lnTo>
                    <a:pt x="11204" y="3858"/>
                  </a:lnTo>
                  <a:lnTo>
                    <a:pt x="11237" y="3821"/>
                  </a:lnTo>
                  <a:lnTo>
                    <a:pt x="11278" y="3786"/>
                  </a:lnTo>
                  <a:lnTo>
                    <a:pt x="11327" y="3763"/>
                  </a:lnTo>
                  <a:lnTo>
                    <a:pt x="11372" y="3764"/>
                  </a:lnTo>
                  <a:lnTo>
                    <a:pt x="11478" y="3757"/>
                  </a:lnTo>
                  <a:lnTo>
                    <a:pt x="11523" y="3761"/>
                  </a:lnTo>
                  <a:lnTo>
                    <a:pt x="11577" y="3754"/>
                  </a:lnTo>
                  <a:lnTo>
                    <a:pt x="11587" y="3775"/>
                  </a:lnTo>
                  <a:lnTo>
                    <a:pt x="11588" y="3803"/>
                  </a:lnTo>
                  <a:lnTo>
                    <a:pt x="11601" y="3814"/>
                  </a:lnTo>
                  <a:lnTo>
                    <a:pt x="11631" y="3814"/>
                  </a:lnTo>
                  <a:lnTo>
                    <a:pt x="11638" y="3777"/>
                  </a:lnTo>
                  <a:lnTo>
                    <a:pt x="11642" y="3768"/>
                  </a:lnTo>
                  <a:lnTo>
                    <a:pt x="11667" y="3761"/>
                  </a:lnTo>
                  <a:lnTo>
                    <a:pt x="11733" y="3777"/>
                  </a:lnTo>
                  <a:lnTo>
                    <a:pt x="11769" y="3770"/>
                  </a:lnTo>
                  <a:lnTo>
                    <a:pt x="11824" y="3766"/>
                  </a:lnTo>
                  <a:lnTo>
                    <a:pt x="11873" y="3794"/>
                  </a:lnTo>
                  <a:lnTo>
                    <a:pt x="11894" y="3777"/>
                  </a:lnTo>
                  <a:lnTo>
                    <a:pt x="11905" y="3759"/>
                  </a:lnTo>
                  <a:lnTo>
                    <a:pt x="11904" y="3729"/>
                  </a:lnTo>
                  <a:lnTo>
                    <a:pt x="11935" y="3709"/>
                  </a:lnTo>
                  <a:lnTo>
                    <a:pt x="11968" y="3705"/>
                  </a:lnTo>
                  <a:lnTo>
                    <a:pt x="12002" y="3707"/>
                  </a:lnTo>
                  <a:lnTo>
                    <a:pt x="12040" y="3743"/>
                  </a:lnTo>
                  <a:lnTo>
                    <a:pt x="12055" y="3749"/>
                  </a:lnTo>
                  <a:lnTo>
                    <a:pt x="12094" y="3736"/>
                  </a:lnTo>
                  <a:lnTo>
                    <a:pt x="12140" y="3734"/>
                  </a:lnTo>
                  <a:lnTo>
                    <a:pt x="12178" y="3750"/>
                  </a:lnTo>
                  <a:lnTo>
                    <a:pt x="12211" y="3802"/>
                  </a:lnTo>
                  <a:lnTo>
                    <a:pt x="12203" y="3805"/>
                  </a:lnTo>
                  <a:lnTo>
                    <a:pt x="12132" y="3823"/>
                  </a:lnTo>
                  <a:lnTo>
                    <a:pt x="12126" y="3846"/>
                  </a:lnTo>
                  <a:lnTo>
                    <a:pt x="12140" y="3856"/>
                  </a:lnTo>
                  <a:lnTo>
                    <a:pt x="12161" y="3863"/>
                  </a:lnTo>
                  <a:lnTo>
                    <a:pt x="12194" y="3853"/>
                  </a:lnTo>
                  <a:lnTo>
                    <a:pt x="12243" y="3823"/>
                  </a:lnTo>
                  <a:lnTo>
                    <a:pt x="12273" y="3851"/>
                  </a:lnTo>
                  <a:lnTo>
                    <a:pt x="12305" y="3819"/>
                  </a:lnTo>
                  <a:lnTo>
                    <a:pt x="12319" y="3810"/>
                  </a:lnTo>
                  <a:lnTo>
                    <a:pt x="12336" y="3809"/>
                  </a:lnTo>
                  <a:lnTo>
                    <a:pt x="12366" y="3819"/>
                  </a:lnTo>
                  <a:lnTo>
                    <a:pt x="12412" y="3824"/>
                  </a:lnTo>
                  <a:lnTo>
                    <a:pt x="12459" y="3803"/>
                  </a:lnTo>
                  <a:lnTo>
                    <a:pt x="12509" y="3793"/>
                  </a:lnTo>
                  <a:lnTo>
                    <a:pt x="12506" y="3784"/>
                  </a:lnTo>
                  <a:lnTo>
                    <a:pt x="12494" y="3763"/>
                  </a:lnTo>
                  <a:lnTo>
                    <a:pt x="12438" y="3759"/>
                  </a:lnTo>
                  <a:lnTo>
                    <a:pt x="12415" y="3742"/>
                  </a:lnTo>
                  <a:lnTo>
                    <a:pt x="12415" y="3711"/>
                  </a:lnTo>
                  <a:lnTo>
                    <a:pt x="12428" y="3675"/>
                  </a:lnTo>
                  <a:lnTo>
                    <a:pt x="12451" y="3640"/>
                  </a:lnTo>
                  <a:lnTo>
                    <a:pt x="12488" y="3601"/>
                  </a:lnTo>
                  <a:lnTo>
                    <a:pt x="12533" y="3568"/>
                  </a:lnTo>
                  <a:lnTo>
                    <a:pt x="12590" y="3539"/>
                  </a:lnTo>
                  <a:lnTo>
                    <a:pt x="12584" y="3501"/>
                  </a:lnTo>
                  <a:lnTo>
                    <a:pt x="12602" y="3481"/>
                  </a:lnTo>
                  <a:lnTo>
                    <a:pt x="12657" y="3439"/>
                  </a:lnTo>
                  <a:lnTo>
                    <a:pt x="12655" y="3425"/>
                  </a:lnTo>
                  <a:lnTo>
                    <a:pt x="12659" y="3389"/>
                  </a:lnTo>
                  <a:lnTo>
                    <a:pt x="12697" y="3359"/>
                  </a:lnTo>
                  <a:lnTo>
                    <a:pt x="12724" y="3347"/>
                  </a:lnTo>
                  <a:lnTo>
                    <a:pt x="12896" y="3321"/>
                  </a:lnTo>
                  <a:lnTo>
                    <a:pt x="12921" y="3335"/>
                  </a:lnTo>
                  <a:lnTo>
                    <a:pt x="12933" y="3363"/>
                  </a:lnTo>
                  <a:lnTo>
                    <a:pt x="12955" y="3361"/>
                  </a:lnTo>
                  <a:lnTo>
                    <a:pt x="13005" y="3324"/>
                  </a:lnTo>
                  <a:lnTo>
                    <a:pt x="13020" y="3326"/>
                  </a:lnTo>
                  <a:lnTo>
                    <a:pt x="13023" y="3344"/>
                  </a:lnTo>
                  <a:lnTo>
                    <a:pt x="13015" y="3370"/>
                  </a:lnTo>
                  <a:lnTo>
                    <a:pt x="12995" y="3407"/>
                  </a:lnTo>
                  <a:lnTo>
                    <a:pt x="12983" y="3442"/>
                  </a:lnTo>
                  <a:lnTo>
                    <a:pt x="12991" y="3464"/>
                  </a:lnTo>
                  <a:lnTo>
                    <a:pt x="13032" y="3471"/>
                  </a:lnTo>
                  <a:lnTo>
                    <a:pt x="13016" y="3508"/>
                  </a:lnTo>
                  <a:lnTo>
                    <a:pt x="13010" y="3532"/>
                  </a:lnTo>
                  <a:lnTo>
                    <a:pt x="13020" y="3538"/>
                  </a:lnTo>
                  <a:lnTo>
                    <a:pt x="13072" y="3511"/>
                  </a:lnTo>
                  <a:lnTo>
                    <a:pt x="13228" y="3370"/>
                  </a:lnTo>
                  <a:lnTo>
                    <a:pt x="13278" y="3352"/>
                  </a:lnTo>
                  <a:lnTo>
                    <a:pt x="13279" y="3340"/>
                  </a:lnTo>
                  <a:lnTo>
                    <a:pt x="13274" y="3324"/>
                  </a:lnTo>
                  <a:lnTo>
                    <a:pt x="13303" y="3250"/>
                  </a:lnTo>
                  <a:lnTo>
                    <a:pt x="13302" y="3224"/>
                  </a:lnTo>
                  <a:lnTo>
                    <a:pt x="13336" y="3208"/>
                  </a:lnTo>
                  <a:lnTo>
                    <a:pt x="13414" y="3185"/>
                  </a:lnTo>
                  <a:lnTo>
                    <a:pt x="13505" y="3202"/>
                  </a:lnTo>
                  <a:lnTo>
                    <a:pt x="13527" y="3231"/>
                  </a:lnTo>
                  <a:lnTo>
                    <a:pt x="13428" y="3241"/>
                  </a:lnTo>
                  <a:lnTo>
                    <a:pt x="13401" y="3259"/>
                  </a:lnTo>
                  <a:lnTo>
                    <a:pt x="13393" y="3291"/>
                  </a:lnTo>
                  <a:lnTo>
                    <a:pt x="13396" y="3329"/>
                  </a:lnTo>
                  <a:lnTo>
                    <a:pt x="13360" y="3402"/>
                  </a:lnTo>
                  <a:lnTo>
                    <a:pt x="13385" y="3419"/>
                  </a:lnTo>
                  <a:lnTo>
                    <a:pt x="13380" y="3437"/>
                  </a:lnTo>
                  <a:lnTo>
                    <a:pt x="13347" y="3479"/>
                  </a:lnTo>
                  <a:lnTo>
                    <a:pt x="13335" y="3515"/>
                  </a:lnTo>
                  <a:lnTo>
                    <a:pt x="13242" y="3555"/>
                  </a:lnTo>
                  <a:lnTo>
                    <a:pt x="13187" y="3589"/>
                  </a:lnTo>
                  <a:lnTo>
                    <a:pt x="13176" y="3624"/>
                  </a:lnTo>
                  <a:lnTo>
                    <a:pt x="13159" y="3647"/>
                  </a:lnTo>
                  <a:lnTo>
                    <a:pt x="12974" y="3819"/>
                  </a:lnTo>
                  <a:lnTo>
                    <a:pt x="12968" y="3844"/>
                  </a:lnTo>
                  <a:lnTo>
                    <a:pt x="12949" y="3877"/>
                  </a:lnTo>
                  <a:lnTo>
                    <a:pt x="12921" y="3909"/>
                  </a:lnTo>
                  <a:lnTo>
                    <a:pt x="12844" y="3976"/>
                  </a:lnTo>
                  <a:lnTo>
                    <a:pt x="12766" y="4024"/>
                  </a:lnTo>
                  <a:lnTo>
                    <a:pt x="12693" y="4052"/>
                  </a:lnTo>
                  <a:lnTo>
                    <a:pt x="12698" y="4064"/>
                  </a:lnTo>
                  <a:lnTo>
                    <a:pt x="12702" y="4089"/>
                  </a:lnTo>
                  <a:lnTo>
                    <a:pt x="12671" y="4158"/>
                  </a:lnTo>
                  <a:lnTo>
                    <a:pt x="12587" y="4253"/>
                  </a:lnTo>
                  <a:lnTo>
                    <a:pt x="12580" y="4271"/>
                  </a:lnTo>
                  <a:lnTo>
                    <a:pt x="12562" y="4434"/>
                  </a:lnTo>
                  <a:lnTo>
                    <a:pt x="12563" y="4492"/>
                  </a:lnTo>
                  <a:lnTo>
                    <a:pt x="12575" y="4552"/>
                  </a:lnTo>
                  <a:lnTo>
                    <a:pt x="12580" y="4565"/>
                  </a:lnTo>
                  <a:lnTo>
                    <a:pt x="12582" y="4589"/>
                  </a:lnTo>
                  <a:lnTo>
                    <a:pt x="12587" y="4630"/>
                  </a:lnTo>
                  <a:lnTo>
                    <a:pt x="12587" y="4671"/>
                  </a:lnTo>
                  <a:lnTo>
                    <a:pt x="12611" y="4769"/>
                  </a:lnTo>
                  <a:lnTo>
                    <a:pt x="12620" y="4835"/>
                  </a:lnTo>
                  <a:lnTo>
                    <a:pt x="12633" y="4861"/>
                  </a:lnTo>
                  <a:lnTo>
                    <a:pt x="12649" y="4914"/>
                  </a:lnTo>
                  <a:lnTo>
                    <a:pt x="12652" y="4971"/>
                  </a:lnTo>
                  <a:lnTo>
                    <a:pt x="12672" y="5075"/>
                  </a:lnTo>
                  <a:lnTo>
                    <a:pt x="12685" y="5119"/>
                  </a:lnTo>
                  <a:lnTo>
                    <a:pt x="12697" y="5112"/>
                  </a:lnTo>
                  <a:lnTo>
                    <a:pt x="12803" y="5008"/>
                  </a:lnTo>
                  <a:lnTo>
                    <a:pt x="12837" y="4953"/>
                  </a:lnTo>
                  <a:lnTo>
                    <a:pt x="12852" y="4925"/>
                  </a:lnTo>
                  <a:lnTo>
                    <a:pt x="12857" y="4865"/>
                  </a:lnTo>
                  <a:lnTo>
                    <a:pt x="12854" y="4845"/>
                  </a:lnTo>
                  <a:lnTo>
                    <a:pt x="12857" y="4828"/>
                  </a:lnTo>
                  <a:lnTo>
                    <a:pt x="12942" y="4780"/>
                  </a:lnTo>
                  <a:lnTo>
                    <a:pt x="12968" y="4778"/>
                  </a:lnTo>
                  <a:lnTo>
                    <a:pt x="12998" y="4761"/>
                  </a:lnTo>
                  <a:lnTo>
                    <a:pt x="13001" y="4752"/>
                  </a:lnTo>
                  <a:lnTo>
                    <a:pt x="13000" y="4736"/>
                  </a:lnTo>
                  <a:lnTo>
                    <a:pt x="12978" y="4708"/>
                  </a:lnTo>
                  <a:lnTo>
                    <a:pt x="12972" y="4686"/>
                  </a:lnTo>
                  <a:lnTo>
                    <a:pt x="12979" y="4664"/>
                  </a:lnTo>
                  <a:lnTo>
                    <a:pt x="13003" y="4626"/>
                  </a:lnTo>
                  <a:lnTo>
                    <a:pt x="13011" y="4616"/>
                  </a:lnTo>
                  <a:lnTo>
                    <a:pt x="13048" y="4581"/>
                  </a:lnTo>
                  <a:lnTo>
                    <a:pt x="13075" y="4568"/>
                  </a:lnTo>
                  <a:lnTo>
                    <a:pt x="13091" y="4568"/>
                  </a:lnTo>
                  <a:lnTo>
                    <a:pt x="13119" y="4575"/>
                  </a:lnTo>
                  <a:lnTo>
                    <a:pt x="13163" y="4572"/>
                  </a:lnTo>
                  <a:lnTo>
                    <a:pt x="13192" y="4549"/>
                  </a:lnTo>
                  <a:lnTo>
                    <a:pt x="13205" y="4521"/>
                  </a:lnTo>
                  <a:lnTo>
                    <a:pt x="13199" y="4505"/>
                  </a:lnTo>
                  <a:lnTo>
                    <a:pt x="13170" y="4482"/>
                  </a:lnTo>
                  <a:lnTo>
                    <a:pt x="13156" y="4431"/>
                  </a:lnTo>
                  <a:lnTo>
                    <a:pt x="13167" y="4387"/>
                  </a:lnTo>
                  <a:lnTo>
                    <a:pt x="13191" y="4338"/>
                  </a:lnTo>
                  <a:lnTo>
                    <a:pt x="13236" y="4274"/>
                  </a:lnTo>
                  <a:lnTo>
                    <a:pt x="13256" y="4257"/>
                  </a:lnTo>
                  <a:lnTo>
                    <a:pt x="13275" y="4258"/>
                  </a:lnTo>
                  <a:lnTo>
                    <a:pt x="13258" y="4297"/>
                  </a:lnTo>
                  <a:lnTo>
                    <a:pt x="13258" y="4313"/>
                  </a:lnTo>
                  <a:lnTo>
                    <a:pt x="13279" y="4329"/>
                  </a:lnTo>
                  <a:lnTo>
                    <a:pt x="13303" y="4324"/>
                  </a:lnTo>
                  <a:lnTo>
                    <a:pt x="13319" y="4297"/>
                  </a:lnTo>
                  <a:lnTo>
                    <a:pt x="13319" y="4251"/>
                  </a:lnTo>
                  <a:lnTo>
                    <a:pt x="13312" y="4221"/>
                  </a:lnTo>
                  <a:lnTo>
                    <a:pt x="13278" y="4216"/>
                  </a:lnTo>
                  <a:lnTo>
                    <a:pt x="13265" y="4183"/>
                  </a:lnTo>
                  <a:lnTo>
                    <a:pt x="13254" y="4144"/>
                  </a:lnTo>
                  <a:lnTo>
                    <a:pt x="13263" y="4121"/>
                  </a:lnTo>
                  <a:lnTo>
                    <a:pt x="13295" y="4086"/>
                  </a:lnTo>
                  <a:lnTo>
                    <a:pt x="13315" y="4057"/>
                  </a:lnTo>
                  <a:lnTo>
                    <a:pt x="13311" y="4043"/>
                  </a:lnTo>
                  <a:lnTo>
                    <a:pt x="13286" y="4031"/>
                  </a:lnTo>
                  <a:lnTo>
                    <a:pt x="13225" y="4034"/>
                  </a:lnTo>
                  <a:lnTo>
                    <a:pt x="13204" y="4029"/>
                  </a:lnTo>
                  <a:lnTo>
                    <a:pt x="13184" y="4004"/>
                  </a:lnTo>
                  <a:lnTo>
                    <a:pt x="13187" y="3964"/>
                  </a:lnTo>
                  <a:lnTo>
                    <a:pt x="13199" y="3937"/>
                  </a:lnTo>
                  <a:lnTo>
                    <a:pt x="13226" y="3899"/>
                  </a:lnTo>
                  <a:lnTo>
                    <a:pt x="13293" y="3830"/>
                  </a:lnTo>
                  <a:lnTo>
                    <a:pt x="13278" y="3816"/>
                  </a:lnTo>
                  <a:lnTo>
                    <a:pt x="13287" y="3802"/>
                  </a:lnTo>
                  <a:lnTo>
                    <a:pt x="13327" y="3761"/>
                  </a:lnTo>
                  <a:lnTo>
                    <a:pt x="13312" y="3749"/>
                  </a:lnTo>
                  <a:lnTo>
                    <a:pt x="13306" y="3731"/>
                  </a:lnTo>
                  <a:lnTo>
                    <a:pt x="13314" y="3709"/>
                  </a:lnTo>
                  <a:lnTo>
                    <a:pt x="13340" y="3668"/>
                  </a:lnTo>
                  <a:lnTo>
                    <a:pt x="13354" y="3661"/>
                  </a:lnTo>
                  <a:lnTo>
                    <a:pt x="13377" y="3656"/>
                  </a:lnTo>
                  <a:lnTo>
                    <a:pt x="13367" y="3672"/>
                  </a:lnTo>
                  <a:lnTo>
                    <a:pt x="13412" y="3622"/>
                  </a:lnTo>
                  <a:lnTo>
                    <a:pt x="13433" y="3643"/>
                  </a:lnTo>
                  <a:lnTo>
                    <a:pt x="13445" y="3682"/>
                  </a:lnTo>
                  <a:lnTo>
                    <a:pt x="13458" y="3695"/>
                  </a:lnTo>
                  <a:lnTo>
                    <a:pt x="13487" y="3682"/>
                  </a:lnTo>
                  <a:lnTo>
                    <a:pt x="13491" y="3643"/>
                  </a:lnTo>
                  <a:lnTo>
                    <a:pt x="13510" y="3631"/>
                  </a:lnTo>
                  <a:lnTo>
                    <a:pt x="13539" y="3617"/>
                  </a:lnTo>
                  <a:lnTo>
                    <a:pt x="13575" y="3575"/>
                  </a:lnTo>
                  <a:lnTo>
                    <a:pt x="13593" y="3582"/>
                  </a:lnTo>
                  <a:lnTo>
                    <a:pt x="13616" y="3575"/>
                  </a:lnTo>
                  <a:lnTo>
                    <a:pt x="13591" y="3677"/>
                  </a:lnTo>
                  <a:lnTo>
                    <a:pt x="13600" y="3688"/>
                  </a:lnTo>
                  <a:lnTo>
                    <a:pt x="13682" y="3606"/>
                  </a:lnTo>
                  <a:lnTo>
                    <a:pt x="13706" y="3589"/>
                  </a:lnTo>
                  <a:lnTo>
                    <a:pt x="13813" y="3561"/>
                  </a:lnTo>
                  <a:lnTo>
                    <a:pt x="13859" y="3557"/>
                  </a:lnTo>
                  <a:lnTo>
                    <a:pt x="13907" y="3561"/>
                  </a:lnTo>
                  <a:lnTo>
                    <a:pt x="13936" y="3585"/>
                  </a:lnTo>
                  <a:lnTo>
                    <a:pt x="13952" y="3635"/>
                  </a:lnTo>
                  <a:lnTo>
                    <a:pt x="13977" y="3658"/>
                  </a:lnTo>
                  <a:lnTo>
                    <a:pt x="13996" y="3658"/>
                  </a:lnTo>
                  <a:lnTo>
                    <a:pt x="14017" y="3635"/>
                  </a:lnTo>
                  <a:lnTo>
                    <a:pt x="14015" y="3612"/>
                  </a:lnTo>
                  <a:lnTo>
                    <a:pt x="14022" y="3587"/>
                  </a:lnTo>
                  <a:lnTo>
                    <a:pt x="14040" y="3576"/>
                  </a:lnTo>
                  <a:lnTo>
                    <a:pt x="14095" y="3557"/>
                  </a:lnTo>
                  <a:lnTo>
                    <a:pt x="14112" y="3522"/>
                  </a:lnTo>
                  <a:lnTo>
                    <a:pt x="14186" y="3486"/>
                  </a:lnTo>
                  <a:lnTo>
                    <a:pt x="14195" y="3464"/>
                  </a:lnTo>
                  <a:lnTo>
                    <a:pt x="14233" y="3414"/>
                  </a:lnTo>
                  <a:lnTo>
                    <a:pt x="14276" y="3411"/>
                  </a:lnTo>
                  <a:lnTo>
                    <a:pt x="14295" y="3395"/>
                  </a:lnTo>
                  <a:lnTo>
                    <a:pt x="14317" y="3363"/>
                  </a:lnTo>
                  <a:lnTo>
                    <a:pt x="14330" y="3354"/>
                  </a:lnTo>
                  <a:lnTo>
                    <a:pt x="14374" y="3351"/>
                  </a:lnTo>
                  <a:lnTo>
                    <a:pt x="14406" y="3333"/>
                  </a:lnTo>
                  <a:lnTo>
                    <a:pt x="14415" y="3319"/>
                  </a:lnTo>
                  <a:lnTo>
                    <a:pt x="14435" y="3301"/>
                  </a:lnTo>
                  <a:lnTo>
                    <a:pt x="14444" y="3301"/>
                  </a:lnTo>
                  <a:lnTo>
                    <a:pt x="14497" y="3287"/>
                  </a:lnTo>
                  <a:lnTo>
                    <a:pt x="14632" y="3213"/>
                  </a:lnTo>
                  <a:lnTo>
                    <a:pt x="14635" y="3204"/>
                  </a:lnTo>
                  <a:lnTo>
                    <a:pt x="14659" y="3160"/>
                  </a:lnTo>
                  <a:lnTo>
                    <a:pt x="14672" y="3157"/>
                  </a:lnTo>
                  <a:lnTo>
                    <a:pt x="14694" y="3160"/>
                  </a:lnTo>
                  <a:lnTo>
                    <a:pt x="14688" y="3183"/>
                  </a:lnTo>
                  <a:lnTo>
                    <a:pt x="14705" y="3194"/>
                  </a:lnTo>
                  <a:lnTo>
                    <a:pt x="14798" y="3213"/>
                  </a:lnTo>
                  <a:lnTo>
                    <a:pt x="14819" y="3224"/>
                  </a:lnTo>
                  <a:lnTo>
                    <a:pt x="14847" y="3227"/>
                  </a:lnTo>
                  <a:lnTo>
                    <a:pt x="14876" y="3211"/>
                  </a:lnTo>
                  <a:lnTo>
                    <a:pt x="14896" y="3187"/>
                  </a:lnTo>
                  <a:lnTo>
                    <a:pt x="14894" y="3167"/>
                  </a:lnTo>
                  <a:lnTo>
                    <a:pt x="14900" y="3134"/>
                  </a:lnTo>
                  <a:lnTo>
                    <a:pt x="14864" y="3142"/>
                  </a:lnTo>
                  <a:lnTo>
                    <a:pt x="14872" y="3105"/>
                  </a:lnTo>
                  <a:lnTo>
                    <a:pt x="14866" y="3084"/>
                  </a:lnTo>
                  <a:lnTo>
                    <a:pt x="14844" y="3072"/>
                  </a:lnTo>
                  <a:lnTo>
                    <a:pt x="14823" y="3031"/>
                  </a:lnTo>
                  <a:lnTo>
                    <a:pt x="14807" y="3014"/>
                  </a:lnTo>
                  <a:lnTo>
                    <a:pt x="14782" y="3020"/>
                  </a:lnTo>
                  <a:lnTo>
                    <a:pt x="14812" y="2977"/>
                  </a:lnTo>
                  <a:lnTo>
                    <a:pt x="14802" y="2931"/>
                  </a:lnTo>
                  <a:lnTo>
                    <a:pt x="14790" y="2914"/>
                  </a:lnTo>
                  <a:lnTo>
                    <a:pt x="14787" y="2886"/>
                  </a:lnTo>
                  <a:lnTo>
                    <a:pt x="14755" y="2905"/>
                  </a:lnTo>
                  <a:lnTo>
                    <a:pt x="14774" y="2879"/>
                  </a:lnTo>
                  <a:lnTo>
                    <a:pt x="14728" y="2898"/>
                  </a:lnTo>
                  <a:lnTo>
                    <a:pt x="14694" y="2875"/>
                  </a:lnTo>
                  <a:lnTo>
                    <a:pt x="14684" y="2857"/>
                  </a:lnTo>
                  <a:lnTo>
                    <a:pt x="14684" y="2819"/>
                  </a:lnTo>
                  <a:lnTo>
                    <a:pt x="14669" y="2811"/>
                  </a:lnTo>
                  <a:lnTo>
                    <a:pt x="14651" y="2808"/>
                  </a:lnTo>
                  <a:lnTo>
                    <a:pt x="14623" y="2838"/>
                  </a:lnTo>
                  <a:lnTo>
                    <a:pt x="14582" y="2820"/>
                  </a:lnTo>
                  <a:lnTo>
                    <a:pt x="14567" y="2811"/>
                  </a:lnTo>
                  <a:lnTo>
                    <a:pt x="14594" y="2787"/>
                  </a:lnTo>
                  <a:lnTo>
                    <a:pt x="14574" y="2744"/>
                  </a:lnTo>
                  <a:lnTo>
                    <a:pt x="14595" y="2751"/>
                  </a:lnTo>
                  <a:lnTo>
                    <a:pt x="14610" y="2769"/>
                  </a:lnTo>
                  <a:lnTo>
                    <a:pt x="14648" y="2767"/>
                  </a:lnTo>
                  <a:lnTo>
                    <a:pt x="14688" y="2741"/>
                  </a:lnTo>
                  <a:lnTo>
                    <a:pt x="14677" y="2757"/>
                  </a:lnTo>
                  <a:lnTo>
                    <a:pt x="14700" y="2753"/>
                  </a:lnTo>
                  <a:lnTo>
                    <a:pt x="14712" y="2771"/>
                  </a:lnTo>
                  <a:lnTo>
                    <a:pt x="14718" y="2801"/>
                  </a:lnTo>
                  <a:lnTo>
                    <a:pt x="14758" y="2806"/>
                  </a:lnTo>
                  <a:lnTo>
                    <a:pt x="14774" y="2811"/>
                  </a:lnTo>
                  <a:lnTo>
                    <a:pt x="14845" y="2801"/>
                  </a:lnTo>
                  <a:lnTo>
                    <a:pt x="14873" y="2769"/>
                  </a:lnTo>
                  <a:lnTo>
                    <a:pt x="14901" y="2767"/>
                  </a:lnTo>
                  <a:lnTo>
                    <a:pt x="14950" y="2736"/>
                  </a:lnTo>
                  <a:lnTo>
                    <a:pt x="14950" y="1955"/>
                  </a:lnTo>
                  <a:lnTo>
                    <a:pt x="14898" y="1909"/>
                  </a:lnTo>
                  <a:lnTo>
                    <a:pt x="14869" y="1891"/>
                  </a:lnTo>
                  <a:lnTo>
                    <a:pt x="14835" y="1886"/>
                  </a:lnTo>
                  <a:lnTo>
                    <a:pt x="14745" y="1838"/>
                  </a:lnTo>
                  <a:lnTo>
                    <a:pt x="14684" y="1828"/>
                  </a:lnTo>
                  <a:lnTo>
                    <a:pt x="14632" y="1810"/>
                  </a:lnTo>
                  <a:lnTo>
                    <a:pt x="14596" y="1791"/>
                  </a:lnTo>
                  <a:lnTo>
                    <a:pt x="14540" y="1778"/>
                  </a:lnTo>
                  <a:lnTo>
                    <a:pt x="14345" y="1782"/>
                  </a:lnTo>
                  <a:lnTo>
                    <a:pt x="14285" y="1796"/>
                  </a:lnTo>
                  <a:lnTo>
                    <a:pt x="14275" y="1766"/>
                  </a:lnTo>
                  <a:lnTo>
                    <a:pt x="14221" y="1750"/>
                  </a:lnTo>
                  <a:lnTo>
                    <a:pt x="14033" y="1727"/>
                  </a:lnTo>
                  <a:lnTo>
                    <a:pt x="14012" y="1782"/>
                  </a:lnTo>
                  <a:lnTo>
                    <a:pt x="13994" y="1812"/>
                  </a:lnTo>
                  <a:lnTo>
                    <a:pt x="14031" y="1822"/>
                  </a:lnTo>
                  <a:lnTo>
                    <a:pt x="14067" y="1900"/>
                  </a:lnTo>
                  <a:lnTo>
                    <a:pt x="14077" y="1932"/>
                  </a:lnTo>
                  <a:lnTo>
                    <a:pt x="14071" y="1955"/>
                  </a:lnTo>
                  <a:lnTo>
                    <a:pt x="13997" y="1983"/>
                  </a:lnTo>
                  <a:lnTo>
                    <a:pt x="13929" y="1995"/>
                  </a:lnTo>
                  <a:lnTo>
                    <a:pt x="13903" y="1983"/>
                  </a:lnTo>
                  <a:lnTo>
                    <a:pt x="13891" y="1946"/>
                  </a:lnTo>
                  <a:lnTo>
                    <a:pt x="13850" y="1916"/>
                  </a:lnTo>
                  <a:lnTo>
                    <a:pt x="13803" y="1891"/>
                  </a:lnTo>
                  <a:lnTo>
                    <a:pt x="13744" y="1821"/>
                  </a:lnTo>
                  <a:lnTo>
                    <a:pt x="13726" y="1803"/>
                  </a:lnTo>
                  <a:lnTo>
                    <a:pt x="13665" y="1849"/>
                  </a:lnTo>
                  <a:lnTo>
                    <a:pt x="13626" y="1861"/>
                  </a:lnTo>
                  <a:lnTo>
                    <a:pt x="13463" y="1854"/>
                  </a:lnTo>
                  <a:lnTo>
                    <a:pt x="13433" y="1844"/>
                  </a:lnTo>
                  <a:lnTo>
                    <a:pt x="13405" y="1803"/>
                  </a:lnTo>
                  <a:lnTo>
                    <a:pt x="13373" y="1799"/>
                  </a:lnTo>
                  <a:lnTo>
                    <a:pt x="13306" y="1826"/>
                  </a:lnTo>
                  <a:lnTo>
                    <a:pt x="13232" y="1828"/>
                  </a:lnTo>
                  <a:lnTo>
                    <a:pt x="13216" y="1824"/>
                  </a:lnTo>
                  <a:lnTo>
                    <a:pt x="13201" y="1829"/>
                  </a:lnTo>
                  <a:lnTo>
                    <a:pt x="13147" y="1865"/>
                  </a:lnTo>
                  <a:lnTo>
                    <a:pt x="13124" y="1905"/>
                  </a:lnTo>
                  <a:lnTo>
                    <a:pt x="13093" y="1921"/>
                  </a:lnTo>
                  <a:lnTo>
                    <a:pt x="13075" y="1882"/>
                  </a:lnTo>
                  <a:lnTo>
                    <a:pt x="13075" y="1819"/>
                  </a:lnTo>
                  <a:lnTo>
                    <a:pt x="13047" y="1812"/>
                  </a:lnTo>
                  <a:lnTo>
                    <a:pt x="12978" y="1805"/>
                  </a:lnTo>
                  <a:lnTo>
                    <a:pt x="12954" y="1780"/>
                  </a:lnTo>
                  <a:lnTo>
                    <a:pt x="12967" y="1732"/>
                  </a:lnTo>
                  <a:lnTo>
                    <a:pt x="12972" y="1685"/>
                  </a:lnTo>
                  <a:lnTo>
                    <a:pt x="12956" y="1650"/>
                  </a:lnTo>
                  <a:lnTo>
                    <a:pt x="12933" y="1616"/>
                  </a:lnTo>
                  <a:lnTo>
                    <a:pt x="12905" y="1599"/>
                  </a:lnTo>
                  <a:lnTo>
                    <a:pt x="12853" y="1559"/>
                  </a:lnTo>
                  <a:lnTo>
                    <a:pt x="12820" y="1548"/>
                  </a:lnTo>
                  <a:lnTo>
                    <a:pt x="12620" y="1523"/>
                  </a:lnTo>
                  <a:lnTo>
                    <a:pt x="12524" y="1532"/>
                  </a:lnTo>
                  <a:lnTo>
                    <a:pt x="12362" y="1578"/>
                  </a:lnTo>
                  <a:lnTo>
                    <a:pt x="12238" y="1590"/>
                  </a:lnTo>
                  <a:lnTo>
                    <a:pt x="12214" y="1576"/>
                  </a:lnTo>
                  <a:lnTo>
                    <a:pt x="12190" y="1543"/>
                  </a:lnTo>
                  <a:lnTo>
                    <a:pt x="12174" y="1502"/>
                  </a:lnTo>
                  <a:lnTo>
                    <a:pt x="12138" y="1465"/>
                  </a:lnTo>
                  <a:lnTo>
                    <a:pt x="12096" y="1446"/>
                  </a:lnTo>
                  <a:lnTo>
                    <a:pt x="12001" y="1426"/>
                  </a:lnTo>
                  <a:lnTo>
                    <a:pt x="11927" y="1398"/>
                  </a:lnTo>
                  <a:lnTo>
                    <a:pt x="11901" y="1384"/>
                  </a:lnTo>
                  <a:lnTo>
                    <a:pt x="12001" y="1327"/>
                  </a:lnTo>
                  <a:lnTo>
                    <a:pt x="11992" y="1317"/>
                  </a:lnTo>
                  <a:lnTo>
                    <a:pt x="11982" y="1297"/>
                  </a:lnTo>
                  <a:lnTo>
                    <a:pt x="11901" y="1267"/>
                  </a:lnTo>
                  <a:lnTo>
                    <a:pt x="11726" y="1260"/>
                  </a:lnTo>
                  <a:lnTo>
                    <a:pt x="11654" y="1338"/>
                  </a:lnTo>
                  <a:lnTo>
                    <a:pt x="11610" y="1372"/>
                  </a:lnTo>
                  <a:lnTo>
                    <a:pt x="11571" y="1384"/>
                  </a:lnTo>
                  <a:lnTo>
                    <a:pt x="11548" y="1396"/>
                  </a:lnTo>
                  <a:lnTo>
                    <a:pt x="11519" y="1393"/>
                  </a:lnTo>
                  <a:lnTo>
                    <a:pt x="11526" y="1364"/>
                  </a:lnTo>
                  <a:lnTo>
                    <a:pt x="11563" y="1338"/>
                  </a:lnTo>
                  <a:lnTo>
                    <a:pt x="11605" y="1320"/>
                  </a:lnTo>
                  <a:lnTo>
                    <a:pt x="11618" y="1283"/>
                  </a:lnTo>
                  <a:lnTo>
                    <a:pt x="11604" y="1269"/>
                  </a:lnTo>
                  <a:lnTo>
                    <a:pt x="11559" y="1278"/>
                  </a:lnTo>
                  <a:lnTo>
                    <a:pt x="11520" y="1273"/>
                  </a:lnTo>
                  <a:lnTo>
                    <a:pt x="11597" y="1211"/>
                  </a:lnTo>
                  <a:lnTo>
                    <a:pt x="11495" y="1204"/>
                  </a:lnTo>
                  <a:lnTo>
                    <a:pt x="11466" y="1193"/>
                  </a:lnTo>
                  <a:lnTo>
                    <a:pt x="11185" y="1132"/>
                  </a:lnTo>
                  <a:lnTo>
                    <a:pt x="11175" y="1132"/>
                  </a:lnTo>
                  <a:lnTo>
                    <a:pt x="11105" y="1195"/>
                  </a:lnTo>
                  <a:lnTo>
                    <a:pt x="11069" y="1209"/>
                  </a:lnTo>
                  <a:lnTo>
                    <a:pt x="11024" y="1211"/>
                  </a:lnTo>
                  <a:lnTo>
                    <a:pt x="10980" y="1220"/>
                  </a:lnTo>
                  <a:lnTo>
                    <a:pt x="10966" y="1229"/>
                  </a:lnTo>
                  <a:lnTo>
                    <a:pt x="10946" y="1259"/>
                  </a:lnTo>
                  <a:lnTo>
                    <a:pt x="10954" y="1269"/>
                  </a:lnTo>
                  <a:lnTo>
                    <a:pt x="10983" y="1267"/>
                  </a:lnTo>
                  <a:lnTo>
                    <a:pt x="11032" y="1253"/>
                  </a:lnTo>
                  <a:lnTo>
                    <a:pt x="11021" y="1340"/>
                  </a:lnTo>
                  <a:lnTo>
                    <a:pt x="11031" y="1386"/>
                  </a:lnTo>
                  <a:lnTo>
                    <a:pt x="11021" y="1433"/>
                  </a:lnTo>
                  <a:lnTo>
                    <a:pt x="10966" y="1430"/>
                  </a:lnTo>
                  <a:lnTo>
                    <a:pt x="10941" y="1412"/>
                  </a:lnTo>
                  <a:lnTo>
                    <a:pt x="10918" y="1387"/>
                  </a:lnTo>
                  <a:lnTo>
                    <a:pt x="10896" y="1389"/>
                  </a:lnTo>
                  <a:lnTo>
                    <a:pt x="10864" y="1419"/>
                  </a:lnTo>
                  <a:lnTo>
                    <a:pt x="10864" y="1437"/>
                  </a:lnTo>
                  <a:lnTo>
                    <a:pt x="10869" y="1442"/>
                  </a:lnTo>
                  <a:lnTo>
                    <a:pt x="10859" y="1467"/>
                  </a:lnTo>
                  <a:lnTo>
                    <a:pt x="10829" y="1499"/>
                  </a:lnTo>
                  <a:lnTo>
                    <a:pt x="10816" y="1504"/>
                  </a:lnTo>
                  <a:lnTo>
                    <a:pt x="10730" y="1433"/>
                  </a:lnTo>
                  <a:lnTo>
                    <a:pt x="10678" y="1410"/>
                  </a:lnTo>
                  <a:lnTo>
                    <a:pt x="10643" y="1403"/>
                  </a:lnTo>
                  <a:lnTo>
                    <a:pt x="10607" y="1410"/>
                  </a:lnTo>
                  <a:lnTo>
                    <a:pt x="10521" y="1454"/>
                  </a:lnTo>
                  <a:lnTo>
                    <a:pt x="10483" y="1463"/>
                  </a:lnTo>
                  <a:lnTo>
                    <a:pt x="10435" y="1451"/>
                  </a:lnTo>
                  <a:lnTo>
                    <a:pt x="10374" y="1423"/>
                  </a:lnTo>
                  <a:lnTo>
                    <a:pt x="10340" y="1393"/>
                  </a:lnTo>
                  <a:lnTo>
                    <a:pt x="10329" y="1347"/>
                  </a:lnTo>
                  <a:lnTo>
                    <a:pt x="10317" y="1345"/>
                  </a:lnTo>
                  <a:lnTo>
                    <a:pt x="10291" y="1379"/>
                  </a:lnTo>
                  <a:lnTo>
                    <a:pt x="10205" y="1548"/>
                  </a:lnTo>
                  <a:lnTo>
                    <a:pt x="10171" y="1587"/>
                  </a:lnTo>
                  <a:lnTo>
                    <a:pt x="10143" y="1589"/>
                  </a:lnTo>
                  <a:lnTo>
                    <a:pt x="10084" y="1559"/>
                  </a:lnTo>
                  <a:lnTo>
                    <a:pt x="10003" y="1483"/>
                  </a:lnTo>
                  <a:lnTo>
                    <a:pt x="9913" y="1357"/>
                  </a:lnTo>
                  <a:lnTo>
                    <a:pt x="9888" y="1342"/>
                  </a:lnTo>
                  <a:lnTo>
                    <a:pt x="9814" y="1273"/>
                  </a:lnTo>
                  <a:lnTo>
                    <a:pt x="9784" y="1259"/>
                  </a:lnTo>
                  <a:lnTo>
                    <a:pt x="9696" y="1250"/>
                  </a:lnTo>
                  <a:lnTo>
                    <a:pt x="9686" y="1243"/>
                  </a:lnTo>
                  <a:lnTo>
                    <a:pt x="9696" y="1220"/>
                  </a:lnTo>
                  <a:lnTo>
                    <a:pt x="9804" y="1147"/>
                  </a:lnTo>
                  <a:lnTo>
                    <a:pt x="9888" y="1107"/>
                  </a:lnTo>
                  <a:lnTo>
                    <a:pt x="9922" y="1095"/>
                  </a:lnTo>
                  <a:lnTo>
                    <a:pt x="9920" y="1056"/>
                  </a:lnTo>
                  <a:lnTo>
                    <a:pt x="9901" y="1038"/>
                  </a:lnTo>
                  <a:lnTo>
                    <a:pt x="9843" y="994"/>
                  </a:lnTo>
                  <a:lnTo>
                    <a:pt x="9782" y="990"/>
                  </a:lnTo>
                  <a:lnTo>
                    <a:pt x="9723" y="997"/>
                  </a:lnTo>
                  <a:lnTo>
                    <a:pt x="9647" y="994"/>
                  </a:lnTo>
                  <a:lnTo>
                    <a:pt x="9559" y="936"/>
                  </a:lnTo>
                  <a:lnTo>
                    <a:pt x="9523" y="925"/>
                  </a:lnTo>
                  <a:lnTo>
                    <a:pt x="9501" y="927"/>
                  </a:lnTo>
                  <a:lnTo>
                    <a:pt x="9422" y="976"/>
                  </a:lnTo>
                  <a:lnTo>
                    <a:pt x="9425" y="1010"/>
                  </a:lnTo>
                  <a:lnTo>
                    <a:pt x="9433" y="1045"/>
                  </a:lnTo>
                  <a:lnTo>
                    <a:pt x="9371" y="1139"/>
                  </a:lnTo>
                  <a:lnTo>
                    <a:pt x="9308" y="1103"/>
                  </a:lnTo>
                  <a:lnTo>
                    <a:pt x="9146" y="1121"/>
                  </a:lnTo>
                  <a:lnTo>
                    <a:pt x="8941" y="1075"/>
                  </a:lnTo>
                  <a:lnTo>
                    <a:pt x="8926" y="1042"/>
                  </a:lnTo>
                  <a:lnTo>
                    <a:pt x="8938" y="967"/>
                  </a:lnTo>
                  <a:lnTo>
                    <a:pt x="8657" y="943"/>
                  </a:lnTo>
                  <a:lnTo>
                    <a:pt x="8591" y="959"/>
                  </a:lnTo>
                  <a:lnTo>
                    <a:pt x="8518" y="960"/>
                  </a:lnTo>
                  <a:lnTo>
                    <a:pt x="8456" y="1040"/>
                  </a:lnTo>
                  <a:lnTo>
                    <a:pt x="8432" y="997"/>
                  </a:lnTo>
                  <a:lnTo>
                    <a:pt x="8432" y="946"/>
                  </a:lnTo>
                  <a:lnTo>
                    <a:pt x="8423" y="916"/>
                  </a:lnTo>
                  <a:lnTo>
                    <a:pt x="8401" y="908"/>
                  </a:lnTo>
                  <a:lnTo>
                    <a:pt x="8350" y="936"/>
                  </a:lnTo>
                  <a:lnTo>
                    <a:pt x="8313" y="941"/>
                  </a:lnTo>
                  <a:lnTo>
                    <a:pt x="8281" y="936"/>
                  </a:lnTo>
                  <a:lnTo>
                    <a:pt x="8254" y="916"/>
                  </a:lnTo>
                  <a:lnTo>
                    <a:pt x="8226" y="911"/>
                  </a:lnTo>
                  <a:lnTo>
                    <a:pt x="8201" y="871"/>
                  </a:lnTo>
                  <a:lnTo>
                    <a:pt x="8162" y="848"/>
                  </a:lnTo>
                  <a:lnTo>
                    <a:pt x="8136" y="871"/>
                  </a:lnTo>
                  <a:lnTo>
                    <a:pt x="8124" y="896"/>
                  </a:lnTo>
                  <a:lnTo>
                    <a:pt x="8125" y="903"/>
                  </a:lnTo>
                  <a:lnTo>
                    <a:pt x="8148" y="916"/>
                  </a:lnTo>
                  <a:lnTo>
                    <a:pt x="8150" y="957"/>
                  </a:lnTo>
                  <a:lnTo>
                    <a:pt x="8106" y="985"/>
                  </a:lnTo>
                  <a:lnTo>
                    <a:pt x="7892" y="1052"/>
                  </a:lnTo>
                  <a:lnTo>
                    <a:pt x="7838" y="1054"/>
                  </a:lnTo>
                  <a:lnTo>
                    <a:pt x="7765" y="1070"/>
                  </a:lnTo>
                  <a:lnTo>
                    <a:pt x="7723" y="1116"/>
                  </a:lnTo>
                  <a:lnTo>
                    <a:pt x="7676" y="1140"/>
                  </a:lnTo>
                  <a:lnTo>
                    <a:pt x="7645" y="1139"/>
                  </a:lnTo>
                  <a:lnTo>
                    <a:pt x="7735" y="1026"/>
                  </a:lnTo>
                  <a:lnTo>
                    <a:pt x="7839" y="967"/>
                  </a:lnTo>
                  <a:lnTo>
                    <a:pt x="7944" y="929"/>
                  </a:lnTo>
                  <a:lnTo>
                    <a:pt x="8263" y="689"/>
                  </a:lnTo>
                  <a:lnTo>
                    <a:pt x="8315" y="677"/>
                  </a:lnTo>
                  <a:lnTo>
                    <a:pt x="8361" y="652"/>
                  </a:lnTo>
                  <a:lnTo>
                    <a:pt x="8463" y="562"/>
                  </a:lnTo>
                  <a:lnTo>
                    <a:pt x="8423" y="524"/>
                  </a:lnTo>
                  <a:lnTo>
                    <a:pt x="8413" y="511"/>
                  </a:lnTo>
                  <a:lnTo>
                    <a:pt x="8472" y="421"/>
                  </a:lnTo>
                  <a:lnTo>
                    <a:pt x="8455" y="368"/>
                  </a:lnTo>
                  <a:lnTo>
                    <a:pt x="8416" y="375"/>
                  </a:lnTo>
                  <a:lnTo>
                    <a:pt x="8385" y="375"/>
                  </a:lnTo>
                  <a:lnTo>
                    <a:pt x="8361" y="328"/>
                  </a:lnTo>
                  <a:lnTo>
                    <a:pt x="8309" y="282"/>
                  </a:lnTo>
                  <a:lnTo>
                    <a:pt x="8247" y="254"/>
                  </a:lnTo>
                  <a:lnTo>
                    <a:pt x="8161" y="236"/>
                  </a:lnTo>
                  <a:lnTo>
                    <a:pt x="8101" y="238"/>
                  </a:lnTo>
                  <a:lnTo>
                    <a:pt x="8074" y="224"/>
                  </a:lnTo>
                  <a:lnTo>
                    <a:pt x="7997" y="234"/>
                  </a:lnTo>
                  <a:lnTo>
                    <a:pt x="7936" y="234"/>
                  </a:lnTo>
                  <a:lnTo>
                    <a:pt x="7890" y="294"/>
                  </a:lnTo>
                  <a:lnTo>
                    <a:pt x="7879" y="284"/>
                  </a:lnTo>
                  <a:lnTo>
                    <a:pt x="7755" y="287"/>
                  </a:lnTo>
                  <a:lnTo>
                    <a:pt x="7768" y="254"/>
                  </a:lnTo>
                  <a:lnTo>
                    <a:pt x="7820" y="203"/>
                  </a:lnTo>
                  <a:lnTo>
                    <a:pt x="7838" y="172"/>
                  </a:lnTo>
                  <a:lnTo>
                    <a:pt x="7829" y="159"/>
                  </a:lnTo>
                  <a:lnTo>
                    <a:pt x="7740" y="168"/>
                  </a:lnTo>
                  <a:lnTo>
                    <a:pt x="7669" y="152"/>
                  </a:lnTo>
                  <a:lnTo>
                    <a:pt x="7589" y="164"/>
                  </a:lnTo>
                  <a:lnTo>
                    <a:pt x="7567" y="149"/>
                  </a:lnTo>
                  <a:lnTo>
                    <a:pt x="7596" y="110"/>
                  </a:lnTo>
                  <a:lnTo>
                    <a:pt x="7663" y="66"/>
                  </a:lnTo>
                  <a:lnTo>
                    <a:pt x="7661" y="36"/>
                  </a:lnTo>
                  <a:lnTo>
                    <a:pt x="7624" y="6"/>
                  </a:lnTo>
                  <a:lnTo>
                    <a:pt x="7557" y="7"/>
                  </a:lnTo>
                  <a:lnTo>
                    <a:pt x="7515" y="0"/>
                  </a:lnTo>
                  <a:lnTo>
                    <a:pt x="7459" y="9"/>
                  </a:lnTo>
                  <a:lnTo>
                    <a:pt x="7293" y="97"/>
                  </a:lnTo>
                  <a:lnTo>
                    <a:pt x="7241" y="145"/>
                  </a:lnTo>
                  <a:lnTo>
                    <a:pt x="7236" y="184"/>
                  </a:lnTo>
                  <a:lnTo>
                    <a:pt x="7264" y="240"/>
                  </a:lnTo>
                  <a:lnTo>
                    <a:pt x="7209" y="280"/>
                  </a:lnTo>
                  <a:lnTo>
                    <a:pt x="7167" y="277"/>
                  </a:lnTo>
                  <a:lnTo>
                    <a:pt x="7126" y="285"/>
                  </a:lnTo>
                  <a:lnTo>
                    <a:pt x="7105" y="322"/>
                  </a:lnTo>
                  <a:lnTo>
                    <a:pt x="7111" y="340"/>
                  </a:lnTo>
                  <a:lnTo>
                    <a:pt x="7105" y="375"/>
                  </a:lnTo>
                  <a:lnTo>
                    <a:pt x="7074" y="398"/>
                  </a:lnTo>
                  <a:lnTo>
                    <a:pt x="7045" y="391"/>
                  </a:lnTo>
                  <a:lnTo>
                    <a:pt x="7001" y="372"/>
                  </a:lnTo>
                  <a:lnTo>
                    <a:pt x="6959" y="377"/>
                  </a:lnTo>
                  <a:lnTo>
                    <a:pt x="6844" y="421"/>
                  </a:lnTo>
                  <a:lnTo>
                    <a:pt x="6800" y="425"/>
                  </a:lnTo>
                  <a:lnTo>
                    <a:pt x="6733" y="414"/>
                  </a:lnTo>
                  <a:lnTo>
                    <a:pt x="6748" y="370"/>
                  </a:lnTo>
                  <a:lnTo>
                    <a:pt x="6732" y="349"/>
                  </a:lnTo>
                  <a:lnTo>
                    <a:pt x="6607" y="347"/>
                  </a:lnTo>
                  <a:lnTo>
                    <a:pt x="6499" y="420"/>
                  </a:lnTo>
                  <a:lnTo>
                    <a:pt x="6408" y="448"/>
                  </a:lnTo>
                  <a:lnTo>
                    <a:pt x="6149" y="495"/>
                  </a:lnTo>
                  <a:lnTo>
                    <a:pt x="6127" y="504"/>
                  </a:lnTo>
                  <a:lnTo>
                    <a:pt x="6076" y="517"/>
                  </a:lnTo>
                  <a:lnTo>
                    <a:pt x="5943" y="614"/>
                  </a:lnTo>
                  <a:lnTo>
                    <a:pt x="5900" y="637"/>
                  </a:lnTo>
                  <a:lnTo>
                    <a:pt x="5848" y="677"/>
                  </a:lnTo>
                  <a:lnTo>
                    <a:pt x="5834" y="734"/>
                  </a:lnTo>
                  <a:lnTo>
                    <a:pt x="5834" y="758"/>
                  </a:lnTo>
                  <a:lnTo>
                    <a:pt x="5850" y="788"/>
                  </a:lnTo>
                  <a:lnTo>
                    <a:pt x="5891" y="817"/>
                  </a:lnTo>
                  <a:lnTo>
                    <a:pt x="5906" y="834"/>
                  </a:lnTo>
                  <a:lnTo>
                    <a:pt x="5921" y="880"/>
                  </a:lnTo>
                  <a:lnTo>
                    <a:pt x="5908" y="911"/>
                  </a:lnTo>
                  <a:lnTo>
                    <a:pt x="5866" y="948"/>
                  </a:lnTo>
                  <a:lnTo>
                    <a:pt x="5843" y="959"/>
                  </a:lnTo>
                  <a:lnTo>
                    <a:pt x="5767" y="983"/>
                  </a:lnTo>
                  <a:lnTo>
                    <a:pt x="5786" y="941"/>
                  </a:lnTo>
                  <a:lnTo>
                    <a:pt x="5829" y="906"/>
                  </a:lnTo>
                  <a:lnTo>
                    <a:pt x="5802" y="885"/>
                  </a:lnTo>
                  <a:lnTo>
                    <a:pt x="5740" y="898"/>
                  </a:lnTo>
                  <a:lnTo>
                    <a:pt x="5657" y="955"/>
                  </a:lnTo>
                  <a:lnTo>
                    <a:pt x="5639" y="950"/>
                  </a:lnTo>
                  <a:lnTo>
                    <a:pt x="5618" y="916"/>
                  </a:lnTo>
                  <a:lnTo>
                    <a:pt x="5556" y="934"/>
                  </a:lnTo>
                  <a:lnTo>
                    <a:pt x="5248" y="960"/>
                  </a:lnTo>
                  <a:lnTo>
                    <a:pt x="5227" y="973"/>
                  </a:lnTo>
                  <a:lnTo>
                    <a:pt x="5216" y="989"/>
                  </a:lnTo>
                  <a:lnTo>
                    <a:pt x="5212" y="1013"/>
                  </a:lnTo>
                  <a:lnTo>
                    <a:pt x="5248" y="1080"/>
                  </a:lnTo>
                  <a:lnTo>
                    <a:pt x="5250" y="1119"/>
                  </a:lnTo>
                  <a:lnTo>
                    <a:pt x="5249" y="1177"/>
                  </a:lnTo>
                  <a:lnTo>
                    <a:pt x="5262" y="1206"/>
                  </a:lnTo>
                  <a:lnTo>
                    <a:pt x="5322" y="1227"/>
                  </a:lnTo>
                  <a:lnTo>
                    <a:pt x="5365" y="1250"/>
                  </a:lnTo>
                  <a:lnTo>
                    <a:pt x="5393" y="1255"/>
                  </a:lnTo>
                  <a:lnTo>
                    <a:pt x="5405" y="1294"/>
                  </a:lnTo>
                  <a:lnTo>
                    <a:pt x="5481" y="1342"/>
                  </a:lnTo>
                  <a:lnTo>
                    <a:pt x="5515" y="1386"/>
                  </a:lnTo>
                  <a:lnTo>
                    <a:pt x="5477" y="1481"/>
                  </a:lnTo>
                  <a:lnTo>
                    <a:pt x="5510" y="1560"/>
                  </a:lnTo>
                  <a:lnTo>
                    <a:pt x="5516" y="1594"/>
                  </a:lnTo>
                  <a:lnTo>
                    <a:pt x="5525" y="1604"/>
                  </a:lnTo>
                  <a:lnTo>
                    <a:pt x="5527" y="1635"/>
                  </a:lnTo>
                  <a:lnTo>
                    <a:pt x="5497" y="1660"/>
                  </a:lnTo>
                  <a:lnTo>
                    <a:pt x="5465" y="1680"/>
                  </a:lnTo>
                  <a:lnTo>
                    <a:pt x="5467" y="1608"/>
                  </a:lnTo>
                  <a:lnTo>
                    <a:pt x="5441" y="1559"/>
                  </a:lnTo>
                  <a:lnTo>
                    <a:pt x="5429" y="1553"/>
                  </a:lnTo>
                  <a:lnTo>
                    <a:pt x="5411" y="1581"/>
                  </a:lnTo>
                  <a:lnTo>
                    <a:pt x="5381" y="1657"/>
                  </a:lnTo>
                  <a:lnTo>
                    <a:pt x="5367" y="1644"/>
                  </a:lnTo>
                  <a:lnTo>
                    <a:pt x="5383" y="1476"/>
                  </a:lnTo>
                  <a:lnTo>
                    <a:pt x="5414" y="1451"/>
                  </a:lnTo>
                  <a:lnTo>
                    <a:pt x="5448" y="1414"/>
                  </a:lnTo>
                  <a:lnTo>
                    <a:pt x="5442" y="1380"/>
                  </a:lnTo>
                  <a:lnTo>
                    <a:pt x="5411" y="1398"/>
                  </a:lnTo>
                  <a:lnTo>
                    <a:pt x="5330" y="1396"/>
                  </a:lnTo>
                  <a:lnTo>
                    <a:pt x="5306" y="1387"/>
                  </a:lnTo>
                  <a:lnTo>
                    <a:pt x="5248" y="1356"/>
                  </a:lnTo>
                  <a:lnTo>
                    <a:pt x="5199" y="1303"/>
                  </a:lnTo>
                  <a:lnTo>
                    <a:pt x="5089" y="1244"/>
                  </a:lnTo>
                  <a:lnTo>
                    <a:pt x="5033" y="1246"/>
                  </a:lnTo>
                  <a:lnTo>
                    <a:pt x="4996" y="1257"/>
                  </a:lnTo>
                  <a:lnTo>
                    <a:pt x="4978" y="1266"/>
                  </a:lnTo>
                  <a:lnTo>
                    <a:pt x="4983" y="1338"/>
                  </a:lnTo>
                  <a:lnTo>
                    <a:pt x="4950" y="1352"/>
                  </a:lnTo>
                  <a:lnTo>
                    <a:pt x="4900" y="1345"/>
                  </a:lnTo>
                  <a:lnTo>
                    <a:pt x="4878" y="1327"/>
                  </a:lnTo>
                  <a:lnTo>
                    <a:pt x="4818" y="1333"/>
                  </a:lnTo>
                  <a:lnTo>
                    <a:pt x="4806" y="1364"/>
                  </a:lnTo>
                  <a:lnTo>
                    <a:pt x="4833" y="1409"/>
                  </a:lnTo>
                  <a:lnTo>
                    <a:pt x="4860" y="1423"/>
                  </a:lnTo>
                  <a:lnTo>
                    <a:pt x="4984" y="1440"/>
                  </a:lnTo>
                  <a:lnTo>
                    <a:pt x="5007" y="1467"/>
                  </a:lnTo>
                  <a:lnTo>
                    <a:pt x="5029" y="1551"/>
                  </a:lnTo>
                  <a:lnTo>
                    <a:pt x="4995" y="1555"/>
                  </a:lnTo>
                  <a:lnTo>
                    <a:pt x="4979" y="1553"/>
                  </a:lnTo>
                  <a:lnTo>
                    <a:pt x="4943" y="1514"/>
                  </a:lnTo>
                  <a:lnTo>
                    <a:pt x="4741" y="1477"/>
                  </a:lnTo>
                  <a:lnTo>
                    <a:pt x="4704" y="1424"/>
                  </a:lnTo>
                  <a:lnTo>
                    <a:pt x="4698" y="1380"/>
                  </a:lnTo>
                  <a:lnTo>
                    <a:pt x="4705" y="1327"/>
                  </a:lnTo>
                  <a:lnTo>
                    <a:pt x="4734" y="1267"/>
                  </a:lnTo>
                  <a:lnTo>
                    <a:pt x="4741" y="1214"/>
                  </a:lnTo>
                  <a:lnTo>
                    <a:pt x="4737" y="1167"/>
                  </a:lnTo>
                  <a:lnTo>
                    <a:pt x="4716" y="1158"/>
                  </a:lnTo>
                  <a:lnTo>
                    <a:pt x="4688" y="1153"/>
                  </a:lnTo>
                  <a:lnTo>
                    <a:pt x="4677" y="1146"/>
                  </a:lnTo>
                  <a:lnTo>
                    <a:pt x="4683" y="1213"/>
                  </a:lnTo>
                  <a:lnTo>
                    <a:pt x="4676" y="1276"/>
                  </a:lnTo>
                  <a:lnTo>
                    <a:pt x="4668" y="1297"/>
                  </a:lnTo>
                  <a:lnTo>
                    <a:pt x="4636" y="1333"/>
                  </a:lnTo>
                  <a:lnTo>
                    <a:pt x="4591" y="1357"/>
                  </a:lnTo>
                  <a:lnTo>
                    <a:pt x="4538" y="1368"/>
                  </a:lnTo>
                  <a:lnTo>
                    <a:pt x="4501" y="1421"/>
                  </a:lnTo>
                  <a:lnTo>
                    <a:pt x="4506" y="1440"/>
                  </a:lnTo>
                  <a:lnTo>
                    <a:pt x="4549" y="1490"/>
                  </a:lnTo>
                  <a:lnTo>
                    <a:pt x="4595" y="1589"/>
                  </a:lnTo>
                  <a:lnTo>
                    <a:pt x="4602" y="1610"/>
                  </a:lnTo>
                  <a:lnTo>
                    <a:pt x="4590" y="1655"/>
                  </a:lnTo>
                  <a:lnTo>
                    <a:pt x="4557" y="1720"/>
                  </a:lnTo>
                  <a:lnTo>
                    <a:pt x="4544" y="1782"/>
                  </a:lnTo>
                  <a:lnTo>
                    <a:pt x="4569" y="1882"/>
                  </a:lnTo>
                  <a:lnTo>
                    <a:pt x="4569" y="1907"/>
                  </a:lnTo>
                  <a:lnTo>
                    <a:pt x="4608" y="1905"/>
                  </a:lnTo>
                  <a:lnTo>
                    <a:pt x="4667" y="1921"/>
                  </a:lnTo>
                  <a:lnTo>
                    <a:pt x="4735" y="1895"/>
                  </a:lnTo>
                  <a:lnTo>
                    <a:pt x="4827" y="1921"/>
                  </a:lnTo>
                  <a:lnTo>
                    <a:pt x="4874" y="1942"/>
                  </a:lnTo>
                  <a:lnTo>
                    <a:pt x="4911" y="1951"/>
                  </a:lnTo>
                  <a:lnTo>
                    <a:pt x="4934" y="1976"/>
                  </a:lnTo>
                  <a:lnTo>
                    <a:pt x="4962" y="2076"/>
                  </a:lnTo>
                  <a:lnTo>
                    <a:pt x="4971" y="2089"/>
                  </a:lnTo>
                  <a:lnTo>
                    <a:pt x="4967" y="2112"/>
                  </a:lnTo>
                  <a:lnTo>
                    <a:pt x="4922" y="2145"/>
                  </a:lnTo>
                  <a:lnTo>
                    <a:pt x="4918" y="2181"/>
                  </a:lnTo>
                  <a:lnTo>
                    <a:pt x="4939" y="2189"/>
                  </a:lnTo>
                  <a:lnTo>
                    <a:pt x="4964" y="2186"/>
                  </a:lnTo>
                  <a:lnTo>
                    <a:pt x="5000" y="2202"/>
                  </a:lnTo>
                  <a:lnTo>
                    <a:pt x="5023" y="2218"/>
                  </a:lnTo>
                  <a:lnTo>
                    <a:pt x="5016" y="2244"/>
                  </a:lnTo>
                  <a:lnTo>
                    <a:pt x="4978" y="2258"/>
                  </a:lnTo>
                  <a:lnTo>
                    <a:pt x="4922" y="2255"/>
                  </a:lnTo>
                  <a:lnTo>
                    <a:pt x="4880" y="2235"/>
                  </a:lnTo>
                  <a:lnTo>
                    <a:pt x="4867" y="2211"/>
                  </a:lnTo>
                  <a:lnTo>
                    <a:pt x="4884" y="2117"/>
                  </a:lnTo>
                  <a:lnTo>
                    <a:pt x="4876" y="2046"/>
                  </a:lnTo>
                  <a:lnTo>
                    <a:pt x="4839" y="2006"/>
                  </a:lnTo>
                  <a:lnTo>
                    <a:pt x="4806" y="1985"/>
                  </a:lnTo>
                  <a:lnTo>
                    <a:pt x="4729" y="1985"/>
                  </a:lnTo>
                  <a:lnTo>
                    <a:pt x="4668" y="1999"/>
                  </a:lnTo>
                  <a:lnTo>
                    <a:pt x="4637" y="2011"/>
                  </a:lnTo>
                  <a:lnTo>
                    <a:pt x="4627" y="2022"/>
                  </a:lnTo>
                  <a:lnTo>
                    <a:pt x="4616" y="2071"/>
                  </a:lnTo>
                  <a:lnTo>
                    <a:pt x="4643" y="2121"/>
                  </a:lnTo>
                  <a:lnTo>
                    <a:pt x="4653" y="2172"/>
                  </a:lnTo>
                  <a:lnTo>
                    <a:pt x="4651" y="2204"/>
                  </a:lnTo>
                  <a:lnTo>
                    <a:pt x="4612" y="2260"/>
                  </a:lnTo>
                  <a:lnTo>
                    <a:pt x="4576" y="2288"/>
                  </a:lnTo>
                  <a:lnTo>
                    <a:pt x="4558" y="2342"/>
                  </a:lnTo>
                  <a:lnTo>
                    <a:pt x="4546" y="2367"/>
                  </a:lnTo>
                  <a:lnTo>
                    <a:pt x="4496" y="2411"/>
                  </a:lnTo>
                  <a:lnTo>
                    <a:pt x="4436" y="2439"/>
                  </a:lnTo>
                  <a:lnTo>
                    <a:pt x="4423" y="2471"/>
                  </a:lnTo>
                  <a:lnTo>
                    <a:pt x="4402" y="2501"/>
                  </a:lnTo>
                  <a:lnTo>
                    <a:pt x="4361" y="2504"/>
                  </a:lnTo>
                  <a:lnTo>
                    <a:pt x="4309" y="2492"/>
                  </a:lnTo>
                  <a:lnTo>
                    <a:pt x="4281" y="2496"/>
                  </a:lnTo>
                  <a:lnTo>
                    <a:pt x="4232" y="2490"/>
                  </a:lnTo>
                  <a:lnTo>
                    <a:pt x="4162" y="2471"/>
                  </a:lnTo>
                  <a:lnTo>
                    <a:pt x="4130" y="2453"/>
                  </a:lnTo>
                  <a:lnTo>
                    <a:pt x="4105" y="2429"/>
                  </a:lnTo>
                  <a:lnTo>
                    <a:pt x="4096" y="2402"/>
                  </a:lnTo>
                  <a:lnTo>
                    <a:pt x="4123" y="2392"/>
                  </a:lnTo>
                  <a:lnTo>
                    <a:pt x="4166" y="2388"/>
                  </a:lnTo>
                  <a:lnTo>
                    <a:pt x="4197" y="2395"/>
                  </a:lnTo>
                  <a:lnTo>
                    <a:pt x="4268" y="2429"/>
                  </a:lnTo>
                  <a:lnTo>
                    <a:pt x="4318" y="2407"/>
                  </a:lnTo>
                  <a:lnTo>
                    <a:pt x="4337" y="2397"/>
                  </a:lnTo>
                  <a:lnTo>
                    <a:pt x="4323" y="2351"/>
                  </a:lnTo>
                  <a:lnTo>
                    <a:pt x="4346" y="2326"/>
                  </a:lnTo>
                  <a:lnTo>
                    <a:pt x="4374" y="2309"/>
                  </a:lnTo>
                  <a:lnTo>
                    <a:pt x="4464" y="2212"/>
                  </a:lnTo>
                  <a:lnTo>
                    <a:pt x="4479" y="2182"/>
                  </a:lnTo>
                  <a:lnTo>
                    <a:pt x="4496" y="2108"/>
                  </a:lnTo>
                  <a:lnTo>
                    <a:pt x="4518" y="2064"/>
                  </a:lnTo>
                  <a:lnTo>
                    <a:pt x="4518" y="2052"/>
                  </a:lnTo>
                  <a:lnTo>
                    <a:pt x="4509" y="2036"/>
                  </a:lnTo>
                  <a:lnTo>
                    <a:pt x="4465" y="2013"/>
                  </a:lnTo>
                  <a:lnTo>
                    <a:pt x="4444" y="1978"/>
                  </a:lnTo>
                  <a:lnTo>
                    <a:pt x="4432" y="1925"/>
                  </a:lnTo>
                  <a:lnTo>
                    <a:pt x="4435" y="1803"/>
                  </a:lnTo>
                  <a:lnTo>
                    <a:pt x="4426" y="1692"/>
                  </a:lnTo>
                  <a:lnTo>
                    <a:pt x="4451" y="1657"/>
                  </a:lnTo>
                  <a:lnTo>
                    <a:pt x="4457" y="1635"/>
                  </a:lnTo>
                  <a:lnTo>
                    <a:pt x="4448" y="1557"/>
                  </a:lnTo>
                  <a:lnTo>
                    <a:pt x="4435" y="1525"/>
                  </a:lnTo>
                  <a:lnTo>
                    <a:pt x="4395" y="1460"/>
                  </a:lnTo>
                  <a:lnTo>
                    <a:pt x="4361" y="1428"/>
                  </a:lnTo>
                  <a:lnTo>
                    <a:pt x="4371" y="1394"/>
                  </a:lnTo>
                  <a:lnTo>
                    <a:pt x="4431" y="1313"/>
                  </a:lnTo>
                  <a:lnTo>
                    <a:pt x="4446" y="1278"/>
                  </a:lnTo>
                  <a:lnTo>
                    <a:pt x="4465" y="1195"/>
                  </a:lnTo>
                  <a:lnTo>
                    <a:pt x="4465" y="1163"/>
                  </a:lnTo>
                  <a:lnTo>
                    <a:pt x="4452" y="1135"/>
                  </a:lnTo>
                  <a:lnTo>
                    <a:pt x="4427" y="1123"/>
                  </a:lnTo>
                  <a:lnTo>
                    <a:pt x="4379" y="1128"/>
                  </a:lnTo>
                  <a:lnTo>
                    <a:pt x="4348" y="1121"/>
                  </a:lnTo>
                  <a:lnTo>
                    <a:pt x="4207" y="1144"/>
                  </a:lnTo>
                  <a:lnTo>
                    <a:pt x="4137" y="1128"/>
                  </a:lnTo>
                  <a:lnTo>
                    <a:pt x="4121" y="1121"/>
                  </a:lnTo>
                  <a:lnTo>
                    <a:pt x="4093" y="1163"/>
                  </a:lnTo>
                  <a:lnTo>
                    <a:pt x="4070" y="1283"/>
                  </a:lnTo>
                  <a:lnTo>
                    <a:pt x="4044" y="1343"/>
                  </a:lnTo>
                  <a:lnTo>
                    <a:pt x="4021" y="1384"/>
                  </a:lnTo>
                  <a:lnTo>
                    <a:pt x="3972" y="1430"/>
                  </a:lnTo>
                  <a:lnTo>
                    <a:pt x="3907" y="1470"/>
                  </a:lnTo>
                  <a:lnTo>
                    <a:pt x="3890" y="1474"/>
                  </a:lnTo>
                  <a:lnTo>
                    <a:pt x="3874" y="1497"/>
                  </a:lnTo>
                  <a:lnTo>
                    <a:pt x="3859" y="1548"/>
                  </a:lnTo>
                  <a:lnTo>
                    <a:pt x="3870" y="1576"/>
                  </a:lnTo>
                  <a:lnTo>
                    <a:pt x="3920" y="1581"/>
                  </a:lnTo>
                  <a:lnTo>
                    <a:pt x="3929" y="1604"/>
                  </a:lnTo>
                  <a:lnTo>
                    <a:pt x="3933" y="1685"/>
                  </a:lnTo>
                  <a:lnTo>
                    <a:pt x="3928" y="1702"/>
                  </a:lnTo>
                  <a:lnTo>
                    <a:pt x="3919" y="1717"/>
                  </a:lnTo>
                  <a:lnTo>
                    <a:pt x="3888" y="1741"/>
                  </a:lnTo>
                  <a:lnTo>
                    <a:pt x="3875" y="1769"/>
                  </a:lnTo>
                  <a:lnTo>
                    <a:pt x="3872" y="1785"/>
                  </a:lnTo>
                  <a:lnTo>
                    <a:pt x="3879" y="1810"/>
                  </a:lnTo>
                  <a:lnTo>
                    <a:pt x="3968" y="1824"/>
                  </a:lnTo>
                  <a:lnTo>
                    <a:pt x="3999" y="1851"/>
                  </a:lnTo>
                  <a:lnTo>
                    <a:pt x="3998" y="1911"/>
                  </a:lnTo>
                  <a:lnTo>
                    <a:pt x="4014" y="1949"/>
                  </a:lnTo>
                  <a:lnTo>
                    <a:pt x="4039" y="1972"/>
                  </a:lnTo>
                  <a:lnTo>
                    <a:pt x="4058" y="1976"/>
                  </a:lnTo>
                  <a:lnTo>
                    <a:pt x="4097" y="1972"/>
                  </a:lnTo>
                  <a:lnTo>
                    <a:pt x="4087" y="2001"/>
                  </a:lnTo>
                  <a:lnTo>
                    <a:pt x="4037" y="2096"/>
                  </a:lnTo>
                  <a:lnTo>
                    <a:pt x="4027" y="2105"/>
                  </a:lnTo>
                  <a:lnTo>
                    <a:pt x="4010" y="2101"/>
                  </a:lnTo>
                  <a:lnTo>
                    <a:pt x="3850" y="1962"/>
                  </a:lnTo>
                  <a:lnTo>
                    <a:pt x="3730" y="1900"/>
                  </a:lnTo>
                  <a:lnTo>
                    <a:pt x="3682" y="1891"/>
                  </a:lnTo>
                  <a:lnTo>
                    <a:pt x="3589" y="1844"/>
                  </a:lnTo>
                  <a:lnTo>
                    <a:pt x="3429" y="1792"/>
                  </a:lnTo>
                  <a:lnTo>
                    <a:pt x="3306" y="1785"/>
                  </a:lnTo>
                  <a:lnTo>
                    <a:pt x="3289" y="1792"/>
                  </a:lnTo>
                  <a:lnTo>
                    <a:pt x="3258" y="1826"/>
                  </a:lnTo>
                  <a:lnTo>
                    <a:pt x="3241" y="1842"/>
                  </a:lnTo>
                  <a:lnTo>
                    <a:pt x="3302" y="1937"/>
                  </a:lnTo>
                  <a:lnTo>
                    <a:pt x="3297" y="1976"/>
                  </a:lnTo>
                  <a:lnTo>
                    <a:pt x="3279" y="2004"/>
                  </a:lnTo>
                  <a:lnTo>
                    <a:pt x="3256" y="2022"/>
                  </a:lnTo>
                  <a:lnTo>
                    <a:pt x="3212" y="2017"/>
                  </a:lnTo>
                  <a:lnTo>
                    <a:pt x="3197" y="2024"/>
                  </a:lnTo>
                  <a:lnTo>
                    <a:pt x="3195" y="2061"/>
                  </a:lnTo>
                  <a:lnTo>
                    <a:pt x="3181" y="2082"/>
                  </a:lnTo>
                  <a:lnTo>
                    <a:pt x="3156" y="2082"/>
                  </a:lnTo>
                  <a:lnTo>
                    <a:pt x="3128" y="2071"/>
                  </a:lnTo>
                  <a:lnTo>
                    <a:pt x="3119" y="2062"/>
                  </a:lnTo>
                  <a:lnTo>
                    <a:pt x="3113" y="2041"/>
                  </a:lnTo>
                  <a:lnTo>
                    <a:pt x="3142" y="1999"/>
                  </a:lnTo>
                  <a:lnTo>
                    <a:pt x="3126" y="1985"/>
                  </a:lnTo>
                  <a:lnTo>
                    <a:pt x="3085" y="1967"/>
                  </a:lnTo>
                  <a:lnTo>
                    <a:pt x="3049" y="1972"/>
                  </a:lnTo>
                  <a:lnTo>
                    <a:pt x="3005" y="1999"/>
                  </a:lnTo>
                  <a:lnTo>
                    <a:pt x="2962" y="2041"/>
                  </a:lnTo>
                  <a:lnTo>
                    <a:pt x="2947" y="2048"/>
                  </a:lnTo>
                  <a:lnTo>
                    <a:pt x="2913" y="2050"/>
                  </a:lnTo>
                  <a:lnTo>
                    <a:pt x="2865" y="2029"/>
                  </a:lnTo>
                  <a:lnTo>
                    <a:pt x="2832" y="2027"/>
                  </a:lnTo>
                  <a:lnTo>
                    <a:pt x="2786" y="2032"/>
                  </a:lnTo>
                  <a:lnTo>
                    <a:pt x="2747" y="2043"/>
                  </a:lnTo>
                  <a:lnTo>
                    <a:pt x="2728" y="2061"/>
                  </a:lnTo>
                  <a:lnTo>
                    <a:pt x="2714" y="2099"/>
                  </a:lnTo>
                  <a:lnTo>
                    <a:pt x="2702" y="2119"/>
                  </a:lnTo>
                  <a:lnTo>
                    <a:pt x="2690" y="2131"/>
                  </a:lnTo>
                  <a:lnTo>
                    <a:pt x="2680" y="2126"/>
                  </a:lnTo>
                  <a:lnTo>
                    <a:pt x="2673" y="2108"/>
                  </a:lnTo>
                  <a:lnTo>
                    <a:pt x="2653" y="2108"/>
                  </a:lnTo>
                  <a:lnTo>
                    <a:pt x="2579" y="2131"/>
                  </a:lnTo>
                  <a:lnTo>
                    <a:pt x="2550" y="2114"/>
                  </a:lnTo>
                  <a:lnTo>
                    <a:pt x="2550" y="2094"/>
                  </a:lnTo>
                  <a:lnTo>
                    <a:pt x="2557" y="2080"/>
                  </a:lnTo>
                  <a:lnTo>
                    <a:pt x="2595" y="2073"/>
                  </a:lnTo>
                  <a:lnTo>
                    <a:pt x="2598" y="2018"/>
                  </a:lnTo>
                  <a:lnTo>
                    <a:pt x="2606" y="1981"/>
                  </a:lnTo>
                  <a:lnTo>
                    <a:pt x="2567" y="1976"/>
                  </a:lnTo>
                  <a:lnTo>
                    <a:pt x="2537" y="1988"/>
                  </a:lnTo>
                  <a:lnTo>
                    <a:pt x="2518" y="2004"/>
                  </a:lnTo>
                  <a:lnTo>
                    <a:pt x="2513" y="2046"/>
                  </a:lnTo>
                  <a:lnTo>
                    <a:pt x="2491" y="2069"/>
                  </a:lnTo>
                  <a:lnTo>
                    <a:pt x="2465" y="2080"/>
                  </a:lnTo>
                  <a:lnTo>
                    <a:pt x="2453" y="2073"/>
                  </a:lnTo>
                  <a:lnTo>
                    <a:pt x="2444" y="2031"/>
                  </a:lnTo>
                  <a:lnTo>
                    <a:pt x="2404" y="2059"/>
                  </a:lnTo>
                  <a:lnTo>
                    <a:pt x="2145" y="2174"/>
                  </a:lnTo>
                  <a:lnTo>
                    <a:pt x="2091" y="2211"/>
                  </a:lnTo>
                  <a:lnTo>
                    <a:pt x="2037" y="2228"/>
                  </a:lnTo>
                  <a:lnTo>
                    <a:pt x="2023" y="2265"/>
                  </a:lnTo>
                  <a:lnTo>
                    <a:pt x="2000" y="2362"/>
                  </a:lnTo>
                  <a:lnTo>
                    <a:pt x="1986" y="2376"/>
                  </a:lnTo>
                  <a:lnTo>
                    <a:pt x="1872" y="2395"/>
                  </a:lnTo>
                  <a:lnTo>
                    <a:pt x="1839" y="2386"/>
                  </a:lnTo>
                  <a:lnTo>
                    <a:pt x="1804" y="2370"/>
                  </a:lnTo>
                  <a:lnTo>
                    <a:pt x="1772" y="2321"/>
                  </a:lnTo>
                  <a:lnTo>
                    <a:pt x="1730" y="2294"/>
                  </a:lnTo>
                  <a:lnTo>
                    <a:pt x="1721" y="2278"/>
                  </a:lnTo>
                  <a:lnTo>
                    <a:pt x="1744" y="2232"/>
                  </a:lnTo>
                  <a:lnTo>
                    <a:pt x="1779" y="2212"/>
                  </a:lnTo>
                  <a:lnTo>
                    <a:pt x="1895" y="2200"/>
                  </a:lnTo>
                  <a:lnTo>
                    <a:pt x="1875" y="2159"/>
                  </a:lnTo>
                  <a:lnTo>
                    <a:pt x="1819" y="2064"/>
                  </a:lnTo>
                  <a:lnTo>
                    <a:pt x="1790" y="2052"/>
                  </a:lnTo>
                  <a:lnTo>
                    <a:pt x="1702" y="2062"/>
                  </a:lnTo>
                  <a:lnTo>
                    <a:pt x="1638" y="2041"/>
                  </a:lnTo>
                  <a:lnTo>
                    <a:pt x="1622" y="2046"/>
                  </a:lnTo>
                  <a:lnTo>
                    <a:pt x="1618" y="2075"/>
                  </a:lnTo>
                  <a:lnTo>
                    <a:pt x="1653" y="2121"/>
                  </a:lnTo>
                  <a:lnTo>
                    <a:pt x="1662" y="2175"/>
                  </a:lnTo>
                  <a:lnTo>
                    <a:pt x="1658" y="2196"/>
                  </a:lnTo>
                  <a:lnTo>
                    <a:pt x="1606" y="2286"/>
                  </a:lnTo>
                  <a:lnTo>
                    <a:pt x="1621" y="2308"/>
                  </a:lnTo>
                  <a:lnTo>
                    <a:pt x="1658" y="2323"/>
                  </a:lnTo>
                  <a:lnTo>
                    <a:pt x="1672" y="2358"/>
                  </a:lnTo>
                  <a:lnTo>
                    <a:pt x="1674" y="2416"/>
                  </a:lnTo>
                  <a:lnTo>
                    <a:pt x="1649" y="2483"/>
                  </a:lnTo>
                  <a:lnTo>
                    <a:pt x="1641" y="2527"/>
                  </a:lnTo>
                  <a:lnTo>
                    <a:pt x="1639" y="2533"/>
                  </a:lnTo>
                  <a:lnTo>
                    <a:pt x="1625" y="2533"/>
                  </a:lnTo>
                  <a:lnTo>
                    <a:pt x="1563" y="2487"/>
                  </a:lnTo>
                  <a:lnTo>
                    <a:pt x="1461" y="2455"/>
                  </a:lnTo>
                  <a:lnTo>
                    <a:pt x="1453" y="2460"/>
                  </a:lnTo>
                  <a:lnTo>
                    <a:pt x="1404" y="2522"/>
                  </a:lnTo>
                  <a:lnTo>
                    <a:pt x="1377" y="2543"/>
                  </a:lnTo>
                  <a:lnTo>
                    <a:pt x="1248" y="2612"/>
                  </a:lnTo>
                  <a:lnTo>
                    <a:pt x="1240" y="2616"/>
                  </a:lnTo>
                  <a:lnTo>
                    <a:pt x="1226" y="2644"/>
                  </a:lnTo>
                  <a:lnTo>
                    <a:pt x="1242" y="2697"/>
                  </a:lnTo>
                  <a:lnTo>
                    <a:pt x="1279" y="2753"/>
                  </a:lnTo>
                  <a:lnTo>
                    <a:pt x="1290" y="2774"/>
                  </a:lnTo>
                  <a:lnTo>
                    <a:pt x="1287" y="2810"/>
                  </a:lnTo>
                  <a:lnTo>
                    <a:pt x="1275" y="2827"/>
                  </a:lnTo>
                  <a:lnTo>
                    <a:pt x="1244" y="2813"/>
                  </a:lnTo>
                  <a:lnTo>
                    <a:pt x="1207" y="2826"/>
                  </a:lnTo>
                  <a:lnTo>
                    <a:pt x="1165" y="2819"/>
                  </a:lnTo>
                  <a:lnTo>
                    <a:pt x="1009" y="2755"/>
                  </a:lnTo>
                  <a:lnTo>
                    <a:pt x="959" y="2714"/>
                  </a:lnTo>
                  <a:lnTo>
                    <a:pt x="938" y="2714"/>
                  </a:lnTo>
                  <a:lnTo>
                    <a:pt x="907" y="2771"/>
                  </a:lnTo>
                  <a:lnTo>
                    <a:pt x="950" y="2838"/>
                  </a:lnTo>
                  <a:lnTo>
                    <a:pt x="975" y="2856"/>
                  </a:lnTo>
                  <a:lnTo>
                    <a:pt x="995" y="2859"/>
                  </a:lnTo>
                  <a:lnTo>
                    <a:pt x="1016" y="2850"/>
                  </a:lnTo>
                  <a:lnTo>
                    <a:pt x="1036" y="2857"/>
                  </a:lnTo>
                  <a:lnTo>
                    <a:pt x="1053" y="2891"/>
                  </a:lnTo>
                  <a:lnTo>
                    <a:pt x="1053" y="2917"/>
                  </a:lnTo>
                  <a:lnTo>
                    <a:pt x="1042" y="2942"/>
                  </a:lnTo>
                  <a:lnTo>
                    <a:pt x="1008" y="2951"/>
                  </a:lnTo>
                  <a:lnTo>
                    <a:pt x="991" y="2961"/>
                  </a:lnTo>
                  <a:lnTo>
                    <a:pt x="949" y="2944"/>
                  </a:lnTo>
                  <a:lnTo>
                    <a:pt x="893" y="2937"/>
                  </a:lnTo>
                  <a:lnTo>
                    <a:pt x="874" y="2930"/>
                  </a:lnTo>
                  <a:lnTo>
                    <a:pt x="853" y="2879"/>
                  </a:lnTo>
                  <a:lnTo>
                    <a:pt x="815" y="2868"/>
                  </a:lnTo>
                  <a:lnTo>
                    <a:pt x="762" y="2861"/>
                  </a:lnTo>
                  <a:lnTo>
                    <a:pt x="742" y="2847"/>
                  </a:lnTo>
                  <a:lnTo>
                    <a:pt x="735" y="2829"/>
                  </a:lnTo>
                  <a:lnTo>
                    <a:pt x="731" y="2787"/>
                  </a:lnTo>
                  <a:lnTo>
                    <a:pt x="697" y="2706"/>
                  </a:lnTo>
                  <a:lnTo>
                    <a:pt x="688" y="2661"/>
                  </a:lnTo>
                  <a:lnTo>
                    <a:pt x="685" y="2651"/>
                  </a:lnTo>
                  <a:lnTo>
                    <a:pt x="714" y="2635"/>
                  </a:lnTo>
                  <a:lnTo>
                    <a:pt x="726" y="2609"/>
                  </a:lnTo>
                  <a:lnTo>
                    <a:pt x="726" y="2575"/>
                  </a:lnTo>
                  <a:lnTo>
                    <a:pt x="709" y="2534"/>
                  </a:lnTo>
                  <a:lnTo>
                    <a:pt x="680" y="2513"/>
                  </a:lnTo>
                  <a:lnTo>
                    <a:pt x="640" y="2499"/>
                  </a:lnTo>
                  <a:lnTo>
                    <a:pt x="603" y="2474"/>
                  </a:lnTo>
                  <a:lnTo>
                    <a:pt x="554" y="2422"/>
                  </a:lnTo>
                  <a:lnTo>
                    <a:pt x="534" y="2409"/>
                  </a:lnTo>
                  <a:lnTo>
                    <a:pt x="501" y="2362"/>
                  </a:lnTo>
                  <a:lnTo>
                    <a:pt x="481" y="2342"/>
                  </a:lnTo>
                  <a:lnTo>
                    <a:pt x="524" y="2332"/>
                  </a:lnTo>
                  <a:lnTo>
                    <a:pt x="558" y="2342"/>
                  </a:lnTo>
                  <a:lnTo>
                    <a:pt x="574" y="2358"/>
                  </a:lnTo>
                  <a:lnTo>
                    <a:pt x="600" y="2399"/>
                  </a:lnTo>
                  <a:lnTo>
                    <a:pt x="670" y="2413"/>
                  </a:lnTo>
                  <a:lnTo>
                    <a:pt x="828" y="2485"/>
                  </a:lnTo>
                  <a:lnTo>
                    <a:pt x="1053" y="2534"/>
                  </a:lnTo>
                  <a:lnTo>
                    <a:pt x="1125" y="2534"/>
                  </a:lnTo>
                  <a:lnTo>
                    <a:pt x="1165" y="2527"/>
                  </a:lnTo>
                  <a:lnTo>
                    <a:pt x="1242" y="2496"/>
                  </a:lnTo>
                  <a:lnTo>
                    <a:pt x="1278" y="2473"/>
                  </a:lnTo>
                  <a:lnTo>
                    <a:pt x="1326" y="2427"/>
                  </a:lnTo>
                  <a:lnTo>
                    <a:pt x="1356" y="2383"/>
                  </a:lnTo>
                  <a:lnTo>
                    <a:pt x="1367" y="2353"/>
                  </a:lnTo>
                  <a:lnTo>
                    <a:pt x="1363" y="2326"/>
                  </a:lnTo>
                  <a:lnTo>
                    <a:pt x="1343" y="2299"/>
                  </a:lnTo>
                  <a:lnTo>
                    <a:pt x="1338" y="2274"/>
                  </a:lnTo>
                  <a:lnTo>
                    <a:pt x="1340" y="2234"/>
                  </a:lnTo>
                  <a:lnTo>
                    <a:pt x="1326" y="2209"/>
                  </a:lnTo>
                  <a:lnTo>
                    <a:pt x="1236" y="2152"/>
                  </a:lnTo>
                  <a:lnTo>
                    <a:pt x="1114" y="2112"/>
                  </a:lnTo>
                  <a:lnTo>
                    <a:pt x="1088" y="2092"/>
                  </a:lnTo>
                  <a:lnTo>
                    <a:pt x="1017" y="2013"/>
                  </a:lnTo>
                  <a:lnTo>
                    <a:pt x="974" y="1981"/>
                  </a:lnTo>
                  <a:lnTo>
                    <a:pt x="796" y="1907"/>
                  </a:lnTo>
                  <a:lnTo>
                    <a:pt x="620" y="1895"/>
                  </a:lnTo>
                  <a:lnTo>
                    <a:pt x="588" y="1923"/>
                  </a:lnTo>
                  <a:lnTo>
                    <a:pt x="586" y="1868"/>
                  </a:lnTo>
                  <a:lnTo>
                    <a:pt x="517" y="1851"/>
                  </a:lnTo>
                  <a:lnTo>
                    <a:pt x="493" y="1833"/>
                  </a:lnTo>
                  <a:lnTo>
                    <a:pt x="479" y="1807"/>
                  </a:lnTo>
                  <a:lnTo>
                    <a:pt x="467" y="1769"/>
                  </a:lnTo>
                  <a:lnTo>
                    <a:pt x="467" y="1755"/>
                  </a:lnTo>
                  <a:lnTo>
                    <a:pt x="439" y="1778"/>
                  </a:lnTo>
                  <a:lnTo>
                    <a:pt x="394" y="1801"/>
                  </a:lnTo>
                  <a:lnTo>
                    <a:pt x="366" y="1807"/>
                  </a:lnTo>
                  <a:lnTo>
                    <a:pt x="349" y="1833"/>
                  </a:lnTo>
                  <a:lnTo>
                    <a:pt x="326" y="1852"/>
                  </a:lnTo>
                  <a:lnTo>
                    <a:pt x="291" y="1854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32" name="Freeform 69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2445" y="2289"/>
              <a:ext cx="123" cy="113"/>
            </a:xfrm>
            <a:custGeom>
              <a:avLst/>
              <a:gdLst>
                <a:gd name="T0" fmla="*/ 349 w 822"/>
                <a:gd name="T1" fmla="*/ 95 h 779"/>
                <a:gd name="T2" fmla="*/ 333 w 822"/>
                <a:gd name="T3" fmla="*/ 122 h 779"/>
                <a:gd name="T4" fmla="*/ 296 w 822"/>
                <a:gd name="T5" fmla="*/ 152 h 779"/>
                <a:gd name="T6" fmla="*/ 277 w 822"/>
                <a:gd name="T7" fmla="*/ 162 h 779"/>
                <a:gd name="T8" fmla="*/ 260 w 822"/>
                <a:gd name="T9" fmla="*/ 182 h 779"/>
                <a:gd name="T10" fmla="*/ 232 w 822"/>
                <a:gd name="T11" fmla="*/ 242 h 779"/>
                <a:gd name="T12" fmla="*/ 219 w 822"/>
                <a:gd name="T13" fmla="*/ 304 h 779"/>
                <a:gd name="T14" fmla="*/ 215 w 822"/>
                <a:gd name="T15" fmla="*/ 356 h 779"/>
                <a:gd name="T16" fmla="*/ 200 w 822"/>
                <a:gd name="T17" fmla="*/ 382 h 779"/>
                <a:gd name="T18" fmla="*/ 138 w 822"/>
                <a:gd name="T19" fmla="*/ 447 h 779"/>
                <a:gd name="T20" fmla="*/ 128 w 822"/>
                <a:gd name="T21" fmla="*/ 461 h 779"/>
                <a:gd name="T22" fmla="*/ 65 w 822"/>
                <a:gd name="T23" fmla="*/ 631 h 779"/>
                <a:gd name="T24" fmla="*/ 21 w 822"/>
                <a:gd name="T25" fmla="*/ 692 h 779"/>
                <a:gd name="T26" fmla="*/ 3 w 822"/>
                <a:gd name="T27" fmla="*/ 742 h 779"/>
                <a:gd name="T28" fmla="*/ 0 w 822"/>
                <a:gd name="T29" fmla="*/ 775 h 779"/>
                <a:gd name="T30" fmla="*/ 392 w 822"/>
                <a:gd name="T31" fmla="*/ 779 h 779"/>
                <a:gd name="T32" fmla="*/ 383 w 822"/>
                <a:gd name="T33" fmla="*/ 595 h 779"/>
                <a:gd name="T34" fmla="*/ 394 w 822"/>
                <a:gd name="T35" fmla="*/ 574 h 779"/>
                <a:gd name="T36" fmla="*/ 419 w 822"/>
                <a:gd name="T37" fmla="*/ 550 h 779"/>
                <a:gd name="T38" fmla="*/ 487 w 822"/>
                <a:gd name="T39" fmla="*/ 518 h 779"/>
                <a:gd name="T40" fmla="*/ 493 w 822"/>
                <a:gd name="T41" fmla="*/ 509 h 779"/>
                <a:gd name="T42" fmla="*/ 500 w 822"/>
                <a:gd name="T43" fmla="*/ 238 h 779"/>
                <a:gd name="T44" fmla="*/ 504 w 822"/>
                <a:gd name="T45" fmla="*/ 210 h 779"/>
                <a:gd name="T46" fmla="*/ 527 w 822"/>
                <a:gd name="T47" fmla="*/ 205 h 779"/>
                <a:gd name="T48" fmla="*/ 818 w 822"/>
                <a:gd name="T49" fmla="*/ 206 h 779"/>
                <a:gd name="T50" fmla="*/ 822 w 822"/>
                <a:gd name="T51" fmla="*/ 185 h 779"/>
                <a:gd name="T52" fmla="*/ 822 w 822"/>
                <a:gd name="T53" fmla="*/ 0 h 779"/>
                <a:gd name="T54" fmla="*/ 382 w 822"/>
                <a:gd name="T55" fmla="*/ 2 h 779"/>
                <a:gd name="T56" fmla="*/ 349 w 822"/>
                <a:gd name="T57" fmla="*/ 95 h 77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822"/>
                <a:gd name="T88" fmla="*/ 0 h 779"/>
                <a:gd name="T89" fmla="*/ 822 w 822"/>
                <a:gd name="T90" fmla="*/ 779 h 779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822" h="779">
                  <a:moveTo>
                    <a:pt x="349" y="95"/>
                  </a:moveTo>
                  <a:lnTo>
                    <a:pt x="333" y="122"/>
                  </a:lnTo>
                  <a:lnTo>
                    <a:pt x="296" y="152"/>
                  </a:lnTo>
                  <a:lnTo>
                    <a:pt x="277" y="162"/>
                  </a:lnTo>
                  <a:lnTo>
                    <a:pt x="260" y="182"/>
                  </a:lnTo>
                  <a:lnTo>
                    <a:pt x="232" y="242"/>
                  </a:lnTo>
                  <a:lnTo>
                    <a:pt x="219" y="304"/>
                  </a:lnTo>
                  <a:lnTo>
                    <a:pt x="215" y="356"/>
                  </a:lnTo>
                  <a:lnTo>
                    <a:pt x="200" y="382"/>
                  </a:lnTo>
                  <a:lnTo>
                    <a:pt x="138" y="447"/>
                  </a:lnTo>
                  <a:lnTo>
                    <a:pt x="128" y="461"/>
                  </a:lnTo>
                  <a:lnTo>
                    <a:pt x="65" y="631"/>
                  </a:lnTo>
                  <a:lnTo>
                    <a:pt x="21" y="692"/>
                  </a:lnTo>
                  <a:lnTo>
                    <a:pt x="3" y="742"/>
                  </a:lnTo>
                  <a:lnTo>
                    <a:pt x="0" y="775"/>
                  </a:lnTo>
                  <a:lnTo>
                    <a:pt x="392" y="779"/>
                  </a:lnTo>
                  <a:lnTo>
                    <a:pt x="383" y="595"/>
                  </a:lnTo>
                  <a:lnTo>
                    <a:pt x="394" y="574"/>
                  </a:lnTo>
                  <a:lnTo>
                    <a:pt x="419" y="550"/>
                  </a:lnTo>
                  <a:lnTo>
                    <a:pt x="487" y="518"/>
                  </a:lnTo>
                  <a:lnTo>
                    <a:pt x="493" y="509"/>
                  </a:lnTo>
                  <a:lnTo>
                    <a:pt x="500" y="238"/>
                  </a:lnTo>
                  <a:lnTo>
                    <a:pt x="504" y="210"/>
                  </a:lnTo>
                  <a:lnTo>
                    <a:pt x="527" y="205"/>
                  </a:lnTo>
                  <a:lnTo>
                    <a:pt x="818" y="206"/>
                  </a:lnTo>
                  <a:lnTo>
                    <a:pt x="822" y="185"/>
                  </a:lnTo>
                  <a:lnTo>
                    <a:pt x="822" y="0"/>
                  </a:lnTo>
                  <a:lnTo>
                    <a:pt x="382" y="2"/>
                  </a:lnTo>
                  <a:lnTo>
                    <a:pt x="349" y="95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33" name="Freeform 70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2517" y="2335"/>
              <a:ext cx="241" cy="269"/>
            </a:xfrm>
            <a:custGeom>
              <a:avLst/>
              <a:gdLst>
                <a:gd name="T0" fmla="*/ 204 w 1612"/>
                <a:gd name="T1" fmla="*/ 1179 h 1803"/>
                <a:gd name="T2" fmla="*/ 146 w 1612"/>
                <a:gd name="T3" fmla="*/ 1176 h 1803"/>
                <a:gd name="T4" fmla="*/ 144 w 1612"/>
                <a:gd name="T5" fmla="*/ 1206 h 1803"/>
                <a:gd name="T6" fmla="*/ 115 w 1612"/>
                <a:gd name="T7" fmla="*/ 1193 h 1803"/>
                <a:gd name="T8" fmla="*/ 78 w 1612"/>
                <a:gd name="T9" fmla="*/ 1142 h 1803"/>
                <a:gd name="T10" fmla="*/ 49 w 1612"/>
                <a:gd name="T11" fmla="*/ 1160 h 1803"/>
                <a:gd name="T12" fmla="*/ 41 w 1612"/>
                <a:gd name="T13" fmla="*/ 1222 h 1803"/>
                <a:gd name="T14" fmla="*/ 0 w 1612"/>
                <a:gd name="T15" fmla="*/ 1278 h 1803"/>
                <a:gd name="T16" fmla="*/ 29 w 1612"/>
                <a:gd name="T17" fmla="*/ 1399 h 1803"/>
                <a:gd name="T18" fmla="*/ 61 w 1612"/>
                <a:gd name="T19" fmla="*/ 1425 h 1803"/>
                <a:gd name="T20" fmla="*/ 77 w 1612"/>
                <a:gd name="T21" fmla="*/ 1489 h 1803"/>
                <a:gd name="T22" fmla="*/ 73 w 1612"/>
                <a:gd name="T23" fmla="*/ 1526 h 1803"/>
                <a:gd name="T24" fmla="*/ 126 w 1612"/>
                <a:gd name="T25" fmla="*/ 1575 h 1803"/>
                <a:gd name="T26" fmla="*/ 159 w 1612"/>
                <a:gd name="T27" fmla="*/ 1575 h 1803"/>
                <a:gd name="T28" fmla="*/ 196 w 1612"/>
                <a:gd name="T29" fmla="*/ 1556 h 1803"/>
                <a:gd name="T30" fmla="*/ 256 w 1612"/>
                <a:gd name="T31" fmla="*/ 1560 h 1803"/>
                <a:gd name="T32" fmla="*/ 299 w 1612"/>
                <a:gd name="T33" fmla="*/ 1519 h 1803"/>
                <a:gd name="T34" fmla="*/ 324 w 1612"/>
                <a:gd name="T35" fmla="*/ 1537 h 1803"/>
                <a:gd name="T36" fmla="*/ 338 w 1612"/>
                <a:gd name="T37" fmla="*/ 1598 h 1803"/>
                <a:gd name="T38" fmla="*/ 370 w 1612"/>
                <a:gd name="T39" fmla="*/ 1648 h 1803"/>
                <a:gd name="T40" fmla="*/ 393 w 1612"/>
                <a:gd name="T41" fmla="*/ 1747 h 1803"/>
                <a:gd name="T42" fmla="*/ 441 w 1612"/>
                <a:gd name="T43" fmla="*/ 1766 h 1803"/>
                <a:gd name="T44" fmla="*/ 481 w 1612"/>
                <a:gd name="T45" fmla="*/ 1780 h 1803"/>
                <a:gd name="T46" fmla="*/ 517 w 1612"/>
                <a:gd name="T47" fmla="*/ 1791 h 1803"/>
                <a:gd name="T48" fmla="*/ 559 w 1612"/>
                <a:gd name="T49" fmla="*/ 1741 h 1803"/>
                <a:gd name="T50" fmla="*/ 580 w 1612"/>
                <a:gd name="T51" fmla="*/ 1736 h 1803"/>
                <a:gd name="T52" fmla="*/ 587 w 1612"/>
                <a:gd name="T53" fmla="*/ 1764 h 1803"/>
                <a:gd name="T54" fmla="*/ 599 w 1612"/>
                <a:gd name="T55" fmla="*/ 1796 h 1803"/>
                <a:gd name="T56" fmla="*/ 652 w 1612"/>
                <a:gd name="T57" fmla="*/ 1764 h 1803"/>
                <a:gd name="T58" fmla="*/ 661 w 1612"/>
                <a:gd name="T59" fmla="*/ 1739 h 1803"/>
                <a:gd name="T60" fmla="*/ 678 w 1612"/>
                <a:gd name="T61" fmla="*/ 1644 h 1803"/>
                <a:gd name="T62" fmla="*/ 683 w 1612"/>
                <a:gd name="T63" fmla="*/ 1590 h 1803"/>
                <a:gd name="T64" fmla="*/ 714 w 1612"/>
                <a:gd name="T65" fmla="*/ 1581 h 1803"/>
                <a:gd name="T66" fmla="*/ 751 w 1612"/>
                <a:gd name="T67" fmla="*/ 1547 h 1803"/>
                <a:gd name="T68" fmla="*/ 797 w 1612"/>
                <a:gd name="T69" fmla="*/ 1406 h 1803"/>
                <a:gd name="T70" fmla="*/ 823 w 1612"/>
                <a:gd name="T71" fmla="*/ 1417 h 1803"/>
                <a:gd name="T72" fmla="*/ 867 w 1612"/>
                <a:gd name="T73" fmla="*/ 1431 h 1803"/>
                <a:gd name="T74" fmla="*/ 893 w 1612"/>
                <a:gd name="T75" fmla="*/ 1375 h 1803"/>
                <a:gd name="T76" fmla="*/ 942 w 1612"/>
                <a:gd name="T77" fmla="*/ 1305 h 1803"/>
                <a:gd name="T78" fmla="*/ 992 w 1612"/>
                <a:gd name="T79" fmla="*/ 1320 h 1803"/>
                <a:gd name="T80" fmla="*/ 1017 w 1612"/>
                <a:gd name="T81" fmla="*/ 1280 h 1803"/>
                <a:gd name="T82" fmla="*/ 1127 w 1612"/>
                <a:gd name="T83" fmla="*/ 1204 h 1803"/>
                <a:gd name="T84" fmla="*/ 1158 w 1612"/>
                <a:gd name="T85" fmla="*/ 1208 h 1803"/>
                <a:gd name="T86" fmla="*/ 1277 w 1612"/>
                <a:gd name="T87" fmla="*/ 1227 h 1803"/>
                <a:gd name="T88" fmla="*/ 1327 w 1612"/>
                <a:gd name="T89" fmla="*/ 1190 h 1803"/>
                <a:gd name="T90" fmla="*/ 1527 w 1612"/>
                <a:gd name="T91" fmla="*/ 1174 h 1803"/>
                <a:gd name="T92" fmla="*/ 1555 w 1612"/>
                <a:gd name="T93" fmla="*/ 1153 h 1803"/>
                <a:gd name="T94" fmla="*/ 1601 w 1612"/>
                <a:gd name="T95" fmla="*/ 1043 h 1803"/>
                <a:gd name="T96" fmla="*/ 1608 w 1612"/>
                <a:gd name="T97" fmla="*/ 719 h 1803"/>
                <a:gd name="T98" fmla="*/ 1503 w 1612"/>
                <a:gd name="T99" fmla="*/ 710 h 1803"/>
                <a:gd name="T100" fmla="*/ 1506 w 1612"/>
                <a:gd name="T101" fmla="*/ 644 h 1803"/>
                <a:gd name="T102" fmla="*/ 1481 w 1612"/>
                <a:gd name="T103" fmla="*/ 619 h 1803"/>
                <a:gd name="T104" fmla="*/ 1431 w 1612"/>
                <a:gd name="T105" fmla="*/ 609 h 1803"/>
                <a:gd name="T106" fmla="*/ 1385 w 1612"/>
                <a:gd name="T107" fmla="*/ 594 h 1803"/>
                <a:gd name="T108" fmla="*/ 1326 w 1612"/>
                <a:gd name="T109" fmla="*/ 536 h 1803"/>
                <a:gd name="T110" fmla="*/ 1305 w 1612"/>
                <a:gd name="T111" fmla="*/ 512 h 1803"/>
                <a:gd name="T112" fmla="*/ 1301 w 1612"/>
                <a:gd name="T113" fmla="*/ 476 h 1803"/>
                <a:gd name="T114" fmla="*/ 718 w 1612"/>
                <a:gd name="T115" fmla="*/ 0 h 1803"/>
                <a:gd name="T116" fmla="*/ 551 w 1612"/>
                <a:gd name="T117" fmla="*/ 12 h 1803"/>
                <a:gd name="T118" fmla="*/ 673 w 1612"/>
                <a:gd name="T119" fmla="*/ 1073 h 1803"/>
                <a:gd name="T120" fmla="*/ 286 w 1612"/>
                <a:gd name="T121" fmla="*/ 1162 h 1803"/>
                <a:gd name="T122" fmla="*/ 226 w 1612"/>
                <a:gd name="T123" fmla="*/ 1181 h 180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612"/>
                <a:gd name="T187" fmla="*/ 0 h 1803"/>
                <a:gd name="T188" fmla="*/ 1612 w 1612"/>
                <a:gd name="T189" fmla="*/ 1803 h 1803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612" h="1803">
                  <a:moveTo>
                    <a:pt x="226" y="1181"/>
                  </a:moveTo>
                  <a:lnTo>
                    <a:pt x="204" y="1179"/>
                  </a:lnTo>
                  <a:lnTo>
                    <a:pt x="148" y="1165"/>
                  </a:lnTo>
                  <a:lnTo>
                    <a:pt x="146" y="1176"/>
                  </a:lnTo>
                  <a:lnTo>
                    <a:pt x="148" y="1192"/>
                  </a:lnTo>
                  <a:lnTo>
                    <a:pt x="144" y="1206"/>
                  </a:lnTo>
                  <a:lnTo>
                    <a:pt x="123" y="1202"/>
                  </a:lnTo>
                  <a:lnTo>
                    <a:pt x="115" y="1193"/>
                  </a:lnTo>
                  <a:lnTo>
                    <a:pt x="90" y="1149"/>
                  </a:lnTo>
                  <a:lnTo>
                    <a:pt x="78" y="1142"/>
                  </a:lnTo>
                  <a:lnTo>
                    <a:pt x="60" y="1146"/>
                  </a:lnTo>
                  <a:lnTo>
                    <a:pt x="49" y="1160"/>
                  </a:lnTo>
                  <a:lnTo>
                    <a:pt x="42" y="1190"/>
                  </a:lnTo>
                  <a:lnTo>
                    <a:pt x="41" y="1222"/>
                  </a:lnTo>
                  <a:lnTo>
                    <a:pt x="4" y="1259"/>
                  </a:lnTo>
                  <a:lnTo>
                    <a:pt x="0" y="1278"/>
                  </a:lnTo>
                  <a:lnTo>
                    <a:pt x="18" y="1372"/>
                  </a:lnTo>
                  <a:lnTo>
                    <a:pt x="29" y="1399"/>
                  </a:lnTo>
                  <a:lnTo>
                    <a:pt x="36" y="1410"/>
                  </a:lnTo>
                  <a:lnTo>
                    <a:pt x="61" y="1425"/>
                  </a:lnTo>
                  <a:lnTo>
                    <a:pt x="72" y="1445"/>
                  </a:lnTo>
                  <a:lnTo>
                    <a:pt x="77" y="1489"/>
                  </a:lnTo>
                  <a:lnTo>
                    <a:pt x="77" y="1519"/>
                  </a:lnTo>
                  <a:lnTo>
                    <a:pt x="73" y="1526"/>
                  </a:lnTo>
                  <a:lnTo>
                    <a:pt x="78" y="1528"/>
                  </a:lnTo>
                  <a:lnTo>
                    <a:pt x="126" y="1575"/>
                  </a:lnTo>
                  <a:lnTo>
                    <a:pt x="148" y="1590"/>
                  </a:lnTo>
                  <a:lnTo>
                    <a:pt x="159" y="1575"/>
                  </a:lnTo>
                  <a:lnTo>
                    <a:pt x="180" y="1554"/>
                  </a:lnTo>
                  <a:lnTo>
                    <a:pt x="196" y="1556"/>
                  </a:lnTo>
                  <a:lnTo>
                    <a:pt x="237" y="1572"/>
                  </a:lnTo>
                  <a:lnTo>
                    <a:pt x="256" y="1560"/>
                  </a:lnTo>
                  <a:lnTo>
                    <a:pt x="269" y="1542"/>
                  </a:lnTo>
                  <a:lnTo>
                    <a:pt x="299" y="1519"/>
                  </a:lnTo>
                  <a:lnTo>
                    <a:pt x="314" y="1521"/>
                  </a:lnTo>
                  <a:lnTo>
                    <a:pt x="324" y="1537"/>
                  </a:lnTo>
                  <a:lnTo>
                    <a:pt x="326" y="1554"/>
                  </a:lnTo>
                  <a:lnTo>
                    <a:pt x="338" y="1598"/>
                  </a:lnTo>
                  <a:lnTo>
                    <a:pt x="350" y="1623"/>
                  </a:lnTo>
                  <a:lnTo>
                    <a:pt x="370" y="1648"/>
                  </a:lnTo>
                  <a:lnTo>
                    <a:pt x="385" y="1687"/>
                  </a:lnTo>
                  <a:lnTo>
                    <a:pt x="393" y="1747"/>
                  </a:lnTo>
                  <a:lnTo>
                    <a:pt x="417" y="1794"/>
                  </a:lnTo>
                  <a:lnTo>
                    <a:pt x="441" y="1766"/>
                  </a:lnTo>
                  <a:lnTo>
                    <a:pt x="456" y="1762"/>
                  </a:lnTo>
                  <a:lnTo>
                    <a:pt x="481" y="1780"/>
                  </a:lnTo>
                  <a:lnTo>
                    <a:pt x="502" y="1803"/>
                  </a:lnTo>
                  <a:lnTo>
                    <a:pt x="517" y="1791"/>
                  </a:lnTo>
                  <a:lnTo>
                    <a:pt x="534" y="1766"/>
                  </a:lnTo>
                  <a:lnTo>
                    <a:pt x="559" y="1741"/>
                  </a:lnTo>
                  <a:lnTo>
                    <a:pt x="568" y="1734"/>
                  </a:lnTo>
                  <a:lnTo>
                    <a:pt x="580" y="1736"/>
                  </a:lnTo>
                  <a:lnTo>
                    <a:pt x="587" y="1748"/>
                  </a:lnTo>
                  <a:lnTo>
                    <a:pt x="587" y="1764"/>
                  </a:lnTo>
                  <a:lnTo>
                    <a:pt x="592" y="1784"/>
                  </a:lnTo>
                  <a:lnTo>
                    <a:pt x="599" y="1796"/>
                  </a:lnTo>
                  <a:lnTo>
                    <a:pt x="615" y="1794"/>
                  </a:lnTo>
                  <a:lnTo>
                    <a:pt x="652" y="1764"/>
                  </a:lnTo>
                  <a:lnTo>
                    <a:pt x="653" y="1757"/>
                  </a:lnTo>
                  <a:lnTo>
                    <a:pt x="661" y="1739"/>
                  </a:lnTo>
                  <a:lnTo>
                    <a:pt x="673" y="1690"/>
                  </a:lnTo>
                  <a:lnTo>
                    <a:pt x="678" y="1644"/>
                  </a:lnTo>
                  <a:lnTo>
                    <a:pt x="676" y="1604"/>
                  </a:lnTo>
                  <a:lnTo>
                    <a:pt x="683" y="1590"/>
                  </a:lnTo>
                  <a:lnTo>
                    <a:pt x="694" y="1590"/>
                  </a:lnTo>
                  <a:lnTo>
                    <a:pt x="714" y="1581"/>
                  </a:lnTo>
                  <a:lnTo>
                    <a:pt x="738" y="1567"/>
                  </a:lnTo>
                  <a:lnTo>
                    <a:pt x="751" y="1547"/>
                  </a:lnTo>
                  <a:lnTo>
                    <a:pt x="780" y="1425"/>
                  </a:lnTo>
                  <a:lnTo>
                    <a:pt x="797" y="1406"/>
                  </a:lnTo>
                  <a:lnTo>
                    <a:pt x="809" y="1403"/>
                  </a:lnTo>
                  <a:lnTo>
                    <a:pt x="823" y="1417"/>
                  </a:lnTo>
                  <a:lnTo>
                    <a:pt x="848" y="1438"/>
                  </a:lnTo>
                  <a:lnTo>
                    <a:pt x="867" y="1431"/>
                  </a:lnTo>
                  <a:lnTo>
                    <a:pt x="874" y="1420"/>
                  </a:lnTo>
                  <a:lnTo>
                    <a:pt x="893" y="1375"/>
                  </a:lnTo>
                  <a:lnTo>
                    <a:pt x="913" y="1338"/>
                  </a:lnTo>
                  <a:lnTo>
                    <a:pt x="942" y="1305"/>
                  </a:lnTo>
                  <a:lnTo>
                    <a:pt x="955" y="1299"/>
                  </a:lnTo>
                  <a:lnTo>
                    <a:pt x="992" y="1320"/>
                  </a:lnTo>
                  <a:lnTo>
                    <a:pt x="1004" y="1322"/>
                  </a:lnTo>
                  <a:lnTo>
                    <a:pt x="1017" y="1280"/>
                  </a:lnTo>
                  <a:lnTo>
                    <a:pt x="1030" y="1268"/>
                  </a:lnTo>
                  <a:lnTo>
                    <a:pt x="1127" y="1204"/>
                  </a:lnTo>
                  <a:lnTo>
                    <a:pt x="1143" y="1200"/>
                  </a:lnTo>
                  <a:lnTo>
                    <a:pt x="1158" y="1208"/>
                  </a:lnTo>
                  <a:lnTo>
                    <a:pt x="1247" y="1225"/>
                  </a:lnTo>
                  <a:lnTo>
                    <a:pt x="1277" y="1227"/>
                  </a:lnTo>
                  <a:lnTo>
                    <a:pt x="1302" y="1213"/>
                  </a:lnTo>
                  <a:lnTo>
                    <a:pt x="1327" y="1190"/>
                  </a:lnTo>
                  <a:lnTo>
                    <a:pt x="1336" y="1186"/>
                  </a:lnTo>
                  <a:lnTo>
                    <a:pt x="1527" y="1174"/>
                  </a:lnTo>
                  <a:lnTo>
                    <a:pt x="1541" y="1167"/>
                  </a:lnTo>
                  <a:lnTo>
                    <a:pt x="1555" y="1153"/>
                  </a:lnTo>
                  <a:lnTo>
                    <a:pt x="1583" y="1111"/>
                  </a:lnTo>
                  <a:lnTo>
                    <a:pt x="1601" y="1043"/>
                  </a:lnTo>
                  <a:lnTo>
                    <a:pt x="1612" y="946"/>
                  </a:lnTo>
                  <a:lnTo>
                    <a:pt x="1608" y="719"/>
                  </a:lnTo>
                  <a:lnTo>
                    <a:pt x="1511" y="742"/>
                  </a:lnTo>
                  <a:lnTo>
                    <a:pt x="1503" y="710"/>
                  </a:lnTo>
                  <a:lnTo>
                    <a:pt x="1511" y="672"/>
                  </a:lnTo>
                  <a:lnTo>
                    <a:pt x="1506" y="644"/>
                  </a:lnTo>
                  <a:lnTo>
                    <a:pt x="1494" y="624"/>
                  </a:lnTo>
                  <a:lnTo>
                    <a:pt x="1481" y="619"/>
                  </a:lnTo>
                  <a:lnTo>
                    <a:pt x="1449" y="617"/>
                  </a:lnTo>
                  <a:lnTo>
                    <a:pt x="1431" y="609"/>
                  </a:lnTo>
                  <a:lnTo>
                    <a:pt x="1405" y="577"/>
                  </a:lnTo>
                  <a:lnTo>
                    <a:pt x="1385" y="594"/>
                  </a:lnTo>
                  <a:lnTo>
                    <a:pt x="1375" y="593"/>
                  </a:lnTo>
                  <a:lnTo>
                    <a:pt x="1326" y="536"/>
                  </a:lnTo>
                  <a:lnTo>
                    <a:pt x="1307" y="520"/>
                  </a:lnTo>
                  <a:lnTo>
                    <a:pt x="1305" y="512"/>
                  </a:lnTo>
                  <a:lnTo>
                    <a:pt x="1309" y="489"/>
                  </a:lnTo>
                  <a:lnTo>
                    <a:pt x="1301" y="476"/>
                  </a:lnTo>
                  <a:lnTo>
                    <a:pt x="722" y="5"/>
                  </a:lnTo>
                  <a:lnTo>
                    <a:pt x="718" y="0"/>
                  </a:lnTo>
                  <a:lnTo>
                    <a:pt x="694" y="7"/>
                  </a:lnTo>
                  <a:lnTo>
                    <a:pt x="551" y="12"/>
                  </a:lnTo>
                  <a:lnTo>
                    <a:pt x="641" y="1031"/>
                  </a:lnTo>
                  <a:lnTo>
                    <a:pt x="673" y="1073"/>
                  </a:lnTo>
                  <a:lnTo>
                    <a:pt x="657" y="1160"/>
                  </a:lnTo>
                  <a:lnTo>
                    <a:pt x="286" y="1162"/>
                  </a:lnTo>
                  <a:lnTo>
                    <a:pt x="242" y="1179"/>
                  </a:lnTo>
                  <a:lnTo>
                    <a:pt x="226" y="1181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34" name="Freeform 71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2699" y="2364"/>
              <a:ext cx="232" cy="209"/>
            </a:xfrm>
            <a:custGeom>
              <a:avLst/>
              <a:gdLst>
                <a:gd name="T0" fmla="*/ 1154 w 1547"/>
                <a:gd name="T1" fmla="*/ 0 h 1416"/>
                <a:gd name="T2" fmla="*/ 721 w 1547"/>
                <a:gd name="T3" fmla="*/ 312 h 1416"/>
                <a:gd name="T4" fmla="*/ 395 w 1547"/>
                <a:gd name="T5" fmla="*/ 530 h 1416"/>
                <a:gd name="T6" fmla="*/ 388 w 1547"/>
                <a:gd name="T7" fmla="*/ 854 h 1416"/>
                <a:gd name="T8" fmla="*/ 342 w 1547"/>
                <a:gd name="T9" fmla="*/ 964 h 1416"/>
                <a:gd name="T10" fmla="*/ 314 w 1547"/>
                <a:gd name="T11" fmla="*/ 985 h 1416"/>
                <a:gd name="T12" fmla="*/ 114 w 1547"/>
                <a:gd name="T13" fmla="*/ 1001 h 1416"/>
                <a:gd name="T14" fmla="*/ 64 w 1547"/>
                <a:gd name="T15" fmla="*/ 1038 h 1416"/>
                <a:gd name="T16" fmla="*/ 8 w 1547"/>
                <a:gd name="T17" fmla="*/ 1031 h 1416"/>
                <a:gd name="T18" fmla="*/ 2 w 1547"/>
                <a:gd name="T19" fmla="*/ 1087 h 1416"/>
                <a:gd name="T20" fmla="*/ 39 w 1547"/>
                <a:gd name="T21" fmla="*/ 1165 h 1416"/>
                <a:gd name="T22" fmla="*/ 86 w 1547"/>
                <a:gd name="T23" fmla="*/ 1215 h 1416"/>
                <a:gd name="T24" fmla="*/ 72 w 1547"/>
                <a:gd name="T25" fmla="*/ 1251 h 1416"/>
                <a:gd name="T26" fmla="*/ 120 w 1547"/>
                <a:gd name="T27" fmla="*/ 1304 h 1416"/>
                <a:gd name="T28" fmla="*/ 158 w 1547"/>
                <a:gd name="T29" fmla="*/ 1311 h 1416"/>
                <a:gd name="T30" fmla="*/ 208 w 1547"/>
                <a:gd name="T31" fmla="*/ 1363 h 1416"/>
                <a:gd name="T32" fmla="*/ 249 w 1547"/>
                <a:gd name="T33" fmla="*/ 1344 h 1416"/>
                <a:gd name="T34" fmla="*/ 335 w 1547"/>
                <a:gd name="T35" fmla="*/ 1416 h 1416"/>
                <a:gd name="T36" fmla="*/ 362 w 1547"/>
                <a:gd name="T37" fmla="*/ 1295 h 1416"/>
                <a:gd name="T38" fmla="*/ 423 w 1547"/>
                <a:gd name="T39" fmla="*/ 1186 h 1416"/>
                <a:gd name="T40" fmla="*/ 570 w 1547"/>
                <a:gd name="T41" fmla="*/ 1177 h 1416"/>
                <a:gd name="T42" fmla="*/ 655 w 1547"/>
                <a:gd name="T43" fmla="*/ 1258 h 1416"/>
                <a:gd name="T44" fmla="*/ 681 w 1547"/>
                <a:gd name="T45" fmla="*/ 1263 h 1416"/>
                <a:gd name="T46" fmla="*/ 759 w 1547"/>
                <a:gd name="T47" fmla="*/ 1228 h 1416"/>
                <a:gd name="T48" fmla="*/ 828 w 1547"/>
                <a:gd name="T49" fmla="*/ 1272 h 1416"/>
                <a:gd name="T50" fmla="*/ 910 w 1547"/>
                <a:gd name="T51" fmla="*/ 1286 h 1416"/>
                <a:gd name="T52" fmla="*/ 969 w 1547"/>
                <a:gd name="T53" fmla="*/ 1245 h 1416"/>
                <a:gd name="T54" fmla="*/ 1063 w 1547"/>
                <a:gd name="T55" fmla="*/ 1221 h 1416"/>
                <a:gd name="T56" fmla="*/ 1183 w 1547"/>
                <a:gd name="T57" fmla="*/ 1256 h 1416"/>
                <a:gd name="T58" fmla="*/ 1228 w 1547"/>
                <a:gd name="T59" fmla="*/ 1217 h 1416"/>
                <a:gd name="T60" fmla="*/ 1268 w 1547"/>
                <a:gd name="T61" fmla="*/ 1188 h 1416"/>
                <a:gd name="T62" fmla="*/ 1310 w 1547"/>
                <a:gd name="T63" fmla="*/ 1172 h 1416"/>
                <a:gd name="T64" fmla="*/ 1304 w 1547"/>
                <a:gd name="T65" fmla="*/ 1098 h 1416"/>
                <a:gd name="T66" fmla="*/ 1501 w 1547"/>
                <a:gd name="T67" fmla="*/ 800 h 1416"/>
                <a:gd name="T68" fmla="*/ 1509 w 1547"/>
                <a:gd name="T69" fmla="*/ 622 h 1416"/>
                <a:gd name="T70" fmla="*/ 1520 w 1547"/>
                <a:gd name="T71" fmla="*/ 478 h 1416"/>
                <a:gd name="T72" fmla="*/ 1547 w 1547"/>
                <a:gd name="T73" fmla="*/ 384 h 1416"/>
                <a:gd name="T74" fmla="*/ 1492 w 1547"/>
                <a:gd name="T75" fmla="*/ 308 h 1416"/>
                <a:gd name="T76" fmla="*/ 1449 w 1547"/>
                <a:gd name="T77" fmla="*/ 62 h 1416"/>
                <a:gd name="T78" fmla="*/ 1373 w 1547"/>
                <a:gd name="T79" fmla="*/ 111 h 1416"/>
                <a:gd name="T80" fmla="*/ 1309 w 1547"/>
                <a:gd name="T81" fmla="*/ 51 h 141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547"/>
                <a:gd name="T124" fmla="*/ 0 h 1416"/>
                <a:gd name="T125" fmla="*/ 1547 w 1547"/>
                <a:gd name="T126" fmla="*/ 1416 h 141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547" h="1416">
                  <a:moveTo>
                    <a:pt x="1191" y="7"/>
                  </a:moveTo>
                  <a:lnTo>
                    <a:pt x="1154" y="0"/>
                  </a:lnTo>
                  <a:lnTo>
                    <a:pt x="1144" y="10"/>
                  </a:lnTo>
                  <a:lnTo>
                    <a:pt x="721" y="312"/>
                  </a:lnTo>
                  <a:lnTo>
                    <a:pt x="547" y="492"/>
                  </a:lnTo>
                  <a:lnTo>
                    <a:pt x="395" y="530"/>
                  </a:lnTo>
                  <a:lnTo>
                    <a:pt x="399" y="757"/>
                  </a:lnTo>
                  <a:lnTo>
                    <a:pt x="388" y="854"/>
                  </a:lnTo>
                  <a:lnTo>
                    <a:pt x="370" y="922"/>
                  </a:lnTo>
                  <a:lnTo>
                    <a:pt x="342" y="964"/>
                  </a:lnTo>
                  <a:lnTo>
                    <a:pt x="328" y="978"/>
                  </a:lnTo>
                  <a:lnTo>
                    <a:pt x="314" y="985"/>
                  </a:lnTo>
                  <a:lnTo>
                    <a:pt x="123" y="997"/>
                  </a:lnTo>
                  <a:lnTo>
                    <a:pt x="114" y="1001"/>
                  </a:lnTo>
                  <a:lnTo>
                    <a:pt x="89" y="1024"/>
                  </a:lnTo>
                  <a:lnTo>
                    <a:pt x="64" y="1038"/>
                  </a:lnTo>
                  <a:lnTo>
                    <a:pt x="34" y="1036"/>
                  </a:lnTo>
                  <a:lnTo>
                    <a:pt x="8" y="1031"/>
                  </a:lnTo>
                  <a:lnTo>
                    <a:pt x="0" y="1066"/>
                  </a:lnTo>
                  <a:lnTo>
                    <a:pt x="2" y="1087"/>
                  </a:lnTo>
                  <a:lnTo>
                    <a:pt x="20" y="1138"/>
                  </a:lnTo>
                  <a:lnTo>
                    <a:pt x="39" y="1165"/>
                  </a:lnTo>
                  <a:lnTo>
                    <a:pt x="78" y="1201"/>
                  </a:lnTo>
                  <a:lnTo>
                    <a:pt x="86" y="1215"/>
                  </a:lnTo>
                  <a:lnTo>
                    <a:pt x="88" y="1228"/>
                  </a:lnTo>
                  <a:lnTo>
                    <a:pt x="72" y="1251"/>
                  </a:lnTo>
                  <a:lnTo>
                    <a:pt x="77" y="1263"/>
                  </a:lnTo>
                  <a:lnTo>
                    <a:pt x="120" y="1304"/>
                  </a:lnTo>
                  <a:lnTo>
                    <a:pt x="142" y="1312"/>
                  </a:lnTo>
                  <a:lnTo>
                    <a:pt x="158" y="1311"/>
                  </a:lnTo>
                  <a:lnTo>
                    <a:pt x="183" y="1312"/>
                  </a:lnTo>
                  <a:lnTo>
                    <a:pt x="208" y="1363"/>
                  </a:lnTo>
                  <a:lnTo>
                    <a:pt x="235" y="1348"/>
                  </a:lnTo>
                  <a:lnTo>
                    <a:pt x="249" y="1344"/>
                  </a:lnTo>
                  <a:lnTo>
                    <a:pt x="296" y="1390"/>
                  </a:lnTo>
                  <a:lnTo>
                    <a:pt x="335" y="1416"/>
                  </a:lnTo>
                  <a:lnTo>
                    <a:pt x="347" y="1321"/>
                  </a:lnTo>
                  <a:lnTo>
                    <a:pt x="362" y="1295"/>
                  </a:lnTo>
                  <a:lnTo>
                    <a:pt x="393" y="1208"/>
                  </a:lnTo>
                  <a:lnTo>
                    <a:pt x="423" y="1186"/>
                  </a:lnTo>
                  <a:lnTo>
                    <a:pt x="521" y="1170"/>
                  </a:lnTo>
                  <a:lnTo>
                    <a:pt x="570" y="1177"/>
                  </a:lnTo>
                  <a:lnTo>
                    <a:pt x="607" y="1191"/>
                  </a:lnTo>
                  <a:lnTo>
                    <a:pt x="655" y="1258"/>
                  </a:lnTo>
                  <a:lnTo>
                    <a:pt x="664" y="1263"/>
                  </a:lnTo>
                  <a:lnTo>
                    <a:pt x="681" y="1263"/>
                  </a:lnTo>
                  <a:lnTo>
                    <a:pt x="738" y="1235"/>
                  </a:lnTo>
                  <a:lnTo>
                    <a:pt x="759" y="1228"/>
                  </a:lnTo>
                  <a:lnTo>
                    <a:pt x="775" y="1233"/>
                  </a:lnTo>
                  <a:lnTo>
                    <a:pt x="828" y="1272"/>
                  </a:lnTo>
                  <a:lnTo>
                    <a:pt x="871" y="1286"/>
                  </a:lnTo>
                  <a:lnTo>
                    <a:pt x="910" y="1286"/>
                  </a:lnTo>
                  <a:lnTo>
                    <a:pt x="922" y="1284"/>
                  </a:lnTo>
                  <a:lnTo>
                    <a:pt x="969" y="1245"/>
                  </a:lnTo>
                  <a:lnTo>
                    <a:pt x="1003" y="1229"/>
                  </a:lnTo>
                  <a:lnTo>
                    <a:pt x="1063" y="1221"/>
                  </a:lnTo>
                  <a:lnTo>
                    <a:pt x="1085" y="1224"/>
                  </a:lnTo>
                  <a:lnTo>
                    <a:pt x="1183" y="1256"/>
                  </a:lnTo>
                  <a:lnTo>
                    <a:pt x="1195" y="1254"/>
                  </a:lnTo>
                  <a:lnTo>
                    <a:pt x="1228" y="1217"/>
                  </a:lnTo>
                  <a:lnTo>
                    <a:pt x="1249" y="1198"/>
                  </a:lnTo>
                  <a:lnTo>
                    <a:pt x="1268" y="1188"/>
                  </a:lnTo>
                  <a:lnTo>
                    <a:pt x="1310" y="1186"/>
                  </a:lnTo>
                  <a:lnTo>
                    <a:pt x="1310" y="1172"/>
                  </a:lnTo>
                  <a:lnTo>
                    <a:pt x="1304" y="1133"/>
                  </a:lnTo>
                  <a:lnTo>
                    <a:pt x="1304" y="1098"/>
                  </a:lnTo>
                  <a:lnTo>
                    <a:pt x="1394" y="941"/>
                  </a:lnTo>
                  <a:lnTo>
                    <a:pt x="1501" y="800"/>
                  </a:lnTo>
                  <a:lnTo>
                    <a:pt x="1504" y="775"/>
                  </a:lnTo>
                  <a:lnTo>
                    <a:pt x="1509" y="622"/>
                  </a:lnTo>
                  <a:lnTo>
                    <a:pt x="1508" y="592"/>
                  </a:lnTo>
                  <a:lnTo>
                    <a:pt x="1520" y="478"/>
                  </a:lnTo>
                  <a:lnTo>
                    <a:pt x="1530" y="425"/>
                  </a:lnTo>
                  <a:lnTo>
                    <a:pt x="1547" y="384"/>
                  </a:lnTo>
                  <a:lnTo>
                    <a:pt x="1516" y="353"/>
                  </a:lnTo>
                  <a:lnTo>
                    <a:pt x="1492" y="308"/>
                  </a:lnTo>
                  <a:lnTo>
                    <a:pt x="1473" y="252"/>
                  </a:lnTo>
                  <a:lnTo>
                    <a:pt x="1449" y="62"/>
                  </a:lnTo>
                  <a:lnTo>
                    <a:pt x="1383" y="102"/>
                  </a:lnTo>
                  <a:lnTo>
                    <a:pt x="1373" y="111"/>
                  </a:lnTo>
                  <a:lnTo>
                    <a:pt x="1320" y="60"/>
                  </a:lnTo>
                  <a:lnTo>
                    <a:pt x="1309" y="51"/>
                  </a:lnTo>
                  <a:lnTo>
                    <a:pt x="1191" y="7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35" name="Freeform 72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2880" y="2387"/>
              <a:ext cx="155" cy="282"/>
            </a:xfrm>
            <a:custGeom>
              <a:avLst/>
              <a:gdLst>
                <a:gd name="T0" fmla="*/ 1026 w 1029"/>
                <a:gd name="T1" fmla="*/ 587 h 1910"/>
                <a:gd name="T2" fmla="*/ 245 w 1029"/>
                <a:gd name="T3" fmla="*/ 0 h 1910"/>
                <a:gd name="T4" fmla="*/ 145 w 1029"/>
                <a:gd name="T5" fmla="*/ 52 h 1910"/>
                <a:gd name="T6" fmla="*/ 188 w 1029"/>
                <a:gd name="T7" fmla="*/ 298 h 1910"/>
                <a:gd name="T8" fmla="*/ 243 w 1029"/>
                <a:gd name="T9" fmla="*/ 374 h 1910"/>
                <a:gd name="T10" fmla="*/ 208 w 1029"/>
                <a:gd name="T11" fmla="*/ 529 h 1910"/>
                <a:gd name="T12" fmla="*/ 205 w 1029"/>
                <a:gd name="T13" fmla="*/ 612 h 1910"/>
                <a:gd name="T14" fmla="*/ 197 w 1029"/>
                <a:gd name="T15" fmla="*/ 790 h 1910"/>
                <a:gd name="T16" fmla="*/ 0 w 1029"/>
                <a:gd name="T17" fmla="*/ 1088 h 1910"/>
                <a:gd name="T18" fmla="*/ 6 w 1029"/>
                <a:gd name="T19" fmla="*/ 1162 h 1910"/>
                <a:gd name="T20" fmla="*/ 13 w 1029"/>
                <a:gd name="T21" fmla="*/ 1198 h 1910"/>
                <a:gd name="T22" fmla="*/ 92 w 1029"/>
                <a:gd name="T23" fmla="*/ 1258 h 1910"/>
                <a:gd name="T24" fmla="*/ 150 w 1029"/>
                <a:gd name="T25" fmla="*/ 1371 h 1910"/>
                <a:gd name="T26" fmla="*/ 148 w 1029"/>
                <a:gd name="T27" fmla="*/ 1470 h 1910"/>
                <a:gd name="T28" fmla="*/ 164 w 1029"/>
                <a:gd name="T29" fmla="*/ 1567 h 1910"/>
                <a:gd name="T30" fmla="*/ 192 w 1029"/>
                <a:gd name="T31" fmla="*/ 1611 h 1910"/>
                <a:gd name="T32" fmla="*/ 184 w 1029"/>
                <a:gd name="T33" fmla="*/ 1625 h 1910"/>
                <a:gd name="T34" fmla="*/ 80 w 1029"/>
                <a:gd name="T35" fmla="*/ 1613 h 1910"/>
                <a:gd name="T36" fmla="*/ 57 w 1029"/>
                <a:gd name="T37" fmla="*/ 1634 h 1910"/>
                <a:gd name="T38" fmla="*/ 150 w 1029"/>
                <a:gd name="T39" fmla="*/ 1782 h 1910"/>
                <a:gd name="T40" fmla="*/ 194 w 1029"/>
                <a:gd name="T41" fmla="*/ 1896 h 1910"/>
                <a:gd name="T42" fmla="*/ 208 w 1029"/>
                <a:gd name="T43" fmla="*/ 1908 h 1910"/>
                <a:gd name="T44" fmla="*/ 238 w 1029"/>
                <a:gd name="T45" fmla="*/ 1903 h 1910"/>
                <a:gd name="T46" fmla="*/ 320 w 1029"/>
                <a:gd name="T47" fmla="*/ 1901 h 1910"/>
                <a:gd name="T48" fmla="*/ 340 w 1029"/>
                <a:gd name="T49" fmla="*/ 1903 h 1910"/>
                <a:gd name="T50" fmla="*/ 430 w 1029"/>
                <a:gd name="T51" fmla="*/ 1853 h 1910"/>
                <a:gd name="T52" fmla="*/ 485 w 1029"/>
                <a:gd name="T53" fmla="*/ 1851 h 1910"/>
                <a:gd name="T54" fmla="*/ 526 w 1029"/>
                <a:gd name="T55" fmla="*/ 1782 h 1910"/>
                <a:gd name="T56" fmla="*/ 540 w 1029"/>
                <a:gd name="T57" fmla="*/ 1729 h 1910"/>
                <a:gd name="T58" fmla="*/ 656 w 1029"/>
                <a:gd name="T59" fmla="*/ 1722 h 1910"/>
                <a:gd name="T60" fmla="*/ 789 w 1029"/>
                <a:gd name="T61" fmla="*/ 1597 h 1910"/>
                <a:gd name="T62" fmla="*/ 798 w 1029"/>
                <a:gd name="T63" fmla="*/ 1562 h 1910"/>
                <a:gd name="T64" fmla="*/ 863 w 1029"/>
                <a:gd name="T65" fmla="*/ 1496 h 1910"/>
                <a:gd name="T66" fmla="*/ 891 w 1029"/>
                <a:gd name="T67" fmla="*/ 1493 h 1910"/>
                <a:gd name="T68" fmla="*/ 923 w 1029"/>
                <a:gd name="T69" fmla="*/ 1480 h 1910"/>
                <a:gd name="T70" fmla="*/ 911 w 1029"/>
                <a:gd name="T71" fmla="*/ 1436 h 1910"/>
                <a:gd name="T72" fmla="*/ 885 w 1029"/>
                <a:gd name="T73" fmla="*/ 1399 h 1910"/>
                <a:gd name="T74" fmla="*/ 862 w 1029"/>
                <a:gd name="T75" fmla="*/ 1294 h 1910"/>
                <a:gd name="T76" fmla="*/ 824 w 1029"/>
                <a:gd name="T77" fmla="*/ 1297 h 1910"/>
                <a:gd name="T78" fmla="*/ 828 w 1029"/>
                <a:gd name="T79" fmla="*/ 1246 h 1910"/>
                <a:gd name="T80" fmla="*/ 856 w 1029"/>
                <a:gd name="T81" fmla="*/ 1197 h 1910"/>
                <a:gd name="T82" fmla="*/ 842 w 1029"/>
                <a:gd name="T83" fmla="*/ 1148 h 1910"/>
                <a:gd name="T84" fmla="*/ 882 w 1029"/>
                <a:gd name="T85" fmla="*/ 1113 h 1910"/>
                <a:gd name="T86" fmla="*/ 882 w 1029"/>
                <a:gd name="T87" fmla="*/ 1053 h 1910"/>
                <a:gd name="T88" fmla="*/ 926 w 1029"/>
                <a:gd name="T89" fmla="*/ 943 h 1910"/>
                <a:gd name="T90" fmla="*/ 1028 w 1029"/>
                <a:gd name="T91" fmla="*/ 933 h 1910"/>
                <a:gd name="T92" fmla="*/ 1024 w 1029"/>
                <a:gd name="T93" fmla="*/ 622 h 191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029"/>
                <a:gd name="T142" fmla="*/ 0 h 1910"/>
                <a:gd name="T143" fmla="*/ 1029 w 1029"/>
                <a:gd name="T144" fmla="*/ 1910 h 191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029" h="1910">
                  <a:moveTo>
                    <a:pt x="1024" y="622"/>
                  </a:moveTo>
                  <a:lnTo>
                    <a:pt x="1026" y="587"/>
                  </a:lnTo>
                  <a:lnTo>
                    <a:pt x="1028" y="478"/>
                  </a:lnTo>
                  <a:lnTo>
                    <a:pt x="245" y="0"/>
                  </a:lnTo>
                  <a:lnTo>
                    <a:pt x="226" y="4"/>
                  </a:lnTo>
                  <a:lnTo>
                    <a:pt x="145" y="52"/>
                  </a:lnTo>
                  <a:lnTo>
                    <a:pt x="169" y="242"/>
                  </a:lnTo>
                  <a:lnTo>
                    <a:pt x="188" y="298"/>
                  </a:lnTo>
                  <a:lnTo>
                    <a:pt x="212" y="343"/>
                  </a:lnTo>
                  <a:lnTo>
                    <a:pt x="243" y="374"/>
                  </a:lnTo>
                  <a:lnTo>
                    <a:pt x="226" y="415"/>
                  </a:lnTo>
                  <a:lnTo>
                    <a:pt x="208" y="529"/>
                  </a:lnTo>
                  <a:lnTo>
                    <a:pt x="204" y="582"/>
                  </a:lnTo>
                  <a:lnTo>
                    <a:pt x="205" y="612"/>
                  </a:lnTo>
                  <a:lnTo>
                    <a:pt x="200" y="765"/>
                  </a:lnTo>
                  <a:lnTo>
                    <a:pt x="197" y="790"/>
                  </a:lnTo>
                  <a:lnTo>
                    <a:pt x="90" y="931"/>
                  </a:lnTo>
                  <a:lnTo>
                    <a:pt x="0" y="1088"/>
                  </a:lnTo>
                  <a:lnTo>
                    <a:pt x="0" y="1123"/>
                  </a:lnTo>
                  <a:lnTo>
                    <a:pt x="6" y="1162"/>
                  </a:lnTo>
                  <a:lnTo>
                    <a:pt x="6" y="1176"/>
                  </a:lnTo>
                  <a:lnTo>
                    <a:pt x="13" y="1198"/>
                  </a:lnTo>
                  <a:lnTo>
                    <a:pt x="55" y="1248"/>
                  </a:lnTo>
                  <a:lnTo>
                    <a:pt x="92" y="1258"/>
                  </a:lnTo>
                  <a:lnTo>
                    <a:pt x="132" y="1325"/>
                  </a:lnTo>
                  <a:lnTo>
                    <a:pt x="150" y="1371"/>
                  </a:lnTo>
                  <a:lnTo>
                    <a:pt x="155" y="1436"/>
                  </a:lnTo>
                  <a:lnTo>
                    <a:pt x="148" y="1470"/>
                  </a:lnTo>
                  <a:lnTo>
                    <a:pt x="156" y="1535"/>
                  </a:lnTo>
                  <a:lnTo>
                    <a:pt x="164" y="1567"/>
                  </a:lnTo>
                  <a:lnTo>
                    <a:pt x="183" y="1600"/>
                  </a:lnTo>
                  <a:lnTo>
                    <a:pt x="192" y="1611"/>
                  </a:lnTo>
                  <a:lnTo>
                    <a:pt x="193" y="1618"/>
                  </a:lnTo>
                  <a:lnTo>
                    <a:pt x="184" y="1625"/>
                  </a:lnTo>
                  <a:lnTo>
                    <a:pt x="155" y="1627"/>
                  </a:lnTo>
                  <a:lnTo>
                    <a:pt x="80" y="1613"/>
                  </a:lnTo>
                  <a:lnTo>
                    <a:pt x="70" y="1618"/>
                  </a:lnTo>
                  <a:lnTo>
                    <a:pt x="57" y="1634"/>
                  </a:lnTo>
                  <a:lnTo>
                    <a:pt x="43" y="1662"/>
                  </a:lnTo>
                  <a:lnTo>
                    <a:pt x="150" y="1782"/>
                  </a:lnTo>
                  <a:lnTo>
                    <a:pt x="178" y="1839"/>
                  </a:lnTo>
                  <a:lnTo>
                    <a:pt x="194" y="1896"/>
                  </a:lnTo>
                  <a:lnTo>
                    <a:pt x="204" y="1905"/>
                  </a:lnTo>
                  <a:lnTo>
                    <a:pt x="208" y="1908"/>
                  </a:lnTo>
                  <a:lnTo>
                    <a:pt x="218" y="1910"/>
                  </a:lnTo>
                  <a:lnTo>
                    <a:pt x="238" y="1903"/>
                  </a:lnTo>
                  <a:lnTo>
                    <a:pt x="298" y="1865"/>
                  </a:lnTo>
                  <a:lnTo>
                    <a:pt x="320" y="1901"/>
                  </a:lnTo>
                  <a:lnTo>
                    <a:pt x="331" y="1905"/>
                  </a:lnTo>
                  <a:lnTo>
                    <a:pt x="340" y="1903"/>
                  </a:lnTo>
                  <a:lnTo>
                    <a:pt x="395" y="1867"/>
                  </a:lnTo>
                  <a:lnTo>
                    <a:pt x="430" y="1853"/>
                  </a:lnTo>
                  <a:lnTo>
                    <a:pt x="469" y="1853"/>
                  </a:lnTo>
                  <a:lnTo>
                    <a:pt x="485" y="1851"/>
                  </a:lnTo>
                  <a:lnTo>
                    <a:pt x="497" y="1844"/>
                  </a:lnTo>
                  <a:lnTo>
                    <a:pt x="526" y="1782"/>
                  </a:lnTo>
                  <a:lnTo>
                    <a:pt x="531" y="1740"/>
                  </a:lnTo>
                  <a:lnTo>
                    <a:pt x="540" y="1729"/>
                  </a:lnTo>
                  <a:lnTo>
                    <a:pt x="559" y="1726"/>
                  </a:lnTo>
                  <a:lnTo>
                    <a:pt x="656" y="1722"/>
                  </a:lnTo>
                  <a:lnTo>
                    <a:pt x="673" y="1719"/>
                  </a:lnTo>
                  <a:lnTo>
                    <a:pt x="789" y="1597"/>
                  </a:lnTo>
                  <a:lnTo>
                    <a:pt x="798" y="1583"/>
                  </a:lnTo>
                  <a:lnTo>
                    <a:pt x="798" y="1562"/>
                  </a:lnTo>
                  <a:lnTo>
                    <a:pt x="805" y="1540"/>
                  </a:lnTo>
                  <a:lnTo>
                    <a:pt x="863" y="1496"/>
                  </a:lnTo>
                  <a:lnTo>
                    <a:pt x="878" y="1491"/>
                  </a:lnTo>
                  <a:lnTo>
                    <a:pt x="891" y="1493"/>
                  </a:lnTo>
                  <a:lnTo>
                    <a:pt x="917" y="1503"/>
                  </a:lnTo>
                  <a:lnTo>
                    <a:pt x="923" y="1480"/>
                  </a:lnTo>
                  <a:lnTo>
                    <a:pt x="922" y="1461"/>
                  </a:lnTo>
                  <a:lnTo>
                    <a:pt x="911" y="1436"/>
                  </a:lnTo>
                  <a:lnTo>
                    <a:pt x="890" y="1415"/>
                  </a:lnTo>
                  <a:lnTo>
                    <a:pt x="885" y="1399"/>
                  </a:lnTo>
                  <a:lnTo>
                    <a:pt x="868" y="1306"/>
                  </a:lnTo>
                  <a:lnTo>
                    <a:pt x="862" y="1294"/>
                  </a:lnTo>
                  <a:lnTo>
                    <a:pt x="847" y="1294"/>
                  </a:lnTo>
                  <a:lnTo>
                    <a:pt x="824" y="1297"/>
                  </a:lnTo>
                  <a:lnTo>
                    <a:pt x="814" y="1279"/>
                  </a:lnTo>
                  <a:lnTo>
                    <a:pt x="828" y="1246"/>
                  </a:lnTo>
                  <a:lnTo>
                    <a:pt x="852" y="1214"/>
                  </a:lnTo>
                  <a:lnTo>
                    <a:pt x="856" y="1197"/>
                  </a:lnTo>
                  <a:lnTo>
                    <a:pt x="841" y="1160"/>
                  </a:lnTo>
                  <a:lnTo>
                    <a:pt x="842" y="1148"/>
                  </a:lnTo>
                  <a:lnTo>
                    <a:pt x="875" y="1125"/>
                  </a:lnTo>
                  <a:lnTo>
                    <a:pt x="882" y="1113"/>
                  </a:lnTo>
                  <a:lnTo>
                    <a:pt x="875" y="1077"/>
                  </a:lnTo>
                  <a:lnTo>
                    <a:pt x="882" y="1053"/>
                  </a:lnTo>
                  <a:lnTo>
                    <a:pt x="907" y="1010"/>
                  </a:lnTo>
                  <a:lnTo>
                    <a:pt x="926" y="943"/>
                  </a:lnTo>
                  <a:lnTo>
                    <a:pt x="936" y="934"/>
                  </a:lnTo>
                  <a:lnTo>
                    <a:pt x="1028" y="933"/>
                  </a:lnTo>
                  <a:lnTo>
                    <a:pt x="1029" y="919"/>
                  </a:lnTo>
                  <a:lnTo>
                    <a:pt x="1024" y="622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36" name="Freeform 73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2614" y="2514"/>
              <a:ext cx="117" cy="98"/>
            </a:xfrm>
            <a:custGeom>
              <a:avLst/>
              <a:gdLst>
                <a:gd name="T0" fmla="*/ 707 w 780"/>
                <a:gd name="T1" fmla="*/ 301 h 659"/>
                <a:gd name="T2" fmla="*/ 642 w 780"/>
                <a:gd name="T3" fmla="*/ 252 h 659"/>
                <a:gd name="T4" fmla="*/ 653 w 780"/>
                <a:gd name="T5" fmla="*/ 217 h 659"/>
                <a:gd name="T6" fmla="*/ 643 w 780"/>
                <a:gd name="T7" fmla="*/ 190 h 659"/>
                <a:gd name="T8" fmla="*/ 585 w 780"/>
                <a:gd name="T9" fmla="*/ 127 h 659"/>
                <a:gd name="T10" fmla="*/ 565 w 780"/>
                <a:gd name="T11" fmla="*/ 55 h 659"/>
                <a:gd name="T12" fmla="*/ 510 w 780"/>
                <a:gd name="T13" fmla="*/ 8 h 659"/>
                <a:gd name="T14" fmla="*/ 479 w 780"/>
                <a:gd name="T15" fmla="*/ 4 h 659"/>
                <a:gd name="T16" fmla="*/ 369 w 780"/>
                <a:gd name="T17" fmla="*/ 80 h 659"/>
                <a:gd name="T18" fmla="*/ 344 w 780"/>
                <a:gd name="T19" fmla="*/ 120 h 659"/>
                <a:gd name="T20" fmla="*/ 294 w 780"/>
                <a:gd name="T21" fmla="*/ 105 h 659"/>
                <a:gd name="T22" fmla="*/ 245 w 780"/>
                <a:gd name="T23" fmla="*/ 175 h 659"/>
                <a:gd name="T24" fmla="*/ 219 w 780"/>
                <a:gd name="T25" fmla="*/ 231 h 659"/>
                <a:gd name="T26" fmla="*/ 175 w 780"/>
                <a:gd name="T27" fmla="*/ 217 h 659"/>
                <a:gd name="T28" fmla="*/ 149 w 780"/>
                <a:gd name="T29" fmla="*/ 206 h 659"/>
                <a:gd name="T30" fmla="*/ 103 w 780"/>
                <a:gd name="T31" fmla="*/ 347 h 659"/>
                <a:gd name="T32" fmla="*/ 66 w 780"/>
                <a:gd name="T33" fmla="*/ 381 h 659"/>
                <a:gd name="T34" fmla="*/ 35 w 780"/>
                <a:gd name="T35" fmla="*/ 390 h 659"/>
                <a:gd name="T36" fmla="*/ 30 w 780"/>
                <a:gd name="T37" fmla="*/ 444 h 659"/>
                <a:gd name="T38" fmla="*/ 13 w 780"/>
                <a:gd name="T39" fmla="*/ 539 h 659"/>
                <a:gd name="T40" fmla="*/ 4 w 780"/>
                <a:gd name="T41" fmla="*/ 564 h 659"/>
                <a:gd name="T42" fmla="*/ 12 w 780"/>
                <a:gd name="T43" fmla="*/ 576 h 659"/>
                <a:gd name="T44" fmla="*/ 50 w 780"/>
                <a:gd name="T45" fmla="*/ 589 h 659"/>
                <a:gd name="T46" fmla="*/ 79 w 780"/>
                <a:gd name="T47" fmla="*/ 644 h 659"/>
                <a:gd name="T48" fmla="*/ 115 w 780"/>
                <a:gd name="T49" fmla="*/ 659 h 659"/>
                <a:gd name="T50" fmla="*/ 151 w 780"/>
                <a:gd name="T51" fmla="*/ 640 h 659"/>
                <a:gd name="T52" fmla="*/ 212 w 780"/>
                <a:gd name="T53" fmla="*/ 628 h 659"/>
                <a:gd name="T54" fmla="*/ 268 w 780"/>
                <a:gd name="T55" fmla="*/ 659 h 659"/>
                <a:gd name="T56" fmla="*/ 275 w 780"/>
                <a:gd name="T57" fmla="*/ 629 h 659"/>
                <a:gd name="T58" fmla="*/ 270 w 780"/>
                <a:gd name="T59" fmla="*/ 508 h 659"/>
                <a:gd name="T60" fmla="*/ 475 w 780"/>
                <a:gd name="T61" fmla="*/ 501 h 659"/>
                <a:gd name="T62" fmla="*/ 597 w 780"/>
                <a:gd name="T63" fmla="*/ 492 h 659"/>
                <a:gd name="T64" fmla="*/ 637 w 780"/>
                <a:gd name="T65" fmla="*/ 502 h 659"/>
                <a:gd name="T66" fmla="*/ 651 w 780"/>
                <a:gd name="T67" fmla="*/ 487 h 659"/>
                <a:gd name="T68" fmla="*/ 685 w 780"/>
                <a:gd name="T69" fmla="*/ 444 h 659"/>
                <a:gd name="T70" fmla="*/ 735 w 780"/>
                <a:gd name="T71" fmla="*/ 446 h 659"/>
                <a:gd name="T72" fmla="*/ 769 w 780"/>
                <a:gd name="T73" fmla="*/ 412 h 659"/>
                <a:gd name="T74" fmla="*/ 773 w 780"/>
                <a:gd name="T75" fmla="*/ 352 h 659"/>
                <a:gd name="T76" fmla="*/ 723 w 780"/>
                <a:gd name="T77" fmla="*/ 300 h 659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780"/>
                <a:gd name="T118" fmla="*/ 0 h 659"/>
                <a:gd name="T119" fmla="*/ 780 w 780"/>
                <a:gd name="T120" fmla="*/ 659 h 659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780" h="659">
                  <a:moveTo>
                    <a:pt x="723" y="300"/>
                  </a:moveTo>
                  <a:lnTo>
                    <a:pt x="707" y="301"/>
                  </a:lnTo>
                  <a:lnTo>
                    <a:pt x="685" y="293"/>
                  </a:lnTo>
                  <a:lnTo>
                    <a:pt x="642" y="252"/>
                  </a:lnTo>
                  <a:lnTo>
                    <a:pt x="637" y="240"/>
                  </a:lnTo>
                  <a:lnTo>
                    <a:pt x="653" y="217"/>
                  </a:lnTo>
                  <a:lnTo>
                    <a:pt x="651" y="204"/>
                  </a:lnTo>
                  <a:lnTo>
                    <a:pt x="643" y="190"/>
                  </a:lnTo>
                  <a:lnTo>
                    <a:pt x="604" y="154"/>
                  </a:lnTo>
                  <a:lnTo>
                    <a:pt x="585" y="127"/>
                  </a:lnTo>
                  <a:lnTo>
                    <a:pt x="567" y="76"/>
                  </a:lnTo>
                  <a:lnTo>
                    <a:pt x="565" y="55"/>
                  </a:lnTo>
                  <a:lnTo>
                    <a:pt x="573" y="20"/>
                  </a:lnTo>
                  <a:lnTo>
                    <a:pt x="510" y="8"/>
                  </a:lnTo>
                  <a:lnTo>
                    <a:pt x="495" y="0"/>
                  </a:lnTo>
                  <a:lnTo>
                    <a:pt x="479" y="4"/>
                  </a:lnTo>
                  <a:lnTo>
                    <a:pt x="382" y="68"/>
                  </a:lnTo>
                  <a:lnTo>
                    <a:pt x="369" y="80"/>
                  </a:lnTo>
                  <a:lnTo>
                    <a:pt x="356" y="122"/>
                  </a:lnTo>
                  <a:lnTo>
                    <a:pt x="344" y="120"/>
                  </a:lnTo>
                  <a:lnTo>
                    <a:pt x="307" y="99"/>
                  </a:lnTo>
                  <a:lnTo>
                    <a:pt x="294" y="105"/>
                  </a:lnTo>
                  <a:lnTo>
                    <a:pt x="265" y="138"/>
                  </a:lnTo>
                  <a:lnTo>
                    <a:pt x="245" y="175"/>
                  </a:lnTo>
                  <a:lnTo>
                    <a:pt x="226" y="220"/>
                  </a:lnTo>
                  <a:lnTo>
                    <a:pt x="219" y="231"/>
                  </a:lnTo>
                  <a:lnTo>
                    <a:pt x="200" y="238"/>
                  </a:lnTo>
                  <a:lnTo>
                    <a:pt x="175" y="217"/>
                  </a:lnTo>
                  <a:lnTo>
                    <a:pt x="161" y="203"/>
                  </a:lnTo>
                  <a:lnTo>
                    <a:pt x="149" y="206"/>
                  </a:lnTo>
                  <a:lnTo>
                    <a:pt x="132" y="225"/>
                  </a:lnTo>
                  <a:lnTo>
                    <a:pt x="103" y="347"/>
                  </a:lnTo>
                  <a:lnTo>
                    <a:pt x="90" y="367"/>
                  </a:lnTo>
                  <a:lnTo>
                    <a:pt x="66" y="381"/>
                  </a:lnTo>
                  <a:lnTo>
                    <a:pt x="46" y="390"/>
                  </a:lnTo>
                  <a:lnTo>
                    <a:pt x="35" y="390"/>
                  </a:lnTo>
                  <a:lnTo>
                    <a:pt x="28" y="404"/>
                  </a:lnTo>
                  <a:lnTo>
                    <a:pt x="30" y="444"/>
                  </a:lnTo>
                  <a:lnTo>
                    <a:pt x="25" y="490"/>
                  </a:lnTo>
                  <a:lnTo>
                    <a:pt x="13" y="539"/>
                  </a:lnTo>
                  <a:lnTo>
                    <a:pt x="5" y="557"/>
                  </a:lnTo>
                  <a:lnTo>
                    <a:pt x="4" y="564"/>
                  </a:lnTo>
                  <a:lnTo>
                    <a:pt x="0" y="568"/>
                  </a:lnTo>
                  <a:lnTo>
                    <a:pt x="12" y="576"/>
                  </a:lnTo>
                  <a:lnTo>
                    <a:pt x="35" y="576"/>
                  </a:lnTo>
                  <a:lnTo>
                    <a:pt x="50" y="589"/>
                  </a:lnTo>
                  <a:lnTo>
                    <a:pt x="55" y="614"/>
                  </a:lnTo>
                  <a:lnTo>
                    <a:pt x="79" y="644"/>
                  </a:lnTo>
                  <a:lnTo>
                    <a:pt x="99" y="656"/>
                  </a:lnTo>
                  <a:lnTo>
                    <a:pt x="115" y="659"/>
                  </a:lnTo>
                  <a:lnTo>
                    <a:pt x="130" y="654"/>
                  </a:lnTo>
                  <a:lnTo>
                    <a:pt x="151" y="640"/>
                  </a:lnTo>
                  <a:lnTo>
                    <a:pt x="177" y="631"/>
                  </a:lnTo>
                  <a:lnTo>
                    <a:pt x="212" y="628"/>
                  </a:lnTo>
                  <a:lnTo>
                    <a:pt x="240" y="636"/>
                  </a:lnTo>
                  <a:lnTo>
                    <a:pt x="268" y="659"/>
                  </a:lnTo>
                  <a:lnTo>
                    <a:pt x="275" y="651"/>
                  </a:lnTo>
                  <a:lnTo>
                    <a:pt x="275" y="629"/>
                  </a:lnTo>
                  <a:lnTo>
                    <a:pt x="263" y="525"/>
                  </a:lnTo>
                  <a:lnTo>
                    <a:pt x="270" y="508"/>
                  </a:lnTo>
                  <a:lnTo>
                    <a:pt x="282" y="499"/>
                  </a:lnTo>
                  <a:lnTo>
                    <a:pt x="475" y="501"/>
                  </a:lnTo>
                  <a:lnTo>
                    <a:pt x="519" y="476"/>
                  </a:lnTo>
                  <a:lnTo>
                    <a:pt x="597" y="492"/>
                  </a:lnTo>
                  <a:lnTo>
                    <a:pt x="624" y="501"/>
                  </a:lnTo>
                  <a:lnTo>
                    <a:pt x="637" y="502"/>
                  </a:lnTo>
                  <a:lnTo>
                    <a:pt x="641" y="495"/>
                  </a:lnTo>
                  <a:lnTo>
                    <a:pt x="651" y="487"/>
                  </a:lnTo>
                  <a:lnTo>
                    <a:pt x="667" y="458"/>
                  </a:lnTo>
                  <a:lnTo>
                    <a:pt x="685" y="444"/>
                  </a:lnTo>
                  <a:lnTo>
                    <a:pt x="703" y="441"/>
                  </a:lnTo>
                  <a:lnTo>
                    <a:pt x="735" y="446"/>
                  </a:lnTo>
                  <a:lnTo>
                    <a:pt x="751" y="437"/>
                  </a:lnTo>
                  <a:lnTo>
                    <a:pt x="769" y="412"/>
                  </a:lnTo>
                  <a:lnTo>
                    <a:pt x="780" y="372"/>
                  </a:lnTo>
                  <a:lnTo>
                    <a:pt x="773" y="352"/>
                  </a:lnTo>
                  <a:lnTo>
                    <a:pt x="748" y="301"/>
                  </a:lnTo>
                  <a:lnTo>
                    <a:pt x="723" y="300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37" name="Freeform 74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2908" y="2586"/>
              <a:ext cx="190" cy="154"/>
            </a:xfrm>
            <a:custGeom>
              <a:avLst/>
              <a:gdLst>
                <a:gd name="T0" fmla="*/ 886 w 1263"/>
                <a:gd name="T1" fmla="*/ 101 h 1042"/>
                <a:gd name="T2" fmla="*/ 801 w 1263"/>
                <a:gd name="T3" fmla="*/ 2 h 1042"/>
                <a:gd name="T4" fmla="*/ 773 w 1263"/>
                <a:gd name="T5" fmla="*/ 5 h 1042"/>
                <a:gd name="T6" fmla="*/ 708 w 1263"/>
                <a:gd name="T7" fmla="*/ 71 h 1042"/>
                <a:gd name="T8" fmla="*/ 699 w 1263"/>
                <a:gd name="T9" fmla="*/ 106 h 1042"/>
                <a:gd name="T10" fmla="*/ 566 w 1263"/>
                <a:gd name="T11" fmla="*/ 231 h 1042"/>
                <a:gd name="T12" fmla="*/ 450 w 1263"/>
                <a:gd name="T13" fmla="*/ 238 h 1042"/>
                <a:gd name="T14" fmla="*/ 436 w 1263"/>
                <a:gd name="T15" fmla="*/ 291 h 1042"/>
                <a:gd name="T16" fmla="*/ 395 w 1263"/>
                <a:gd name="T17" fmla="*/ 360 h 1042"/>
                <a:gd name="T18" fmla="*/ 340 w 1263"/>
                <a:gd name="T19" fmla="*/ 362 h 1042"/>
                <a:gd name="T20" fmla="*/ 250 w 1263"/>
                <a:gd name="T21" fmla="*/ 412 h 1042"/>
                <a:gd name="T22" fmla="*/ 230 w 1263"/>
                <a:gd name="T23" fmla="*/ 410 h 1042"/>
                <a:gd name="T24" fmla="*/ 148 w 1263"/>
                <a:gd name="T25" fmla="*/ 412 h 1042"/>
                <a:gd name="T26" fmla="*/ 118 w 1263"/>
                <a:gd name="T27" fmla="*/ 417 h 1042"/>
                <a:gd name="T28" fmla="*/ 104 w 1263"/>
                <a:gd name="T29" fmla="*/ 419 h 1042"/>
                <a:gd name="T30" fmla="*/ 51 w 1263"/>
                <a:gd name="T31" fmla="*/ 528 h 1042"/>
                <a:gd name="T32" fmla="*/ 9 w 1263"/>
                <a:gd name="T33" fmla="*/ 576 h 1042"/>
                <a:gd name="T34" fmla="*/ 0 w 1263"/>
                <a:gd name="T35" fmla="*/ 610 h 1042"/>
                <a:gd name="T36" fmla="*/ 18 w 1263"/>
                <a:gd name="T37" fmla="*/ 714 h 1042"/>
                <a:gd name="T38" fmla="*/ 65 w 1263"/>
                <a:gd name="T39" fmla="*/ 811 h 1042"/>
                <a:gd name="T40" fmla="*/ 71 w 1263"/>
                <a:gd name="T41" fmla="*/ 869 h 1042"/>
                <a:gd name="T42" fmla="*/ 147 w 1263"/>
                <a:gd name="T43" fmla="*/ 976 h 1042"/>
                <a:gd name="T44" fmla="*/ 165 w 1263"/>
                <a:gd name="T45" fmla="*/ 1042 h 1042"/>
                <a:gd name="T46" fmla="*/ 195 w 1263"/>
                <a:gd name="T47" fmla="*/ 999 h 1042"/>
                <a:gd name="T48" fmla="*/ 224 w 1263"/>
                <a:gd name="T49" fmla="*/ 894 h 1042"/>
                <a:gd name="T50" fmla="*/ 287 w 1263"/>
                <a:gd name="T51" fmla="*/ 878 h 1042"/>
                <a:gd name="T52" fmla="*/ 403 w 1263"/>
                <a:gd name="T53" fmla="*/ 878 h 1042"/>
                <a:gd name="T54" fmla="*/ 414 w 1263"/>
                <a:gd name="T55" fmla="*/ 825 h 1042"/>
                <a:gd name="T56" fmla="*/ 414 w 1263"/>
                <a:gd name="T57" fmla="*/ 786 h 1042"/>
                <a:gd name="T58" fmla="*/ 463 w 1263"/>
                <a:gd name="T59" fmla="*/ 717 h 1042"/>
                <a:gd name="T60" fmla="*/ 508 w 1263"/>
                <a:gd name="T61" fmla="*/ 698 h 1042"/>
                <a:gd name="T62" fmla="*/ 561 w 1263"/>
                <a:gd name="T63" fmla="*/ 733 h 1042"/>
                <a:gd name="T64" fmla="*/ 583 w 1263"/>
                <a:gd name="T65" fmla="*/ 767 h 1042"/>
                <a:gd name="T66" fmla="*/ 669 w 1263"/>
                <a:gd name="T67" fmla="*/ 793 h 1042"/>
                <a:gd name="T68" fmla="*/ 780 w 1263"/>
                <a:gd name="T69" fmla="*/ 825 h 1042"/>
                <a:gd name="T70" fmla="*/ 817 w 1263"/>
                <a:gd name="T71" fmla="*/ 744 h 1042"/>
                <a:gd name="T72" fmla="*/ 849 w 1263"/>
                <a:gd name="T73" fmla="*/ 742 h 1042"/>
                <a:gd name="T74" fmla="*/ 886 w 1263"/>
                <a:gd name="T75" fmla="*/ 760 h 1042"/>
                <a:gd name="T76" fmla="*/ 995 w 1263"/>
                <a:gd name="T77" fmla="*/ 710 h 1042"/>
                <a:gd name="T78" fmla="*/ 1049 w 1263"/>
                <a:gd name="T79" fmla="*/ 722 h 1042"/>
                <a:gd name="T80" fmla="*/ 1067 w 1263"/>
                <a:gd name="T81" fmla="*/ 707 h 1042"/>
                <a:gd name="T82" fmla="*/ 1089 w 1263"/>
                <a:gd name="T83" fmla="*/ 670 h 1042"/>
                <a:gd name="T84" fmla="*/ 1183 w 1263"/>
                <a:gd name="T85" fmla="*/ 712 h 1042"/>
                <a:gd name="T86" fmla="*/ 1260 w 1263"/>
                <a:gd name="T87" fmla="*/ 687 h 1042"/>
                <a:gd name="T88" fmla="*/ 1263 w 1263"/>
                <a:gd name="T89" fmla="*/ 648 h 1042"/>
                <a:gd name="T90" fmla="*/ 1232 w 1263"/>
                <a:gd name="T91" fmla="*/ 604 h 1042"/>
                <a:gd name="T92" fmla="*/ 1180 w 1263"/>
                <a:gd name="T93" fmla="*/ 585 h 1042"/>
                <a:gd name="T94" fmla="*/ 1164 w 1263"/>
                <a:gd name="T95" fmla="*/ 523 h 1042"/>
                <a:gd name="T96" fmla="*/ 1146 w 1263"/>
                <a:gd name="T97" fmla="*/ 495 h 1042"/>
                <a:gd name="T98" fmla="*/ 1070 w 1263"/>
                <a:gd name="T99" fmla="*/ 433 h 1042"/>
                <a:gd name="T100" fmla="*/ 1069 w 1263"/>
                <a:gd name="T101" fmla="*/ 386 h 1042"/>
                <a:gd name="T102" fmla="*/ 1044 w 1263"/>
                <a:gd name="T103" fmla="*/ 362 h 1042"/>
                <a:gd name="T104" fmla="*/ 974 w 1263"/>
                <a:gd name="T105" fmla="*/ 326 h 1042"/>
                <a:gd name="T106" fmla="*/ 951 w 1263"/>
                <a:gd name="T107" fmla="*/ 288 h 1042"/>
                <a:gd name="T108" fmla="*/ 895 w 1263"/>
                <a:gd name="T109" fmla="*/ 282 h 1042"/>
                <a:gd name="T110" fmla="*/ 887 w 1263"/>
                <a:gd name="T111" fmla="*/ 236 h 1042"/>
                <a:gd name="T112" fmla="*/ 901 w 1263"/>
                <a:gd name="T113" fmla="*/ 131 h 10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263"/>
                <a:gd name="T172" fmla="*/ 0 h 1042"/>
                <a:gd name="T173" fmla="*/ 1263 w 1263"/>
                <a:gd name="T174" fmla="*/ 1042 h 10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263" h="1042">
                  <a:moveTo>
                    <a:pt x="901" y="131"/>
                  </a:moveTo>
                  <a:lnTo>
                    <a:pt x="886" y="101"/>
                  </a:lnTo>
                  <a:lnTo>
                    <a:pt x="827" y="12"/>
                  </a:lnTo>
                  <a:lnTo>
                    <a:pt x="801" y="2"/>
                  </a:lnTo>
                  <a:lnTo>
                    <a:pt x="788" y="0"/>
                  </a:lnTo>
                  <a:lnTo>
                    <a:pt x="773" y="5"/>
                  </a:lnTo>
                  <a:lnTo>
                    <a:pt x="715" y="49"/>
                  </a:lnTo>
                  <a:lnTo>
                    <a:pt x="708" y="71"/>
                  </a:lnTo>
                  <a:lnTo>
                    <a:pt x="708" y="92"/>
                  </a:lnTo>
                  <a:lnTo>
                    <a:pt x="699" y="106"/>
                  </a:lnTo>
                  <a:lnTo>
                    <a:pt x="583" y="228"/>
                  </a:lnTo>
                  <a:lnTo>
                    <a:pt x="566" y="231"/>
                  </a:lnTo>
                  <a:lnTo>
                    <a:pt x="469" y="235"/>
                  </a:lnTo>
                  <a:lnTo>
                    <a:pt x="450" y="238"/>
                  </a:lnTo>
                  <a:lnTo>
                    <a:pt x="441" y="249"/>
                  </a:lnTo>
                  <a:lnTo>
                    <a:pt x="436" y="291"/>
                  </a:lnTo>
                  <a:lnTo>
                    <a:pt x="407" y="353"/>
                  </a:lnTo>
                  <a:lnTo>
                    <a:pt x="395" y="360"/>
                  </a:lnTo>
                  <a:lnTo>
                    <a:pt x="379" y="362"/>
                  </a:lnTo>
                  <a:lnTo>
                    <a:pt x="340" y="362"/>
                  </a:lnTo>
                  <a:lnTo>
                    <a:pt x="305" y="376"/>
                  </a:lnTo>
                  <a:lnTo>
                    <a:pt x="250" y="412"/>
                  </a:lnTo>
                  <a:lnTo>
                    <a:pt x="241" y="414"/>
                  </a:lnTo>
                  <a:lnTo>
                    <a:pt x="230" y="410"/>
                  </a:lnTo>
                  <a:lnTo>
                    <a:pt x="208" y="374"/>
                  </a:lnTo>
                  <a:lnTo>
                    <a:pt x="148" y="412"/>
                  </a:lnTo>
                  <a:lnTo>
                    <a:pt x="128" y="419"/>
                  </a:lnTo>
                  <a:lnTo>
                    <a:pt x="118" y="417"/>
                  </a:lnTo>
                  <a:lnTo>
                    <a:pt x="114" y="414"/>
                  </a:lnTo>
                  <a:lnTo>
                    <a:pt x="104" y="419"/>
                  </a:lnTo>
                  <a:lnTo>
                    <a:pt x="90" y="437"/>
                  </a:lnTo>
                  <a:lnTo>
                    <a:pt x="51" y="528"/>
                  </a:lnTo>
                  <a:lnTo>
                    <a:pt x="33" y="557"/>
                  </a:lnTo>
                  <a:lnTo>
                    <a:pt x="9" y="576"/>
                  </a:lnTo>
                  <a:lnTo>
                    <a:pt x="4" y="587"/>
                  </a:lnTo>
                  <a:lnTo>
                    <a:pt x="0" y="610"/>
                  </a:lnTo>
                  <a:lnTo>
                    <a:pt x="5" y="650"/>
                  </a:lnTo>
                  <a:lnTo>
                    <a:pt x="18" y="714"/>
                  </a:lnTo>
                  <a:lnTo>
                    <a:pt x="28" y="744"/>
                  </a:lnTo>
                  <a:lnTo>
                    <a:pt x="65" y="811"/>
                  </a:lnTo>
                  <a:lnTo>
                    <a:pt x="66" y="853"/>
                  </a:lnTo>
                  <a:lnTo>
                    <a:pt x="71" y="869"/>
                  </a:lnTo>
                  <a:lnTo>
                    <a:pt x="126" y="934"/>
                  </a:lnTo>
                  <a:lnTo>
                    <a:pt x="147" y="976"/>
                  </a:lnTo>
                  <a:lnTo>
                    <a:pt x="156" y="1019"/>
                  </a:lnTo>
                  <a:lnTo>
                    <a:pt x="165" y="1042"/>
                  </a:lnTo>
                  <a:lnTo>
                    <a:pt x="179" y="1026"/>
                  </a:lnTo>
                  <a:lnTo>
                    <a:pt x="195" y="999"/>
                  </a:lnTo>
                  <a:lnTo>
                    <a:pt x="212" y="904"/>
                  </a:lnTo>
                  <a:lnTo>
                    <a:pt x="224" y="894"/>
                  </a:lnTo>
                  <a:lnTo>
                    <a:pt x="244" y="887"/>
                  </a:lnTo>
                  <a:lnTo>
                    <a:pt x="287" y="878"/>
                  </a:lnTo>
                  <a:lnTo>
                    <a:pt x="370" y="894"/>
                  </a:lnTo>
                  <a:lnTo>
                    <a:pt x="403" y="878"/>
                  </a:lnTo>
                  <a:lnTo>
                    <a:pt x="410" y="876"/>
                  </a:lnTo>
                  <a:lnTo>
                    <a:pt x="414" y="825"/>
                  </a:lnTo>
                  <a:lnTo>
                    <a:pt x="410" y="802"/>
                  </a:lnTo>
                  <a:lnTo>
                    <a:pt x="414" y="786"/>
                  </a:lnTo>
                  <a:lnTo>
                    <a:pt x="449" y="735"/>
                  </a:lnTo>
                  <a:lnTo>
                    <a:pt x="463" y="717"/>
                  </a:lnTo>
                  <a:lnTo>
                    <a:pt x="487" y="701"/>
                  </a:lnTo>
                  <a:lnTo>
                    <a:pt x="508" y="698"/>
                  </a:lnTo>
                  <a:lnTo>
                    <a:pt x="527" y="707"/>
                  </a:lnTo>
                  <a:lnTo>
                    <a:pt x="561" y="733"/>
                  </a:lnTo>
                  <a:lnTo>
                    <a:pt x="576" y="754"/>
                  </a:lnTo>
                  <a:lnTo>
                    <a:pt x="583" y="767"/>
                  </a:lnTo>
                  <a:lnTo>
                    <a:pt x="604" y="784"/>
                  </a:lnTo>
                  <a:lnTo>
                    <a:pt x="669" y="793"/>
                  </a:lnTo>
                  <a:lnTo>
                    <a:pt x="752" y="821"/>
                  </a:lnTo>
                  <a:lnTo>
                    <a:pt x="780" y="825"/>
                  </a:lnTo>
                  <a:lnTo>
                    <a:pt x="787" y="816"/>
                  </a:lnTo>
                  <a:lnTo>
                    <a:pt x="817" y="744"/>
                  </a:lnTo>
                  <a:lnTo>
                    <a:pt x="833" y="735"/>
                  </a:lnTo>
                  <a:lnTo>
                    <a:pt x="849" y="742"/>
                  </a:lnTo>
                  <a:lnTo>
                    <a:pt x="874" y="761"/>
                  </a:lnTo>
                  <a:lnTo>
                    <a:pt x="886" y="760"/>
                  </a:lnTo>
                  <a:lnTo>
                    <a:pt x="968" y="715"/>
                  </a:lnTo>
                  <a:lnTo>
                    <a:pt x="995" y="710"/>
                  </a:lnTo>
                  <a:lnTo>
                    <a:pt x="1033" y="721"/>
                  </a:lnTo>
                  <a:lnTo>
                    <a:pt x="1049" y="722"/>
                  </a:lnTo>
                  <a:lnTo>
                    <a:pt x="1061" y="719"/>
                  </a:lnTo>
                  <a:lnTo>
                    <a:pt x="1067" y="707"/>
                  </a:lnTo>
                  <a:lnTo>
                    <a:pt x="1070" y="677"/>
                  </a:lnTo>
                  <a:lnTo>
                    <a:pt x="1089" y="670"/>
                  </a:lnTo>
                  <a:lnTo>
                    <a:pt x="1170" y="703"/>
                  </a:lnTo>
                  <a:lnTo>
                    <a:pt x="1183" y="712"/>
                  </a:lnTo>
                  <a:lnTo>
                    <a:pt x="1196" y="714"/>
                  </a:lnTo>
                  <a:lnTo>
                    <a:pt x="1260" y="687"/>
                  </a:lnTo>
                  <a:lnTo>
                    <a:pt x="1258" y="684"/>
                  </a:lnTo>
                  <a:lnTo>
                    <a:pt x="1263" y="648"/>
                  </a:lnTo>
                  <a:lnTo>
                    <a:pt x="1256" y="629"/>
                  </a:lnTo>
                  <a:lnTo>
                    <a:pt x="1232" y="604"/>
                  </a:lnTo>
                  <a:lnTo>
                    <a:pt x="1195" y="595"/>
                  </a:lnTo>
                  <a:lnTo>
                    <a:pt x="1180" y="585"/>
                  </a:lnTo>
                  <a:lnTo>
                    <a:pt x="1167" y="562"/>
                  </a:lnTo>
                  <a:lnTo>
                    <a:pt x="1164" y="523"/>
                  </a:lnTo>
                  <a:lnTo>
                    <a:pt x="1155" y="504"/>
                  </a:lnTo>
                  <a:lnTo>
                    <a:pt x="1146" y="495"/>
                  </a:lnTo>
                  <a:lnTo>
                    <a:pt x="1090" y="453"/>
                  </a:lnTo>
                  <a:lnTo>
                    <a:pt x="1070" y="433"/>
                  </a:lnTo>
                  <a:lnTo>
                    <a:pt x="1062" y="414"/>
                  </a:lnTo>
                  <a:lnTo>
                    <a:pt x="1069" y="386"/>
                  </a:lnTo>
                  <a:lnTo>
                    <a:pt x="1058" y="372"/>
                  </a:lnTo>
                  <a:lnTo>
                    <a:pt x="1044" y="362"/>
                  </a:lnTo>
                  <a:lnTo>
                    <a:pt x="1008" y="349"/>
                  </a:lnTo>
                  <a:lnTo>
                    <a:pt x="974" y="326"/>
                  </a:lnTo>
                  <a:lnTo>
                    <a:pt x="963" y="314"/>
                  </a:lnTo>
                  <a:lnTo>
                    <a:pt x="951" y="288"/>
                  </a:lnTo>
                  <a:lnTo>
                    <a:pt x="943" y="282"/>
                  </a:lnTo>
                  <a:lnTo>
                    <a:pt x="895" y="282"/>
                  </a:lnTo>
                  <a:lnTo>
                    <a:pt x="889" y="272"/>
                  </a:lnTo>
                  <a:lnTo>
                    <a:pt x="887" y="236"/>
                  </a:lnTo>
                  <a:lnTo>
                    <a:pt x="907" y="159"/>
                  </a:lnTo>
                  <a:lnTo>
                    <a:pt x="901" y="131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38" name="Freeform 75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2501" y="2605"/>
              <a:ext cx="41" cy="55"/>
            </a:xfrm>
            <a:custGeom>
              <a:avLst/>
              <a:gdLst>
                <a:gd name="T0" fmla="*/ 248 w 278"/>
                <a:gd name="T1" fmla="*/ 69 h 362"/>
                <a:gd name="T2" fmla="*/ 228 w 278"/>
                <a:gd name="T3" fmla="*/ 37 h 362"/>
                <a:gd name="T4" fmla="*/ 207 w 278"/>
                <a:gd name="T5" fmla="*/ 14 h 362"/>
                <a:gd name="T6" fmla="*/ 188 w 278"/>
                <a:gd name="T7" fmla="*/ 2 h 362"/>
                <a:gd name="T8" fmla="*/ 168 w 278"/>
                <a:gd name="T9" fmla="*/ 0 h 362"/>
                <a:gd name="T10" fmla="*/ 118 w 278"/>
                <a:gd name="T11" fmla="*/ 9 h 362"/>
                <a:gd name="T12" fmla="*/ 91 w 278"/>
                <a:gd name="T13" fmla="*/ 5 h 362"/>
                <a:gd name="T14" fmla="*/ 81 w 278"/>
                <a:gd name="T15" fmla="*/ 14 h 362"/>
                <a:gd name="T16" fmla="*/ 5 w 278"/>
                <a:gd name="T17" fmla="*/ 125 h 362"/>
                <a:gd name="T18" fmla="*/ 3 w 278"/>
                <a:gd name="T19" fmla="*/ 134 h 362"/>
                <a:gd name="T20" fmla="*/ 6 w 278"/>
                <a:gd name="T21" fmla="*/ 141 h 362"/>
                <a:gd name="T22" fmla="*/ 27 w 278"/>
                <a:gd name="T23" fmla="*/ 152 h 362"/>
                <a:gd name="T24" fmla="*/ 28 w 278"/>
                <a:gd name="T25" fmla="*/ 160 h 362"/>
                <a:gd name="T26" fmla="*/ 21 w 278"/>
                <a:gd name="T27" fmla="*/ 171 h 362"/>
                <a:gd name="T28" fmla="*/ 0 w 278"/>
                <a:gd name="T29" fmla="*/ 185 h 362"/>
                <a:gd name="T30" fmla="*/ 17 w 278"/>
                <a:gd name="T31" fmla="*/ 210 h 362"/>
                <a:gd name="T32" fmla="*/ 33 w 278"/>
                <a:gd name="T33" fmla="*/ 229 h 362"/>
                <a:gd name="T34" fmla="*/ 69 w 278"/>
                <a:gd name="T35" fmla="*/ 257 h 362"/>
                <a:gd name="T36" fmla="*/ 93 w 278"/>
                <a:gd name="T37" fmla="*/ 268 h 362"/>
                <a:gd name="T38" fmla="*/ 94 w 278"/>
                <a:gd name="T39" fmla="*/ 280 h 362"/>
                <a:gd name="T40" fmla="*/ 91 w 278"/>
                <a:gd name="T41" fmla="*/ 295 h 362"/>
                <a:gd name="T42" fmla="*/ 93 w 278"/>
                <a:gd name="T43" fmla="*/ 302 h 362"/>
                <a:gd name="T44" fmla="*/ 114 w 278"/>
                <a:gd name="T45" fmla="*/ 313 h 362"/>
                <a:gd name="T46" fmla="*/ 143 w 278"/>
                <a:gd name="T47" fmla="*/ 334 h 362"/>
                <a:gd name="T48" fmla="*/ 171 w 278"/>
                <a:gd name="T49" fmla="*/ 362 h 362"/>
                <a:gd name="T50" fmla="*/ 174 w 278"/>
                <a:gd name="T51" fmla="*/ 357 h 362"/>
                <a:gd name="T52" fmla="*/ 266 w 278"/>
                <a:gd name="T53" fmla="*/ 243 h 362"/>
                <a:gd name="T54" fmla="*/ 278 w 278"/>
                <a:gd name="T55" fmla="*/ 217 h 362"/>
                <a:gd name="T56" fmla="*/ 266 w 278"/>
                <a:gd name="T57" fmla="*/ 182 h 362"/>
                <a:gd name="T58" fmla="*/ 258 w 278"/>
                <a:gd name="T59" fmla="*/ 109 h 362"/>
                <a:gd name="T60" fmla="*/ 248 w 278"/>
                <a:gd name="T61" fmla="*/ 69 h 3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278"/>
                <a:gd name="T94" fmla="*/ 0 h 362"/>
                <a:gd name="T95" fmla="*/ 278 w 278"/>
                <a:gd name="T96" fmla="*/ 362 h 3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278" h="362">
                  <a:moveTo>
                    <a:pt x="248" y="69"/>
                  </a:moveTo>
                  <a:lnTo>
                    <a:pt x="228" y="37"/>
                  </a:lnTo>
                  <a:lnTo>
                    <a:pt x="207" y="14"/>
                  </a:lnTo>
                  <a:lnTo>
                    <a:pt x="188" y="2"/>
                  </a:lnTo>
                  <a:lnTo>
                    <a:pt x="168" y="0"/>
                  </a:lnTo>
                  <a:lnTo>
                    <a:pt x="118" y="9"/>
                  </a:lnTo>
                  <a:lnTo>
                    <a:pt x="91" y="5"/>
                  </a:lnTo>
                  <a:lnTo>
                    <a:pt x="81" y="14"/>
                  </a:lnTo>
                  <a:lnTo>
                    <a:pt x="5" y="125"/>
                  </a:lnTo>
                  <a:lnTo>
                    <a:pt x="3" y="134"/>
                  </a:lnTo>
                  <a:lnTo>
                    <a:pt x="6" y="141"/>
                  </a:lnTo>
                  <a:lnTo>
                    <a:pt x="27" y="152"/>
                  </a:lnTo>
                  <a:lnTo>
                    <a:pt x="28" y="160"/>
                  </a:lnTo>
                  <a:lnTo>
                    <a:pt x="21" y="171"/>
                  </a:lnTo>
                  <a:lnTo>
                    <a:pt x="0" y="185"/>
                  </a:lnTo>
                  <a:lnTo>
                    <a:pt x="17" y="210"/>
                  </a:lnTo>
                  <a:lnTo>
                    <a:pt x="33" y="229"/>
                  </a:lnTo>
                  <a:lnTo>
                    <a:pt x="69" y="257"/>
                  </a:lnTo>
                  <a:lnTo>
                    <a:pt x="93" y="268"/>
                  </a:lnTo>
                  <a:lnTo>
                    <a:pt x="94" y="280"/>
                  </a:lnTo>
                  <a:lnTo>
                    <a:pt x="91" y="295"/>
                  </a:lnTo>
                  <a:lnTo>
                    <a:pt x="93" y="302"/>
                  </a:lnTo>
                  <a:lnTo>
                    <a:pt x="114" y="313"/>
                  </a:lnTo>
                  <a:lnTo>
                    <a:pt x="143" y="334"/>
                  </a:lnTo>
                  <a:lnTo>
                    <a:pt x="171" y="362"/>
                  </a:lnTo>
                  <a:lnTo>
                    <a:pt x="174" y="357"/>
                  </a:lnTo>
                  <a:lnTo>
                    <a:pt x="266" y="243"/>
                  </a:lnTo>
                  <a:lnTo>
                    <a:pt x="278" y="217"/>
                  </a:lnTo>
                  <a:lnTo>
                    <a:pt x="266" y="182"/>
                  </a:lnTo>
                  <a:lnTo>
                    <a:pt x="258" y="109"/>
                  </a:lnTo>
                  <a:lnTo>
                    <a:pt x="248" y="69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39" name="Freeform 76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2528" y="2632"/>
              <a:ext cx="60" cy="69"/>
            </a:xfrm>
            <a:custGeom>
              <a:avLst/>
              <a:gdLst>
                <a:gd name="T0" fmla="*/ 313 w 404"/>
                <a:gd name="T1" fmla="*/ 157 h 479"/>
                <a:gd name="T2" fmla="*/ 307 w 404"/>
                <a:gd name="T3" fmla="*/ 127 h 479"/>
                <a:gd name="T4" fmla="*/ 310 w 404"/>
                <a:gd name="T5" fmla="*/ 118 h 479"/>
                <a:gd name="T6" fmla="*/ 295 w 404"/>
                <a:gd name="T7" fmla="*/ 107 h 479"/>
                <a:gd name="T8" fmla="*/ 281 w 404"/>
                <a:gd name="T9" fmla="*/ 102 h 479"/>
                <a:gd name="T10" fmla="*/ 274 w 404"/>
                <a:gd name="T11" fmla="*/ 106 h 479"/>
                <a:gd name="T12" fmla="*/ 240 w 404"/>
                <a:gd name="T13" fmla="*/ 155 h 479"/>
                <a:gd name="T14" fmla="*/ 226 w 404"/>
                <a:gd name="T15" fmla="*/ 153 h 479"/>
                <a:gd name="T16" fmla="*/ 209 w 404"/>
                <a:gd name="T17" fmla="*/ 136 h 479"/>
                <a:gd name="T18" fmla="*/ 197 w 404"/>
                <a:gd name="T19" fmla="*/ 120 h 479"/>
                <a:gd name="T20" fmla="*/ 199 w 404"/>
                <a:gd name="T21" fmla="*/ 104 h 479"/>
                <a:gd name="T22" fmla="*/ 199 w 404"/>
                <a:gd name="T23" fmla="*/ 69 h 479"/>
                <a:gd name="T24" fmla="*/ 188 w 404"/>
                <a:gd name="T25" fmla="*/ 25 h 479"/>
                <a:gd name="T26" fmla="*/ 181 w 404"/>
                <a:gd name="T27" fmla="*/ 6 h 479"/>
                <a:gd name="T28" fmla="*/ 167 w 404"/>
                <a:gd name="T29" fmla="*/ 0 h 479"/>
                <a:gd name="T30" fmla="*/ 143 w 404"/>
                <a:gd name="T31" fmla="*/ 2 h 479"/>
                <a:gd name="T32" fmla="*/ 126 w 404"/>
                <a:gd name="T33" fmla="*/ 9 h 479"/>
                <a:gd name="T34" fmla="*/ 115 w 404"/>
                <a:gd name="T35" fmla="*/ 23 h 479"/>
                <a:gd name="T36" fmla="*/ 95 w 404"/>
                <a:gd name="T37" fmla="*/ 69 h 479"/>
                <a:gd name="T38" fmla="*/ 3 w 404"/>
                <a:gd name="T39" fmla="*/ 183 h 479"/>
                <a:gd name="T40" fmla="*/ 0 w 404"/>
                <a:gd name="T41" fmla="*/ 188 h 479"/>
                <a:gd name="T42" fmla="*/ 29 w 404"/>
                <a:gd name="T43" fmla="*/ 217 h 479"/>
                <a:gd name="T44" fmla="*/ 101 w 404"/>
                <a:gd name="T45" fmla="*/ 263 h 479"/>
                <a:gd name="T46" fmla="*/ 150 w 404"/>
                <a:gd name="T47" fmla="*/ 303 h 479"/>
                <a:gd name="T48" fmla="*/ 218 w 404"/>
                <a:gd name="T49" fmla="*/ 384 h 479"/>
                <a:gd name="T50" fmla="*/ 383 w 404"/>
                <a:gd name="T51" fmla="*/ 479 h 479"/>
                <a:gd name="T52" fmla="*/ 384 w 404"/>
                <a:gd name="T53" fmla="*/ 432 h 479"/>
                <a:gd name="T54" fmla="*/ 400 w 404"/>
                <a:gd name="T55" fmla="*/ 356 h 479"/>
                <a:gd name="T56" fmla="*/ 404 w 404"/>
                <a:gd name="T57" fmla="*/ 333 h 479"/>
                <a:gd name="T58" fmla="*/ 397 w 404"/>
                <a:gd name="T59" fmla="*/ 319 h 479"/>
                <a:gd name="T60" fmla="*/ 341 w 404"/>
                <a:gd name="T61" fmla="*/ 248 h 479"/>
                <a:gd name="T62" fmla="*/ 316 w 404"/>
                <a:gd name="T63" fmla="*/ 250 h 479"/>
                <a:gd name="T64" fmla="*/ 299 w 404"/>
                <a:gd name="T65" fmla="*/ 245 h 479"/>
                <a:gd name="T66" fmla="*/ 291 w 404"/>
                <a:gd name="T67" fmla="*/ 234 h 479"/>
                <a:gd name="T68" fmla="*/ 287 w 404"/>
                <a:gd name="T69" fmla="*/ 225 h 479"/>
                <a:gd name="T70" fmla="*/ 310 w 404"/>
                <a:gd name="T71" fmla="*/ 180 h 479"/>
                <a:gd name="T72" fmla="*/ 313 w 404"/>
                <a:gd name="T73" fmla="*/ 157 h 47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404"/>
                <a:gd name="T112" fmla="*/ 0 h 479"/>
                <a:gd name="T113" fmla="*/ 404 w 404"/>
                <a:gd name="T114" fmla="*/ 479 h 479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404" h="479">
                  <a:moveTo>
                    <a:pt x="313" y="157"/>
                  </a:moveTo>
                  <a:lnTo>
                    <a:pt x="307" y="127"/>
                  </a:lnTo>
                  <a:lnTo>
                    <a:pt x="310" y="118"/>
                  </a:lnTo>
                  <a:lnTo>
                    <a:pt x="295" y="107"/>
                  </a:lnTo>
                  <a:lnTo>
                    <a:pt x="281" y="102"/>
                  </a:lnTo>
                  <a:lnTo>
                    <a:pt x="274" y="106"/>
                  </a:lnTo>
                  <a:lnTo>
                    <a:pt x="240" y="155"/>
                  </a:lnTo>
                  <a:lnTo>
                    <a:pt x="226" y="153"/>
                  </a:lnTo>
                  <a:lnTo>
                    <a:pt x="209" y="136"/>
                  </a:lnTo>
                  <a:lnTo>
                    <a:pt x="197" y="120"/>
                  </a:lnTo>
                  <a:lnTo>
                    <a:pt x="199" y="104"/>
                  </a:lnTo>
                  <a:lnTo>
                    <a:pt x="199" y="69"/>
                  </a:lnTo>
                  <a:lnTo>
                    <a:pt x="188" y="25"/>
                  </a:lnTo>
                  <a:lnTo>
                    <a:pt x="181" y="6"/>
                  </a:lnTo>
                  <a:lnTo>
                    <a:pt x="167" y="0"/>
                  </a:lnTo>
                  <a:lnTo>
                    <a:pt x="143" y="2"/>
                  </a:lnTo>
                  <a:lnTo>
                    <a:pt x="126" y="9"/>
                  </a:lnTo>
                  <a:lnTo>
                    <a:pt x="115" y="23"/>
                  </a:lnTo>
                  <a:lnTo>
                    <a:pt x="95" y="69"/>
                  </a:lnTo>
                  <a:lnTo>
                    <a:pt x="3" y="183"/>
                  </a:lnTo>
                  <a:lnTo>
                    <a:pt x="0" y="188"/>
                  </a:lnTo>
                  <a:lnTo>
                    <a:pt x="29" y="217"/>
                  </a:lnTo>
                  <a:lnTo>
                    <a:pt x="101" y="263"/>
                  </a:lnTo>
                  <a:lnTo>
                    <a:pt x="150" y="303"/>
                  </a:lnTo>
                  <a:lnTo>
                    <a:pt x="218" y="384"/>
                  </a:lnTo>
                  <a:lnTo>
                    <a:pt x="383" y="479"/>
                  </a:lnTo>
                  <a:lnTo>
                    <a:pt x="384" y="432"/>
                  </a:lnTo>
                  <a:lnTo>
                    <a:pt x="400" y="356"/>
                  </a:lnTo>
                  <a:lnTo>
                    <a:pt x="404" y="333"/>
                  </a:lnTo>
                  <a:lnTo>
                    <a:pt x="397" y="319"/>
                  </a:lnTo>
                  <a:lnTo>
                    <a:pt x="341" y="248"/>
                  </a:lnTo>
                  <a:lnTo>
                    <a:pt x="316" y="250"/>
                  </a:lnTo>
                  <a:lnTo>
                    <a:pt x="299" y="245"/>
                  </a:lnTo>
                  <a:lnTo>
                    <a:pt x="291" y="234"/>
                  </a:lnTo>
                  <a:lnTo>
                    <a:pt x="287" y="225"/>
                  </a:lnTo>
                  <a:lnTo>
                    <a:pt x="310" y="180"/>
                  </a:lnTo>
                  <a:lnTo>
                    <a:pt x="313" y="157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40" name="Freeform 77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2876" y="2685"/>
              <a:ext cx="280" cy="328"/>
            </a:xfrm>
            <a:custGeom>
              <a:avLst/>
              <a:gdLst>
                <a:gd name="T0" fmla="*/ 626 w 1869"/>
                <a:gd name="T1" fmla="*/ 132 h 2204"/>
                <a:gd name="T2" fmla="*/ 625 w 1869"/>
                <a:gd name="T3" fmla="*/ 218 h 2204"/>
                <a:gd name="T4" fmla="*/ 565 w 1869"/>
                <a:gd name="T5" fmla="*/ 377 h 2204"/>
                <a:gd name="T6" fmla="*/ 437 w 1869"/>
                <a:gd name="T7" fmla="*/ 785 h 2204"/>
                <a:gd name="T8" fmla="*/ 376 w 1869"/>
                <a:gd name="T9" fmla="*/ 1013 h 2204"/>
                <a:gd name="T10" fmla="*/ 246 w 1869"/>
                <a:gd name="T11" fmla="*/ 1176 h 2204"/>
                <a:gd name="T12" fmla="*/ 144 w 1869"/>
                <a:gd name="T13" fmla="*/ 1153 h 2204"/>
                <a:gd name="T14" fmla="*/ 80 w 1869"/>
                <a:gd name="T15" fmla="*/ 1180 h 2204"/>
                <a:gd name="T16" fmla="*/ 33 w 1869"/>
                <a:gd name="T17" fmla="*/ 1273 h 2204"/>
                <a:gd name="T18" fmla="*/ 15 w 1869"/>
                <a:gd name="T19" fmla="*/ 1346 h 2204"/>
                <a:gd name="T20" fmla="*/ 129 w 1869"/>
                <a:gd name="T21" fmla="*/ 1317 h 2204"/>
                <a:gd name="T22" fmla="*/ 437 w 1869"/>
                <a:gd name="T23" fmla="*/ 1360 h 2204"/>
                <a:gd name="T24" fmla="*/ 518 w 1869"/>
                <a:gd name="T25" fmla="*/ 1563 h 2204"/>
                <a:gd name="T26" fmla="*/ 698 w 1869"/>
                <a:gd name="T27" fmla="*/ 1563 h 2204"/>
                <a:gd name="T28" fmla="*/ 816 w 1869"/>
                <a:gd name="T29" fmla="*/ 1439 h 2204"/>
                <a:gd name="T30" fmla="*/ 924 w 1869"/>
                <a:gd name="T31" fmla="*/ 1480 h 2204"/>
                <a:gd name="T32" fmla="*/ 943 w 1869"/>
                <a:gd name="T33" fmla="*/ 1582 h 2204"/>
                <a:gd name="T34" fmla="*/ 934 w 1869"/>
                <a:gd name="T35" fmla="*/ 1735 h 2204"/>
                <a:gd name="T36" fmla="*/ 989 w 1869"/>
                <a:gd name="T37" fmla="*/ 1858 h 2204"/>
                <a:gd name="T38" fmla="*/ 1016 w 1869"/>
                <a:gd name="T39" fmla="*/ 1930 h 2204"/>
                <a:gd name="T40" fmla="*/ 1199 w 1869"/>
                <a:gd name="T41" fmla="*/ 1943 h 2204"/>
                <a:gd name="T42" fmla="*/ 1273 w 1869"/>
                <a:gd name="T43" fmla="*/ 1945 h 2204"/>
                <a:gd name="T44" fmla="*/ 1433 w 1869"/>
                <a:gd name="T45" fmla="*/ 2033 h 2204"/>
                <a:gd name="T46" fmla="*/ 1513 w 1869"/>
                <a:gd name="T47" fmla="*/ 2068 h 2204"/>
                <a:gd name="T48" fmla="*/ 1635 w 1869"/>
                <a:gd name="T49" fmla="*/ 2188 h 2204"/>
                <a:gd name="T50" fmla="*/ 1726 w 1869"/>
                <a:gd name="T51" fmla="*/ 2056 h 2204"/>
                <a:gd name="T52" fmla="*/ 1660 w 1869"/>
                <a:gd name="T53" fmla="*/ 2080 h 2204"/>
                <a:gd name="T54" fmla="*/ 1582 w 1869"/>
                <a:gd name="T55" fmla="*/ 1973 h 2204"/>
                <a:gd name="T56" fmla="*/ 1632 w 1869"/>
                <a:gd name="T57" fmla="*/ 1644 h 2204"/>
                <a:gd name="T58" fmla="*/ 1782 w 1869"/>
                <a:gd name="T59" fmla="*/ 1497 h 2204"/>
                <a:gd name="T60" fmla="*/ 1694 w 1869"/>
                <a:gd name="T61" fmla="*/ 1339 h 2204"/>
                <a:gd name="T62" fmla="*/ 1672 w 1869"/>
                <a:gd name="T63" fmla="*/ 1073 h 2204"/>
                <a:gd name="T64" fmla="*/ 1657 w 1869"/>
                <a:gd name="T65" fmla="*/ 833 h 2204"/>
                <a:gd name="T66" fmla="*/ 1709 w 1869"/>
                <a:gd name="T67" fmla="*/ 773 h 2204"/>
                <a:gd name="T68" fmla="*/ 1742 w 1869"/>
                <a:gd name="T69" fmla="*/ 535 h 2204"/>
                <a:gd name="T70" fmla="*/ 1865 w 1869"/>
                <a:gd name="T71" fmla="*/ 370 h 2204"/>
                <a:gd name="T72" fmla="*/ 1817 w 1869"/>
                <a:gd name="T73" fmla="*/ 344 h 2204"/>
                <a:gd name="T74" fmla="*/ 1819 w 1869"/>
                <a:gd name="T75" fmla="*/ 211 h 2204"/>
                <a:gd name="T76" fmla="*/ 1678 w 1869"/>
                <a:gd name="T77" fmla="*/ 128 h 2204"/>
                <a:gd name="T78" fmla="*/ 1599 w 1869"/>
                <a:gd name="T79" fmla="*/ 120 h 2204"/>
                <a:gd name="T80" fmla="*/ 1534 w 1869"/>
                <a:gd name="T81" fmla="*/ 97 h 2204"/>
                <a:gd name="T82" fmla="*/ 1412 w 1869"/>
                <a:gd name="T83" fmla="*/ 44 h 2204"/>
                <a:gd name="T84" fmla="*/ 1286 w 1869"/>
                <a:gd name="T85" fmla="*/ 7 h 2204"/>
                <a:gd name="T86" fmla="*/ 1249 w 1869"/>
                <a:gd name="T87" fmla="*/ 51 h 2204"/>
                <a:gd name="T88" fmla="*/ 1090 w 1869"/>
                <a:gd name="T89" fmla="*/ 91 h 2204"/>
                <a:gd name="T90" fmla="*/ 1003 w 1869"/>
                <a:gd name="T91" fmla="*/ 146 h 2204"/>
                <a:gd name="T92" fmla="*/ 820 w 1869"/>
                <a:gd name="T93" fmla="*/ 114 h 2204"/>
                <a:gd name="T94" fmla="*/ 743 w 1869"/>
                <a:gd name="T95" fmla="*/ 37 h 22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869"/>
                <a:gd name="T145" fmla="*/ 0 h 2204"/>
                <a:gd name="T146" fmla="*/ 1869 w 1869"/>
                <a:gd name="T147" fmla="*/ 2204 h 22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869" h="2204">
                  <a:moveTo>
                    <a:pt x="679" y="47"/>
                  </a:moveTo>
                  <a:lnTo>
                    <a:pt x="665" y="65"/>
                  </a:lnTo>
                  <a:lnTo>
                    <a:pt x="630" y="116"/>
                  </a:lnTo>
                  <a:lnTo>
                    <a:pt x="626" y="132"/>
                  </a:lnTo>
                  <a:lnTo>
                    <a:pt x="630" y="155"/>
                  </a:lnTo>
                  <a:lnTo>
                    <a:pt x="626" y="206"/>
                  </a:lnTo>
                  <a:lnTo>
                    <a:pt x="619" y="208"/>
                  </a:lnTo>
                  <a:lnTo>
                    <a:pt x="625" y="218"/>
                  </a:lnTo>
                  <a:lnTo>
                    <a:pt x="623" y="227"/>
                  </a:lnTo>
                  <a:lnTo>
                    <a:pt x="605" y="291"/>
                  </a:lnTo>
                  <a:lnTo>
                    <a:pt x="581" y="333"/>
                  </a:lnTo>
                  <a:lnTo>
                    <a:pt x="565" y="377"/>
                  </a:lnTo>
                  <a:lnTo>
                    <a:pt x="516" y="720"/>
                  </a:lnTo>
                  <a:lnTo>
                    <a:pt x="495" y="743"/>
                  </a:lnTo>
                  <a:lnTo>
                    <a:pt x="473" y="754"/>
                  </a:lnTo>
                  <a:lnTo>
                    <a:pt x="437" y="785"/>
                  </a:lnTo>
                  <a:lnTo>
                    <a:pt x="418" y="810"/>
                  </a:lnTo>
                  <a:lnTo>
                    <a:pt x="383" y="893"/>
                  </a:lnTo>
                  <a:lnTo>
                    <a:pt x="371" y="974"/>
                  </a:lnTo>
                  <a:lnTo>
                    <a:pt x="376" y="1013"/>
                  </a:lnTo>
                  <a:lnTo>
                    <a:pt x="372" y="1050"/>
                  </a:lnTo>
                  <a:lnTo>
                    <a:pt x="327" y="1099"/>
                  </a:lnTo>
                  <a:lnTo>
                    <a:pt x="311" y="1112"/>
                  </a:lnTo>
                  <a:lnTo>
                    <a:pt x="246" y="1176"/>
                  </a:lnTo>
                  <a:lnTo>
                    <a:pt x="221" y="1194"/>
                  </a:lnTo>
                  <a:lnTo>
                    <a:pt x="213" y="1182"/>
                  </a:lnTo>
                  <a:lnTo>
                    <a:pt x="211" y="1124"/>
                  </a:lnTo>
                  <a:lnTo>
                    <a:pt x="144" y="1153"/>
                  </a:lnTo>
                  <a:lnTo>
                    <a:pt x="129" y="1183"/>
                  </a:lnTo>
                  <a:lnTo>
                    <a:pt x="110" y="1197"/>
                  </a:lnTo>
                  <a:lnTo>
                    <a:pt x="102" y="1197"/>
                  </a:lnTo>
                  <a:lnTo>
                    <a:pt x="80" y="1180"/>
                  </a:lnTo>
                  <a:lnTo>
                    <a:pt x="54" y="1210"/>
                  </a:lnTo>
                  <a:lnTo>
                    <a:pt x="41" y="1220"/>
                  </a:lnTo>
                  <a:lnTo>
                    <a:pt x="37" y="1227"/>
                  </a:lnTo>
                  <a:lnTo>
                    <a:pt x="33" y="1273"/>
                  </a:lnTo>
                  <a:lnTo>
                    <a:pt x="33" y="1279"/>
                  </a:lnTo>
                  <a:lnTo>
                    <a:pt x="0" y="1294"/>
                  </a:lnTo>
                  <a:lnTo>
                    <a:pt x="0" y="1296"/>
                  </a:lnTo>
                  <a:lnTo>
                    <a:pt x="15" y="1346"/>
                  </a:lnTo>
                  <a:lnTo>
                    <a:pt x="45" y="1344"/>
                  </a:lnTo>
                  <a:lnTo>
                    <a:pt x="74" y="1326"/>
                  </a:lnTo>
                  <a:lnTo>
                    <a:pt x="114" y="1323"/>
                  </a:lnTo>
                  <a:lnTo>
                    <a:pt x="129" y="1317"/>
                  </a:lnTo>
                  <a:lnTo>
                    <a:pt x="413" y="1319"/>
                  </a:lnTo>
                  <a:lnTo>
                    <a:pt x="429" y="1326"/>
                  </a:lnTo>
                  <a:lnTo>
                    <a:pt x="432" y="1332"/>
                  </a:lnTo>
                  <a:lnTo>
                    <a:pt x="437" y="1360"/>
                  </a:lnTo>
                  <a:lnTo>
                    <a:pt x="440" y="1390"/>
                  </a:lnTo>
                  <a:lnTo>
                    <a:pt x="462" y="1464"/>
                  </a:lnTo>
                  <a:lnTo>
                    <a:pt x="490" y="1520"/>
                  </a:lnTo>
                  <a:lnTo>
                    <a:pt x="518" y="1563"/>
                  </a:lnTo>
                  <a:lnTo>
                    <a:pt x="531" y="1571"/>
                  </a:lnTo>
                  <a:lnTo>
                    <a:pt x="570" y="1570"/>
                  </a:lnTo>
                  <a:lnTo>
                    <a:pt x="614" y="1557"/>
                  </a:lnTo>
                  <a:lnTo>
                    <a:pt x="698" y="1563"/>
                  </a:lnTo>
                  <a:lnTo>
                    <a:pt x="719" y="1494"/>
                  </a:lnTo>
                  <a:lnTo>
                    <a:pt x="718" y="1462"/>
                  </a:lnTo>
                  <a:lnTo>
                    <a:pt x="722" y="1444"/>
                  </a:lnTo>
                  <a:lnTo>
                    <a:pt x="816" y="1439"/>
                  </a:lnTo>
                  <a:lnTo>
                    <a:pt x="824" y="1451"/>
                  </a:lnTo>
                  <a:lnTo>
                    <a:pt x="821" y="1476"/>
                  </a:lnTo>
                  <a:lnTo>
                    <a:pt x="831" y="1485"/>
                  </a:lnTo>
                  <a:lnTo>
                    <a:pt x="924" y="1480"/>
                  </a:lnTo>
                  <a:lnTo>
                    <a:pt x="938" y="1485"/>
                  </a:lnTo>
                  <a:lnTo>
                    <a:pt x="940" y="1496"/>
                  </a:lnTo>
                  <a:lnTo>
                    <a:pt x="930" y="1550"/>
                  </a:lnTo>
                  <a:lnTo>
                    <a:pt x="943" y="1582"/>
                  </a:lnTo>
                  <a:lnTo>
                    <a:pt x="948" y="1614"/>
                  </a:lnTo>
                  <a:lnTo>
                    <a:pt x="945" y="1670"/>
                  </a:lnTo>
                  <a:lnTo>
                    <a:pt x="931" y="1725"/>
                  </a:lnTo>
                  <a:lnTo>
                    <a:pt x="934" y="1735"/>
                  </a:lnTo>
                  <a:lnTo>
                    <a:pt x="938" y="1748"/>
                  </a:lnTo>
                  <a:lnTo>
                    <a:pt x="976" y="1801"/>
                  </a:lnTo>
                  <a:lnTo>
                    <a:pt x="989" y="1832"/>
                  </a:lnTo>
                  <a:lnTo>
                    <a:pt x="989" y="1858"/>
                  </a:lnTo>
                  <a:lnTo>
                    <a:pt x="980" y="1908"/>
                  </a:lnTo>
                  <a:lnTo>
                    <a:pt x="980" y="1920"/>
                  </a:lnTo>
                  <a:lnTo>
                    <a:pt x="989" y="1930"/>
                  </a:lnTo>
                  <a:lnTo>
                    <a:pt x="1016" y="1930"/>
                  </a:lnTo>
                  <a:lnTo>
                    <a:pt x="1054" y="1916"/>
                  </a:lnTo>
                  <a:lnTo>
                    <a:pt x="1098" y="1909"/>
                  </a:lnTo>
                  <a:lnTo>
                    <a:pt x="1183" y="1922"/>
                  </a:lnTo>
                  <a:lnTo>
                    <a:pt x="1199" y="1943"/>
                  </a:lnTo>
                  <a:lnTo>
                    <a:pt x="1207" y="1960"/>
                  </a:lnTo>
                  <a:lnTo>
                    <a:pt x="1215" y="1964"/>
                  </a:lnTo>
                  <a:lnTo>
                    <a:pt x="1265" y="1948"/>
                  </a:lnTo>
                  <a:lnTo>
                    <a:pt x="1273" y="1945"/>
                  </a:lnTo>
                  <a:lnTo>
                    <a:pt x="1299" y="1998"/>
                  </a:lnTo>
                  <a:lnTo>
                    <a:pt x="1321" y="2008"/>
                  </a:lnTo>
                  <a:lnTo>
                    <a:pt x="1417" y="2036"/>
                  </a:lnTo>
                  <a:lnTo>
                    <a:pt x="1433" y="2033"/>
                  </a:lnTo>
                  <a:lnTo>
                    <a:pt x="1456" y="1996"/>
                  </a:lnTo>
                  <a:lnTo>
                    <a:pt x="1464" y="1976"/>
                  </a:lnTo>
                  <a:lnTo>
                    <a:pt x="1497" y="2052"/>
                  </a:lnTo>
                  <a:lnTo>
                    <a:pt x="1513" y="2068"/>
                  </a:lnTo>
                  <a:lnTo>
                    <a:pt x="1554" y="2082"/>
                  </a:lnTo>
                  <a:lnTo>
                    <a:pt x="1574" y="2095"/>
                  </a:lnTo>
                  <a:lnTo>
                    <a:pt x="1593" y="2114"/>
                  </a:lnTo>
                  <a:lnTo>
                    <a:pt x="1635" y="2188"/>
                  </a:lnTo>
                  <a:lnTo>
                    <a:pt x="1649" y="2199"/>
                  </a:lnTo>
                  <a:lnTo>
                    <a:pt x="1726" y="2204"/>
                  </a:lnTo>
                  <a:lnTo>
                    <a:pt x="1729" y="2174"/>
                  </a:lnTo>
                  <a:lnTo>
                    <a:pt x="1726" y="2056"/>
                  </a:lnTo>
                  <a:lnTo>
                    <a:pt x="1719" y="2047"/>
                  </a:lnTo>
                  <a:lnTo>
                    <a:pt x="1703" y="2056"/>
                  </a:lnTo>
                  <a:lnTo>
                    <a:pt x="1684" y="2080"/>
                  </a:lnTo>
                  <a:lnTo>
                    <a:pt x="1660" y="2080"/>
                  </a:lnTo>
                  <a:lnTo>
                    <a:pt x="1641" y="2065"/>
                  </a:lnTo>
                  <a:lnTo>
                    <a:pt x="1604" y="2020"/>
                  </a:lnTo>
                  <a:lnTo>
                    <a:pt x="1584" y="1989"/>
                  </a:lnTo>
                  <a:lnTo>
                    <a:pt x="1582" y="1973"/>
                  </a:lnTo>
                  <a:lnTo>
                    <a:pt x="1611" y="1856"/>
                  </a:lnTo>
                  <a:lnTo>
                    <a:pt x="1595" y="1744"/>
                  </a:lnTo>
                  <a:lnTo>
                    <a:pt x="1596" y="1711"/>
                  </a:lnTo>
                  <a:lnTo>
                    <a:pt x="1632" y="1644"/>
                  </a:lnTo>
                  <a:lnTo>
                    <a:pt x="1640" y="1633"/>
                  </a:lnTo>
                  <a:lnTo>
                    <a:pt x="1654" y="1623"/>
                  </a:lnTo>
                  <a:lnTo>
                    <a:pt x="1812" y="1593"/>
                  </a:lnTo>
                  <a:lnTo>
                    <a:pt x="1782" y="1497"/>
                  </a:lnTo>
                  <a:lnTo>
                    <a:pt x="1763" y="1455"/>
                  </a:lnTo>
                  <a:lnTo>
                    <a:pt x="1721" y="1407"/>
                  </a:lnTo>
                  <a:lnTo>
                    <a:pt x="1701" y="1374"/>
                  </a:lnTo>
                  <a:lnTo>
                    <a:pt x="1694" y="1339"/>
                  </a:lnTo>
                  <a:lnTo>
                    <a:pt x="1698" y="1293"/>
                  </a:lnTo>
                  <a:lnTo>
                    <a:pt x="1681" y="1217"/>
                  </a:lnTo>
                  <a:lnTo>
                    <a:pt x="1682" y="1107"/>
                  </a:lnTo>
                  <a:lnTo>
                    <a:pt x="1672" y="1073"/>
                  </a:lnTo>
                  <a:lnTo>
                    <a:pt x="1673" y="1017"/>
                  </a:lnTo>
                  <a:lnTo>
                    <a:pt x="1669" y="997"/>
                  </a:lnTo>
                  <a:lnTo>
                    <a:pt x="1631" y="927"/>
                  </a:lnTo>
                  <a:lnTo>
                    <a:pt x="1657" y="833"/>
                  </a:lnTo>
                  <a:lnTo>
                    <a:pt x="1669" y="819"/>
                  </a:lnTo>
                  <a:lnTo>
                    <a:pt x="1682" y="810"/>
                  </a:lnTo>
                  <a:lnTo>
                    <a:pt x="1702" y="789"/>
                  </a:lnTo>
                  <a:lnTo>
                    <a:pt x="1709" y="773"/>
                  </a:lnTo>
                  <a:lnTo>
                    <a:pt x="1713" y="759"/>
                  </a:lnTo>
                  <a:lnTo>
                    <a:pt x="1710" y="650"/>
                  </a:lnTo>
                  <a:lnTo>
                    <a:pt x="1723" y="570"/>
                  </a:lnTo>
                  <a:lnTo>
                    <a:pt x="1742" y="535"/>
                  </a:lnTo>
                  <a:lnTo>
                    <a:pt x="1754" y="519"/>
                  </a:lnTo>
                  <a:lnTo>
                    <a:pt x="1861" y="411"/>
                  </a:lnTo>
                  <a:lnTo>
                    <a:pt x="1869" y="386"/>
                  </a:lnTo>
                  <a:lnTo>
                    <a:pt x="1865" y="370"/>
                  </a:lnTo>
                  <a:lnTo>
                    <a:pt x="1853" y="361"/>
                  </a:lnTo>
                  <a:lnTo>
                    <a:pt x="1831" y="358"/>
                  </a:lnTo>
                  <a:lnTo>
                    <a:pt x="1824" y="358"/>
                  </a:lnTo>
                  <a:lnTo>
                    <a:pt x="1817" y="344"/>
                  </a:lnTo>
                  <a:lnTo>
                    <a:pt x="1829" y="245"/>
                  </a:lnTo>
                  <a:lnTo>
                    <a:pt x="1829" y="222"/>
                  </a:lnTo>
                  <a:lnTo>
                    <a:pt x="1821" y="213"/>
                  </a:lnTo>
                  <a:lnTo>
                    <a:pt x="1819" y="211"/>
                  </a:lnTo>
                  <a:lnTo>
                    <a:pt x="1717" y="93"/>
                  </a:lnTo>
                  <a:lnTo>
                    <a:pt x="1707" y="90"/>
                  </a:lnTo>
                  <a:lnTo>
                    <a:pt x="1697" y="97"/>
                  </a:lnTo>
                  <a:lnTo>
                    <a:pt x="1678" y="128"/>
                  </a:lnTo>
                  <a:lnTo>
                    <a:pt x="1670" y="134"/>
                  </a:lnTo>
                  <a:lnTo>
                    <a:pt x="1641" y="100"/>
                  </a:lnTo>
                  <a:lnTo>
                    <a:pt x="1623" y="98"/>
                  </a:lnTo>
                  <a:lnTo>
                    <a:pt x="1599" y="120"/>
                  </a:lnTo>
                  <a:lnTo>
                    <a:pt x="1589" y="132"/>
                  </a:lnTo>
                  <a:lnTo>
                    <a:pt x="1572" y="132"/>
                  </a:lnTo>
                  <a:lnTo>
                    <a:pt x="1556" y="121"/>
                  </a:lnTo>
                  <a:lnTo>
                    <a:pt x="1534" y="97"/>
                  </a:lnTo>
                  <a:lnTo>
                    <a:pt x="1518" y="70"/>
                  </a:lnTo>
                  <a:lnTo>
                    <a:pt x="1484" y="30"/>
                  </a:lnTo>
                  <a:lnTo>
                    <a:pt x="1476" y="17"/>
                  </a:lnTo>
                  <a:lnTo>
                    <a:pt x="1412" y="44"/>
                  </a:lnTo>
                  <a:lnTo>
                    <a:pt x="1399" y="42"/>
                  </a:lnTo>
                  <a:lnTo>
                    <a:pt x="1386" y="33"/>
                  </a:lnTo>
                  <a:lnTo>
                    <a:pt x="1305" y="0"/>
                  </a:lnTo>
                  <a:lnTo>
                    <a:pt x="1286" y="7"/>
                  </a:lnTo>
                  <a:lnTo>
                    <a:pt x="1283" y="37"/>
                  </a:lnTo>
                  <a:lnTo>
                    <a:pt x="1277" y="49"/>
                  </a:lnTo>
                  <a:lnTo>
                    <a:pt x="1265" y="52"/>
                  </a:lnTo>
                  <a:lnTo>
                    <a:pt x="1249" y="51"/>
                  </a:lnTo>
                  <a:lnTo>
                    <a:pt x="1211" y="40"/>
                  </a:lnTo>
                  <a:lnTo>
                    <a:pt x="1184" y="45"/>
                  </a:lnTo>
                  <a:lnTo>
                    <a:pt x="1102" y="90"/>
                  </a:lnTo>
                  <a:lnTo>
                    <a:pt x="1090" y="91"/>
                  </a:lnTo>
                  <a:lnTo>
                    <a:pt x="1065" y="72"/>
                  </a:lnTo>
                  <a:lnTo>
                    <a:pt x="1049" y="65"/>
                  </a:lnTo>
                  <a:lnTo>
                    <a:pt x="1033" y="74"/>
                  </a:lnTo>
                  <a:lnTo>
                    <a:pt x="1003" y="146"/>
                  </a:lnTo>
                  <a:lnTo>
                    <a:pt x="996" y="155"/>
                  </a:lnTo>
                  <a:lnTo>
                    <a:pt x="968" y="151"/>
                  </a:lnTo>
                  <a:lnTo>
                    <a:pt x="885" y="123"/>
                  </a:lnTo>
                  <a:lnTo>
                    <a:pt x="820" y="114"/>
                  </a:lnTo>
                  <a:lnTo>
                    <a:pt x="799" y="97"/>
                  </a:lnTo>
                  <a:lnTo>
                    <a:pt x="792" y="84"/>
                  </a:lnTo>
                  <a:lnTo>
                    <a:pt x="777" y="63"/>
                  </a:lnTo>
                  <a:lnTo>
                    <a:pt x="743" y="37"/>
                  </a:lnTo>
                  <a:lnTo>
                    <a:pt x="724" y="28"/>
                  </a:lnTo>
                  <a:lnTo>
                    <a:pt x="703" y="31"/>
                  </a:lnTo>
                  <a:lnTo>
                    <a:pt x="679" y="47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41" name="Freeform 78"/>
            <p:cNvSpPr>
              <a:spLocks/>
            </p:cNvSpPr>
            <p:nvPr>
              <p:custDataLst>
                <p:tags r:id="rId69"/>
              </p:custDataLst>
            </p:nvPr>
          </p:nvSpPr>
          <p:spPr bwMode="auto">
            <a:xfrm>
              <a:off x="3128" y="2798"/>
              <a:ext cx="164" cy="185"/>
            </a:xfrm>
            <a:custGeom>
              <a:avLst/>
              <a:gdLst>
                <a:gd name="T0" fmla="*/ 815 w 1094"/>
                <a:gd name="T1" fmla="*/ 287 h 1253"/>
                <a:gd name="T2" fmla="*/ 813 w 1094"/>
                <a:gd name="T3" fmla="*/ 240 h 1253"/>
                <a:gd name="T4" fmla="*/ 124 w 1094"/>
                <a:gd name="T5" fmla="*/ 4 h 1253"/>
                <a:gd name="T6" fmla="*/ 155 w 1094"/>
                <a:gd name="T7" fmla="*/ 116 h 1253"/>
                <a:gd name="T8" fmla="*/ 143 w 1094"/>
                <a:gd name="T9" fmla="*/ 150 h 1253"/>
                <a:gd name="T10" fmla="*/ 111 w 1094"/>
                <a:gd name="T11" fmla="*/ 159 h 1253"/>
                <a:gd name="T12" fmla="*/ 114 w 1094"/>
                <a:gd name="T13" fmla="*/ 222 h 1253"/>
                <a:gd name="T14" fmla="*/ 144 w 1094"/>
                <a:gd name="T15" fmla="*/ 233 h 1253"/>
                <a:gd name="T16" fmla="*/ 148 w 1094"/>
                <a:gd name="T17" fmla="*/ 256 h 1253"/>
                <a:gd name="T18" fmla="*/ 102 w 1094"/>
                <a:gd name="T19" fmla="*/ 314 h 1253"/>
                <a:gd name="T20" fmla="*/ 58 w 1094"/>
                <a:gd name="T21" fmla="*/ 407 h 1253"/>
                <a:gd name="T22" fmla="*/ 0 w 1094"/>
                <a:gd name="T23" fmla="*/ 465 h 1253"/>
                <a:gd name="T24" fmla="*/ 13 w 1094"/>
                <a:gd name="T25" fmla="*/ 587 h 1253"/>
                <a:gd name="T26" fmla="*/ 40 w 1094"/>
                <a:gd name="T27" fmla="*/ 655 h 1253"/>
                <a:gd name="T28" fmla="*/ 101 w 1094"/>
                <a:gd name="T29" fmla="*/ 745 h 1253"/>
                <a:gd name="T30" fmla="*/ 162 w 1094"/>
                <a:gd name="T31" fmla="*/ 874 h 1253"/>
                <a:gd name="T32" fmla="*/ 331 w 1094"/>
                <a:gd name="T33" fmla="*/ 961 h 1253"/>
                <a:gd name="T34" fmla="*/ 381 w 1094"/>
                <a:gd name="T35" fmla="*/ 1001 h 1253"/>
                <a:gd name="T36" fmla="*/ 434 w 1094"/>
                <a:gd name="T37" fmla="*/ 1006 h 1253"/>
                <a:gd name="T38" fmla="*/ 485 w 1094"/>
                <a:gd name="T39" fmla="*/ 1079 h 1253"/>
                <a:gd name="T40" fmla="*/ 507 w 1094"/>
                <a:gd name="T41" fmla="*/ 1231 h 1253"/>
                <a:gd name="T42" fmla="*/ 592 w 1094"/>
                <a:gd name="T43" fmla="*/ 1240 h 1253"/>
                <a:gd name="T44" fmla="*/ 644 w 1094"/>
                <a:gd name="T45" fmla="*/ 1217 h 1253"/>
                <a:gd name="T46" fmla="*/ 658 w 1094"/>
                <a:gd name="T47" fmla="*/ 1214 h 1253"/>
                <a:gd name="T48" fmla="*/ 695 w 1094"/>
                <a:gd name="T49" fmla="*/ 1251 h 1253"/>
                <a:gd name="T50" fmla="*/ 800 w 1094"/>
                <a:gd name="T51" fmla="*/ 1253 h 1253"/>
                <a:gd name="T52" fmla="*/ 850 w 1094"/>
                <a:gd name="T53" fmla="*/ 1187 h 1253"/>
                <a:gd name="T54" fmla="*/ 891 w 1094"/>
                <a:gd name="T55" fmla="*/ 1214 h 1253"/>
                <a:gd name="T56" fmla="*/ 1020 w 1094"/>
                <a:gd name="T57" fmla="*/ 1161 h 1253"/>
                <a:gd name="T58" fmla="*/ 1094 w 1094"/>
                <a:gd name="T59" fmla="*/ 1097 h 1253"/>
                <a:gd name="T60" fmla="*/ 1032 w 1094"/>
                <a:gd name="T61" fmla="*/ 1042 h 1253"/>
                <a:gd name="T62" fmla="*/ 1005 w 1094"/>
                <a:gd name="T63" fmla="*/ 987 h 1253"/>
                <a:gd name="T64" fmla="*/ 988 w 1094"/>
                <a:gd name="T65" fmla="*/ 842 h 1253"/>
                <a:gd name="T66" fmla="*/ 991 w 1094"/>
                <a:gd name="T67" fmla="*/ 793 h 1253"/>
                <a:gd name="T68" fmla="*/ 976 w 1094"/>
                <a:gd name="T69" fmla="*/ 782 h 1253"/>
                <a:gd name="T70" fmla="*/ 1004 w 1094"/>
                <a:gd name="T71" fmla="*/ 708 h 1253"/>
                <a:gd name="T72" fmla="*/ 972 w 1094"/>
                <a:gd name="T73" fmla="*/ 662 h 1253"/>
                <a:gd name="T74" fmla="*/ 938 w 1094"/>
                <a:gd name="T75" fmla="*/ 583 h 1253"/>
                <a:gd name="T76" fmla="*/ 962 w 1094"/>
                <a:gd name="T77" fmla="*/ 458 h 1253"/>
                <a:gd name="T78" fmla="*/ 817 w 1094"/>
                <a:gd name="T79" fmla="*/ 300 h 125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94"/>
                <a:gd name="T121" fmla="*/ 0 h 1253"/>
                <a:gd name="T122" fmla="*/ 1094 w 1094"/>
                <a:gd name="T123" fmla="*/ 1253 h 1253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94" h="1253">
                  <a:moveTo>
                    <a:pt x="817" y="300"/>
                  </a:moveTo>
                  <a:lnTo>
                    <a:pt x="815" y="287"/>
                  </a:lnTo>
                  <a:lnTo>
                    <a:pt x="820" y="259"/>
                  </a:lnTo>
                  <a:lnTo>
                    <a:pt x="813" y="240"/>
                  </a:lnTo>
                  <a:lnTo>
                    <a:pt x="450" y="0"/>
                  </a:lnTo>
                  <a:lnTo>
                    <a:pt x="124" y="4"/>
                  </a:lnTo>
                  <a:lnTo>
                    <a:pt x="131" y="44"/>
                  </a:lnTo>
                  <a:lnTo>
                    <a:pt x="155" y="116"/>
                  </a:lnTo>
                  <a:lnTo>
                    <a:pt x="148" y="141"/>
                  </a:lnTo>
                  <a:lnTo>
                    <a:pt x="143" y="150"/>
                  </a:lnTo>
                  <a:lnTo>
                    <a:pt x="124" y="159"/>
                  </a:lnTo>
                  <a:lnTo>
                    <a:pt x="111" y="159"/>
                  </a:lnTo>
                  <a:lnTo>
                    <a:pt x="106" y="210"/>
                  </a:lnTo>
                  <a:lnTo>
                    <a:pt x="114" y="222"/>
                  </a:lnTo>
                  <a:lnTo>
                    <a:pt x="132" y="226"/>
                  </a:lnTo>
                  <a:lnTo>
                    <a:pt x="144" y="233"/>
                  </a:lnTo>
                  <a:lnTo>
                    <a:pt x="150" y="245"/>
                  </a:lnTo>
                  <a:lnTo>
                    <a:pt x="148" y="256"/>
                  </a:lnTo>
                  <a:lnTo>
                    <a:pt x="134" y="270"/>
                  </a:lnTo>
                  <a:lnTo>
                    <a:pt x="102" y="314"/>
                  </a:lnTo>
                  <a:lnTo>
                    <a:pt x="74" y="377"/>
                  </a:lnTo>
                  <a:lnTo>
                    <a:pt x="58" y="407"/>
                  </a:lnTo>
                  <a:lnTo>
                    <a:pt x="1" y="426"/>
                  </a:lnTo>
                  <a:lnTo>
                    <a:pt x="0" y="465"/>
                  </a:lnTo>
                  <a:lnTo>
                    <a:pt x="17" y="541"/>
                  </a:lnTo>
                  <a:lnTo>
                    <a:pt x="13" y="587"/>
                  </a:lnTo>
                  <a:lnTo>
                    <a:pt x="20" y="622"/>
                  </a:lnTo>
                  <a:lnTo>
                    <a:pt x="40" y="655"/>
                  </a:lnTo>
                  <a:lnTo>
                    <a:pt x="82" y="703"/>
                  </a:lnTo>
                  <a:lnTo>
                    <a:pt x="101" y="745"/>
                  </a:lnTo>
                  <a:lnTo>
                    <a:pt x="131" y="841"/>
                  </a:lnTo>
                  <a:lnTo>
                    <a:pt x="162" y="874"/>
                  </a:lnTo>
                  <a:lnTo>
                    <a:pt x="173" y="885"/>
                  </a:lnTo>
                  <a:lnTo>
                    <a:pt x="331" y="961"/>
                  </a:lnTo>
                  <a:lnTo>
                    <a:pt x="363" y="980"/>
                  </a:lnTo>
                  <a:lnTo>
                    <a:pt x="381" y="1001"/>
                  </a:lnTo>
                  <a:lnTo>
                    <a:pt x="391" y="999"/>
                  </a:lnTo>
                  <a:lnTo>
                    <a:pt x="434" y="1006"/>
                  </a:lnTo>
                  <a:lnTo>
                    <a:pt x="465" y="1035"/>
                  </a:lnTo>
                  <a:lnTo>
                    <a:pt x="485" y="1079"/>
                  </a:lnTo>
                  <a:lnTo>
                    <a:pt x="498" y="1201"/>
                  </a:lnTo>
                  <a:lnTo>
                    <a:pt x="507" y="1231"/>
                  </a:lnTo>
                  <a:lnTo>
                    <a:pt x="547" y="1231"/>
                  </a:lnTo>
                  <a:lnTo>
                    <a:pt x="592" y="1240"/>
                  </a:lnTo>
                  <a:lnTo>
                    <a:pt x="616" y="1235"/>
                  </a:lnTo>
                  <a:lnTo>
                    <a:pt x="644" y="1217"/>
                  </a:lnTo>
                  <a:lnTo>
                    <a:pt x="650" y="1210"/>
                  </a:lnTo>
                  <a:lnTo>
                    <a:pt x="658" y="1214"/>
                  </a:lnTo>
                  <a:lnTo>
                    <a:pt x="674" y="1235"/>
                  </a:lnTo>
                  <a:lnTo>
                    <a:pt x="695" y="1251"/>
                  </a:lnTo>
                  <a:lnTo>
                    <a:pt x="782" y="1249"/>
                  </a:lnTo>
                  <a:lnTo>
                    <a:pt x="800" y="1253"/>
                  </a:lnTo>
                  <a:lnTo>
                    <a:pt x="817" y="1244"/>
                  </a:lnTo>
                  <a:lnTo>
                    <a:pt x="850" y="1187"/>
                  </a:lnTo>
                  <a:lnTo>
                    <a:pt x="862" y="1191"/>
                  </a:lnTo>
                  <a:lnTo>
                    <a:pt x="891" y="1214"/>
                  </a:lnTo>
                  <a:lnTo>
                    <a:pt x="911" y="1212"/>
                  </a:lnTo>
                  <a:lnTo>
                    <a:pt x="1020" y="1161"/>
                  </a:lnTo>
                  <a:lnTo>
                    <a:pt x="1043" y="1143"/>
                  </a:lnTo>
                  <a:lnTo>
                    <a:pt x="1094" y="1097"/>
                  </a:lnTo>
                  <a:lnTo>
                    <a:pt x="1086" y="1086"/>
                  </a:lnTo>
                  <a:lnTo>
                    <a:pt x="1032" y="1042"/>
                  </a:lnTo>
                  <a:lnTo>
                    <a:pt x="1015" y="1017"/>
                  </a:lnTo>
                  <a:lnTo>
                    <a:pt x="1005" y="987"/>
                  </a:lnTo>
                  <a:lnTo>
                    <a:pt x="988" y="892"/>
                  </a:lnTo>
                  <a:lnTo>
                    <a:pt x="988" y="842"/>
                  </a:lnTo>
                  <a:lnTo>
                    <a:pt x="997" y="805"/>
                  </a:lnTo>
                  <a:lnTo>
                    <a:pt x="991" y="793"/>
                  </a:lnTo>
                  <a:lnTo>
                    <a:pt x="978" y="791"/>
                  </a:lnTo>
                  <a:lnTo>
                    <a:pt x="976" y="782"/>
                  </a:lnTo>
                  <a:lnTo>
                    <a:pt x="992" y="728"/>
                  </a:lnTo>
                  <a:lnTo>
                    <a:pt x="1004" y="708"/>
                  </a:lnTo>
                  <a:lnTo>
                    <a:pt x="1004" y="694"/>
                  </a:lnTo>
                  <a:lnTo>
                    <a:pt x="972" y="662"/>
                  </a:lnTo>
                  <a:lnTo>
                    <a:pt x="942" y="611"/>
                  </a:lnTo>
                  <a:lnTo>
                    <a:pt x="938" y="583"/>
                  </a:lnTo>
                  <a:lnTo>
                    <a:pt x="943" y="528"/>
                  </a:lnTo>
                  <a:lnTo>
                    <a:pt x="962" y="458"/>
                  </a:lnTo>
                  <a:lnTo>
                    <a:pt x="972" y="437"/>
                  </a:lnTo>
                  <a:lnTo>
                    <a:pt x="817" y="300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42" name="Freeform 79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3120" y="2798"/>
              <a:ext cx="31" cy="30"/>
            </a:xfrm>
            <a:custGeom>
              <a:avLst/>
              <a:gdLst>
                <a:gd name="T0" fmla="*/ 174 w 205"/>
                <a:gd name="T1" fmla="*/ 0 h 206"/>
                <a:gd name="T2" fmla="*/ 161 w 205"/>
                <a:gd name="T3" fmla="*/ 1 h 206"/>
                <a:gd name="T4" fmla="*/ 136 w 205"/>
                <a:gd name="T5" fmla="*/ 22 h 206"/>
                <a:gd name="T6" fmla="*/ 116 w 205"/>
                <a:gd name="T7" fmla="*/ 44 h 206"/>
                <a:gd name="T8" fmla="*/ 98 w 205"/>
                <a:gd name="T9" fmla="*/ 47 h 206"/>
                <a:gd name="T10" fmla="*/ 72 w 205"/>
                <a:gd name="T11" fmla="*/ 35 h 206"/>
                <a:gd name="T12" fmla="*/ 71 w 205"/>
                <a:gd name="T13" fmla="*/ 33 h 206"/>
                <a:gd name="T14" fmla="*/ 51 w 205"/>
                <a:gd name="T15" fmla="*/ 54 h 206"/>
                <a:gd name="T16" fmla="*/ 38 w 205"/>
                <a:gd name="T17" fmla="*/ 63 h 206"/>
                <a:gd name="T18" fmla="*/ 26 w 205"/>
                <a:gd name="T19" fmla="*/ 77 h 206"/>
                <a:gd name="T20" fmla="*/ 0 w 205"/>
                <a:gd name="T21" fmla="*/ 171 h 206"/>
                <a:gd name="T22" fmla="*/ 9 w 205"/>
                <a:gd name="T23" fmla="*/ 188 h 206"/>
                <a:gd name="T24" fmla="*/ 38 w 205"/>
                <a:gd name="T25" fmla="*/ 190 h 206"/>
                <a:gd name="T26" fmla="*/ 74 w 205"/>
                <a:gd name="T27" fmla="*/ 206 h 206"/>
                <a:gd name="T28" fmla="*/ 90 w 205"/>
                <a:gd name="T29" fmla="*/ 201 h 206"/>
                <a:gd name="T30" fmla="*/ 98 w 205"/>
                <a:gd name="T31" fmla="*/ 195 h 206"/>
                <a:gd name="T32" fmla="*/ 115 w 205"/>
                <a:gd name="T33" fmla="*/ 165 h 206"/>
                <a:gd name="T34" fmla="*/ 137 w 205"/>
                <a:gd name="T35" fmla="*/ 156 h 206"/>
                <a:gd name="T36" fmla="*/ 174 w 205"/>
                <a:gd name="T37" fmla="*/ 155 h 206"/>
                <a:gd name="T38" fmla="*/ 193 w 205"/>
                <a:gd name="T39" fmla="*/ 146 h 206"/>
                <a:gd name="T40" fmla="*/ 198 w 205"/>
                <a:gd name="T41" fmla="*/ 137 h 206"/>
                <a:gd name="T42" fmla="*/ 205 w 205"/>
                <a:gd name="T43" fmla="*/ 112 h 206"/>
                <a:gd name="T44" fmla="*/ 181 w 205"/>
                <a:gd name="T45" fmla="*/ 40 h 206"/>
                <a:gd name="T46" fmla="*/ 174 w 205"/>
                <a:gd name="T47" fmla="*/ 0 h 20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05"/>
                <a:gd name="T73" fmla="*/ 0 h 206"/>
                <a:gd name="T74" fmla="*/ 205 w 205"/>
                <a:gd name="T75" fmla="*/ 206 h 20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05" h="206">
                  <a:moveTo>
                    <a:pt x="174" y="0"/>
                  </a:moveTo>
                  <a:lnTo>
                    <a:pt x="161" y="1"/>
                  </a:lnTo>
                  <a:lnTo>
                    <a:pt x="136" y="22"/>
                  </a:lnTo>
                  <a:lnTo>
                    <a:pt x="116" y="44"/>
                  </a:lnTo>
                  <a:lnTo>
                    <a:pt x="98" y="47"/>
                  </a:lnTo>
                  <a:lnTo>
                    <a:pt x="72" y="35"/>
                  </a:lnTo>
                  <a:lnTo>
                    <a:pt x="71" y="33"/>
                  </a:lnTo>
                  <a:lnTo>
                    <a:pt x="51" y="54"/>
                  </a:lnTo>
                  <a:lnTo>
                    <a:pt x="38" y="63"/>
                  </a:lnTo>
                  <a:lnTo>
                    <a:pt x="26" y="77"/>
                  </a:lnTo>
                  <a:lnTo>
                    <a:pt x="0" y="171"/>
                  </a:lnTo>
                  <a:lnTo>
                    <a:pt x="9" y="188"/>
                  </a:lnTo>
                  <a:lnTo>
                    <a:pt x="38" y="190"/>
                  </a:lnTo>
                  <a:lnTo>
                    <a:pt x="74" y="206"/>
                  </a:lnTo>
                  <a:lnTo>
                    <a:pt x="90" y="201"/>
                  </a:lnTo>
                  <a:lnTo>
                    <a:pt x="98" y="195"/>
                  </a:lnTo>
                  <a:lnTo>
                    <a:pt x="115" y="165"/>
                  </a:lnTo>
                  <a:lnTo>
                    <a:pt x="137" y="156"/>
                  </a:lnTo>
                  <a:lnTo>
                    <a:pt x="174" y="155"/>
                  </a:lnTo>
                  <a:lnTo>
                    <a:pt x="193" y="146"/>
                  </a:lnTo>
                  <a:lnTo>
                    <a:pt x="198" y="137"/>
                  </a:lnTo>
                  <a:lnTo>
                    <a:pt x="205" y="112"/>
                  </a:lnTo>
                  <a:lnTo>
                    <a:pt x="181" y="40"/>
                  </a:lnTo>
                  <a:lnTo>
                    <a:pt x="174" y="0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43" name="Freeform 80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3121" y="2820"/>
              <a:ext cx="29" cy="40"/>
            </a:xfrm>
            <a:custGeom>
              <a:avLst/>
              <a:gdLst>
                <a:gd name="T0" fmla="*/ 175 w 191"/>
                <a:gd name="T1" fmla="*/ 111 h 267"/>
                <a:gd name="T2" fmla="*/ 189 w 191"/>
                <a:gd name="T3" fmla="*/ 97 h 267"/>
                <a:gd name="T4" fmla="*/ 191 w 191"/>
                <a:gd name="T5" fmla="*/ 86 h 267"/>
                <a:gd name="T6" fmla="*/ 185 w 191"/>
                <a:gd name="T7" fmla="*/ 74 h 267"/>
                <a:gd name="T8" fmla="*/ 173 w 191"/>
                <a:gd name="T9" fmla="*/ 67 h 267"/>
                <a:gd name="T10" fmla="*/ 155 w 191"/>
                <a:gd name="T11" fmla="*/ 63 h 267"/>
                <a:gd name="T12" fmla="*/ 147 w 191"/>
                <a:gd name="T13" fmla="*/ 51 h 267"/>
                <a:gd name="T14" fmla="*/ 152 w 191"/>
                <a:gd name="T15" fmla="*/ 0 h 267"/>
                <a:gd name="T16" fmla="*/ 128 w 191"/>
                <a:gd name="T17" fmla="*/ 1 h 267"/>
                <a:gd name="T18" fmla="*/ 106 w 191"/>
                <a:gd name="T19" fmla="*/ 10 h 267"/>
                <a:gd name="T20" fmla="*/ 89 w 191"/>
                <a:gd name="T21" fmla="*/ 40 h 267"/>
                <a:gd name="T22" fmla="*/ 81 w 191"/>
                <a:gd name="T23" fmla="*/ 46 h 267"/>
                <a:gd name="T24" fmla="*/ 65 w 191"/>
                <a:gd name="T25" fmla="*/ 51 h 267"/>
                <a:gd name="T26" fmla="*/ 29 w 191"/>
                <a:gd name="T27" fmla="*/ 35 h 267"/>
                <a:gd name="T28" fmla="*/ 0 w 191"/>
                <a:gd name="T29" fmla="*/ 33 h 267"/>
                <a:gd name="T30" fmla="*/ 29 w 191"/>
                <a:gd name="T31" fmla="*/ 86 h 267"/>
                <a:gd name="T32" fmla="*/ 33 w 191"/>
                <a:gd name="T33" fmla="*/ 106 h 267"/>
                <a:gd name="T34" fmla="*/ 32 w 191"/>
                <a:gd name="T35" fmla="*/ 162 h 267"/>
                <a:gd name="T36" fmla="*/ 42 w 191"/>
                <a:gd name="T37" fmla="*/ 196 h 267"/>
                <a:gd name="T38" fmla="*/ 42 w 191"/>
                <a:gd name="T39" fmla="*/ 267 h 267"/>
                <a:gd name="T40" fmla="*/ 99 w 191"/>
                <a:gd name="T41" fmla="*/ 248 h 267"/>
                <a:gd name="T42" fmla="*/ 115 w 191"/>
                <a:gd name="T43" fmla="*/ 218 h 267"/>
                <a:gd name="T44" fmla="*/ 143 w 191"/>
                <a:gd name="T45" fmla="*/ 155 h 267"/>
                <a:gd name="T46" fmla="*/ 175 w 191"/>
                <a:gd name="T47" fmla="*/ 111 h 26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91"/>
                <a:gd name="T73" fmla="*/ 0 h 267"/>
                <a:gd name="T74" fmla="*/ 191 w 191"/>
                <a:gd name="T75" fmla="*/ 267 h 267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91" h="267">
                  <a:moveTo>
                    <a:pt x="175" y="111"/>
                  </a:moveTo>
                  <a:lnTo>
                    <a:pt x="189" y="97"/>
                  </a:lnTo>
                  <a:lnTo>
                    <a:pt x="191" y="86"/>
                  </a:lnTo>
                  <a:lnTo>
                    <a:pt x="185" y="74"/>
                  </a:lnTo>
                  <a:lnTo>
                    <a:pt x="173" y="67"/>
                  </a:lnTo>
                  <a:lnTo>
                    <a:pt x="155" y="63"/>
                  </a:lnTo>
                  <a:lnTo>
                    <a:pt x="147" y="51"/>
                  </a:lnTo>
                  <a:lnTo>
                    <a:pt x="152" y="0"/>
                  </a:lnTo>
                  <a:lnTo>
                    <a:pt x="128" y="1"/>
                  </a:lnTo>
                  <a:lnTo>
                    <a:pt x="106" y="10"/>
                  </a:lnTo>
                  <a:lnTo>
                    <a:pt x="89" y="40"/>
                  </a:lnTo>
                  <a:lnTo>
                    <a:pt x="81" y="46"/>
                  </a:lnTo>
                  <a:lnTo>
                    <a:pt x="65" y="51"/>
                  </a:lnTo>
                  <a:lnTo>
                    <a:pt x="29" y="35"/>
                  </a:lnTo>
                  <a:lnTo>
                    <a:pt x="0" y="33"/>
                  </a:lnTo>
                  <a:lnTo>
                    <a:pt x="29" y="86"/>
                  </a:lnTo>
                  <a:lnTo>
                    <a:pt x="33" y="106"/>
                  </a:lnTo>
                  <a:lnTo>
                    <a:pt x="32" y="162"/>
                  </a:lnTo>
                  <a:lnTo>
                    <a:pt x="42" y="196"/>
                  </a:lnTo>
                  <a:lnTo>
                    <a:pt x="42" y="267"/>
                  </a:lnTo>
                  <a:lnTo>
                    <a:pt x="99" y="248"/>
                  </a:lnTo>
                  <a:lnTo>
                    <a:pt x="115" y="218"/>
                  </a:lnTo>
                  <a:lnTo>
                    <a:pt x="143" y="155"/>
                  </a:lnTo>
                  <a:lnTo>
                    <a:pt x="175" y="111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44" name="Freeform 81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2869" y="2881"/>
              <a:ext cx="181" cy="212"/>
            </a:xfrm>
            <a:custGeom>
              <a:avLst/>
              <a:gdLst>
                <a:gd name="T0" fmla="*/ 980 w 1207"/>
                <a:gd name="T1" fmla="*/ 180 h 1434"/>
                <a:gd name="T2" fmla="*/ 964 w 1207"/>
                <a:gd name="T3" fmla="*/ 164 h 1434"/>
                <a:gd name="T4" fmla="*/ 861 w 1207"/>
                <a:gd name="T5" fmla="*/ 160 h 1434"/>
                <a:gd name="T6" fmla="*/ 856 w 1207"/>
                <a:gd name="T7" fmla="*/ 123 h 1434"/>
                <a:gd name="T8" fmla="*/ 758 w 1207"/>
                <a:gd name="T9" fmla="*/ 146 h 1434"/>
                <a:gd name="T10" fmla="*/ 738 w 1207"/>
                <a:gd name="T11" fmla="*/ 247 h 1434"/>
                <a:gd name="T12" fmla="*/ 610 w 1207"/>
                <a:gd name="T13" fmla="*/ 254 h 1434"/>
                <a:gd name="T14" fmla="*/ 558 w 1207"/>
                <a:gd name="T15" fmla="*/ 247 h 1434"/>
                <a:gd name="T16" fmla="*/ 502 w 1207"/>
                <a:gd name="T17" fmla="*/ 148 h 1434"/>
                <a:gd name="T18" fmla="*/ 477 w 1207"/>
                <a:gd name="T19" fmla="*/ 44 h 1434"/>
                <a:gd name="T20" fmla="*/ 469 w 1207"/>
                <a:gd name="T21" fmla="*/ 10 h 1434"/>
                <a:gd name="T22" fmla="*/ 187 w 1207"/>
                <a:gd name="T23" fmla="*/ 0 h 1434"/>
                <a:gd name="T24" fmla="*/ 154 w 1207"/>
                <a:gd name="T25" fmla="*/ 7 h 1434"/>
                <a:gd name="T26" fmla="*/ 85 w 1207"/>
                <a:gd name="T27" fmla="*/ 28 h 1434"/>
                <a:gd name="T28" fmla="*/ 57 w 1207"/>
                <a:gd name="T29" fmla="*/ 37 h 1434"/>
                <a:gd name="T30" fmla="*/ 106 w 1207"/>
                <a:gd name="T31" fmla="*/ 130 h 1434"/>
                <a:gd name="T32" fmla="*/ 157 w 1207"/>
                <a:gd name="T33" fmla="*/ 261 h 1434"/>
                <a:gd name="T34" fmla="*/ 166 w 1207"/>
                <a:gd name="T35" fmla="*/ 315 h 1434"/>
                <a:gd name="T36" fmla="*/ 154 w 1207"/>
                <a:gd name="T37" fmla="*/ 347 h 1434"/>
                <a:gd name="T38" fmla="*/ 127 w 1207"/>
                <a:gd name="T39" fmla="*/ 393 h 1434"/>
                <a:gd name="T40" fmla="*/ 182 w 1207"/>
                <a:gd name="T41" fmla="*/ 513 h 1434"/>
                <a:gd name="T42" fmla="*/ 202 w 1207"/>
                <a:gd name="T43" fmla="*/ 637 h 1434"/>
                <a:gd name="T44" fmla="*/ 182 w 1207"/>
                <a:gd name="T45" fmla="*/ 738 h 1434"/>
                <a:gd name="T46" fmla="*/ 153 w 1207"/>
                <a:gd name="T47" fmla="*/ 791 h 1434"/>
                <a:gd name="T48" fmla="*/ 113 w 1207"/>
                <a:gd name="T49" fmla="*/ 823 h 1434"/>
                <a:gd name="T50" fmla="*/ 78 w 1207"/>
                <a:gd name="T51" fmla="*/ 888 h 1434"/>
                <a:gd name="T52" fmla="*/ 45 w 1207"/>
                <a:gd name="T53" fmla="*/ 1064 h 1434"/>
                <a:gd name="T54" fmla="*/ 27 w 1207"/>
                <a:gd name="T55" fmla="*/ 1142 h 1434"/>
                <a:gd name="T56" fmla="*/ 0 w 1207"/>
                <a:gd name="T57" fmla="*/ 1174 h 1434"/>
                <a:gd name="T58" fmla="*/ 11 w 1207"/>
                <a:gd name="T59" fmla="*/ 1340 h 1434"/>
                <a:gd name="T60" fmla="*/ 60 w 1207"/>
                <a:gd name="T61" fmla="*/ 1358 h 1434"/>
                <a:gd name="T62" fmla="*/ 120 w 1207"/>
                <a:gd name="T63" fmla="*/ 1314 h 1434"/>
                <a:gd name="T64" fmla="*/ 154 w 1207"/>
                <a:gd name="T65" fmla="*/ 1314 h 1434"/>
                <a:gd name="T66" fmla="*/ 196 w 1207"/>
                <a:gd name="T67" fmla="*/ 1356 h 1434"/>
                <a:gd name="T68" fmla="*/ 636 w 1207"/>
                <a:gd name="T69" fmla="*/ 1367 h 1434"/>
                <a:gd name="T70" fmla="*/ 668 w 1207"/>
                <a:gd name="T71" fmla="*/ 1392 h 1434"/>
                <a:gd name="T72" fmla="*/ 712 w 1207"/>
                <a:gd name="T73" fmla="*/ 1416 h 1434"/>
                <a:gd name="T74" fmla="*/ 848 w 1207"/>
                <a:gd name="T75" fmla="*/ 1429 h 1434"/>
                <a:gd name="T76" fmla="*/ 918 w 1207"/>
                <a:gd name="T77" fmla="*/ 1429 h 1434"/>
                <a:gd name="T78" fmla="*/ 1123 w 1207"/>
                <a:gd name="T79" fmla="*/ 1390 h 1434"/>
                <a:gd name="T80" fmla="*/ 1002 w 1207"/>
                <a:gd name="T81" fmla="*/ 1235 h 1434"/>
                <a:gd name="T82" fmla="*/ 999 w 1207"/>
                <a:gd name="T83" fmla="*/ 842 h 1434"/>
                <a:gd name="T84" fmla="*/ 1172 w 1207"/>
                <a:gd name="T85" fmla="*/ 838 h 1434"/>
                <a:gd name="T86" fmla="*/ 1182 w 1207"/>
                <a:gd name="T87" fmla="*/ 803 h 1434"/>
                <a:gd name="T88" fmla="*/ 1207 w 1207"/>
                <a:gd name="T89" fmla="*/ 759 h 1434"/>
                <a:gd name="T90" fmla="*/ 1191 w 1207"/>
                <a:gd name="T91" fmla="*/ 729 h 1434"/>
                <a:gd name="T92" fmla="*/ 1192 w 1207"/>
                <a:gd name="T93" fmla="*/ 600 h 1434"/>
                <a:gd name="T94" fmla="*/ 1094 w 1207"/>
                <a:gd name="T95" fmla="*/ 600 h 1434"/>
                <a:gd name="T96" fmla="*/ 1029 w 1207"/>
                <a:gd name="T97" fmla="*/ 614 h 1434"/>
                <a:gd name="T98" fmla="*/ 1020 w 1207"/>
                <a:gd name="T99" fmla="*/ 592 h 1434"/>
                <a:gd name="T100" fmla="*/ 1029 w 1207"/>
                <a:gd name="T101" fmla="*/ 516 h 1434"/>
                <a:gd name="T102" fmla="*/ 978 w 1207"/>
                <a:gd name="T103" fmla="*/ 432 h 1434"/>
                <a:gd name="T104" fmla="*/ 971 w 1207"/>
                <a:gd name="T105" fmla="*/ 409 h 1434"/>
                <a:gd name="T106" fmla="*/ 988 w 1207"/>
                <a:gd name="T107" fmla="*/ 298 h 1434"/>
                <a:gd name="T108" fmla="*/ 970 w 1207"/>
                <a:gd name="T109" fmla="*/ 234 h 143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207"/>
                <a:gd name="T166" fmla="*/ 0 h 1434"/>
                <a:gd name="T167" fmla="*/ 1207 w 1207"/>
                <a:gd name="T168" fmla="*/ 1434 h 143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207" h="1434">
                  <a:moveTo>
                    <a:pt x="970" y="234"/>
                  </a:moveTo>
                  <a:lnTo>
                    <a:pt x="980" y="180"/>
                  </a:lnTo>
                  <a:lnTo>
                    <a:pt x="978" y="169"/>
                  </a:lnTo>
                  <a:lnTo>
                    <a:pt x="964" y="164"/>
                  </a:lnTo>
                  <a:lnTo>
                    <a:pt x="871" y="169"/>
                  </a:lnTo>
                  <a:lnTo>
                    <a:pt x="861" y="160"/>
                  </a:lnTo>
                  <a:lnTo>
                    <a:pt x="864" y="135"/>
                  </a:lnTo>
                  <a:lnTo>
                    <a:pt x="856" y="123"/>
                  </a:lnTo>
                  <a:lnTo>
                    <a:pt x="762" y="128"/>
                  </a:lnTo>
                  <a:lnTo>
                    <a:pt x="758" y="146"/>
                  </a:lnTo>
                  <a:lnTo>
                    <a:pt x="759" y="178"/>
                  </a:lnTo>
                  <a:lnTo>
                    <a:pt x="738" y="247"/>
                  </a:lnTo>
                  <a:lnTo>
                    <a:pt x="654" y="241"/>
                  </a:lnTo>
                  <a:lnTo>
                    <a:pt x="610" y="254"/>
                  </a:lnTo>
                  <a:lnTo>
                    <a:pt x="571" y="255"/>
                  </a:lnTo>
                  <a:lnTo>
                    <a:pt x="558" y="247"/>
                  </a:lnTo>
                  <a:lnTo>
                    <a:pt x="530" y="204"/>
                  </a:lnTo>
                  <a:lnTo>
                    <a:pt x="502" y="148"/>
                  </a:lnTo>
                  <a:lnTo>
                    <a:pt x="480" y="74"/>
                  </a:lnTo>
                  <a:lnTo>
                    <a:pt x="477" y="44"/>
                  </a:lnTo>
                  <a:lnTo>
                    <a:pt x="472" y="16"/>
                  </a:lnTo>
                  <a:lnTo>
                    <a:pt x="469" y="10"/>
                  </a:lnTo>
                  <a:lnTo>
                    <a:pt x="453" y="3"/>
                  </a:lnTo>
                  <a:lnTo>
                    <a:pt x="187" y="0"/>
                  </a:lnTo>
                  <a:lnTo>
                    <a:pt x="169" y="1"/>
                  </a:lnTo>
                  <a:lnTo>
                    <a:pt x="154" y="7"/>
                  </a:lnTo>
                  <a:lnTo>
                    <a:pt x="114" y="10"/>
                  </a:lnTo>
                  <a:lnTo>
                    <a:pt x="85" y="28"/>
                  </a:lnTo>
                  <a:lnTo>
                    <a:pt x="55" y="30"/>
                  </a:lnTo>
                  <a:lnTo>
                    <a:pt x="57" y="37"/>
                  </a:lnTo>
                  <a:lnTo>
                    <a:pt x="99" y="109"/>
                  </a:lnTo>
                  <a:lnTo>
                    <a:pt x="106" y="130"/>
                  </a:lnTo>
                  <a:lnTo>
                    <a:pt x="115" y="185"/>
                  </a:lnTo>
                  <a:lnTo>
                    <a:pt x="157" y="261"/>
                  </a:lnTo>
                  <a:lnTo>
                    <a:pt x="166" y="291"/>
                  </a:lnTo>
                  <a:lnTo>
                    <a:pt x="166" y="315"/>
                  </a:lnTo>
                  <a:lnTo>
                    <a:pt x="162" y="338"/>
                  </a:lnTo>
                  <a:lnTo>
                    <a:pt x="154" y="347"/>
                  </a:lnTo>
                  <a:lnTo>
                    <a:pt x="134" y="367"/>
                  </a:lnTo>
                  <a:lnTo>
                    <a:pt x="127" y="393"/>
                  </a:lnTo>
                  <a:lnTo>
                    <a:pt x="139" y="434"/>
                  </a:lnTo>
                  <a:lnTo>
                    <a:pt x="182" y="513"/>
                  </a:lnTo>
                  <a:lnTo>
                    <a:pt x="191" y="542"/>
                  </a:lnTo>
                  <a:lnTo>
                    <a:pt x="202" y="637"/>
                  </a:lnTo>
                  <a:lnTo>
                    <a:pt x="199" y="673"/>
                  </a:lnTo>
                  <a:lnTo>
                    <a:pt x="182" y="738"/>
                  </a:lnTo>
                  <a:lnTo>
                    <a:pt x="164" y="773"/>
                  </a:lnTo>
                  <a:lnTo>
                    <a:pt x="153" y="791"/>
                  </a:lnTo>
                  <a:lnTo>
                    <a:pt x="125" y="803"/>
                  </a:lnTo>
                  <a:lnTo>
                    <a:pt x="113" y="823"/>
                  </a:lnTo>
                  <a:lnTo>
                    <a:pt x="104" y="853"/>
                  </a:lnTo>
                  <a:lnTo>
                    <a:pt x="78" y="888"/>
                  </a:lnTo>
                  <a:lnTo>
                    <a:pt x="53" y="988"/>
                  </a:lnTo>
                  <a:lnTo>
                    <a:pt x="45" y="1064"/>
                  </a:lnTo>
                  <a:lnTo>
                    <a:pt x="39" y="1103"/>
                  </a:lnTo>
                  <a:lnTo>
                    <a:pt x="27" y="1142"/>
                  </a:lnTo>
                  <a:lnTo>
                    <a:pt x="17" y="1156"/>
                  </a:lnTo>
                  <a:lnTo>
                    <a:pt x="0" y="1174"/>
                  </a:lnTo>
                  <a:lnTo>
                    <a:pt x="0" y="1351"/>
                  </a:lnTo>
                  <a:lnTo>
                    <a:pt x="11" y="1340"/>
                  </a:lnTo>
                  <a:lnTo>
                    <a:pt x="27" y="1333"/>
                  </a:lnTo>
                  <a:lnTo>
                    <a:pt x="60" y="1358"/>
                  </a:lnTo>
                  <a:lnTo>
                    <a:pt x="93" y="1330"/>
                  </a:lnTo>
                  <a:lnTo>
                    <a:pt x="120" y="1314"/>
                  </a:lnTo>
                  <a:lnTo>
                    <a:pt x="142" y="1310"/>
                  </a:lnTo>
                  <a:lnTo>
                    <a:pt x="154" y="1314"/>
                  </a:lnTo>
                  <a:lnTo>
                    <a:pt x="175" y="1340"/>
                  </a:lnTo>
                  <a:lnTo>
                    <a:pt x="196" y="1356"/>
                  </a:lnTo>
                  <a:lnTo>
                    <a:pt x="224" y="1365"/>
                  </a:lnTo>
                  <a:lnTo>
                    <a:pt x="636" y="1367"/>
                  </a:lnTo>
                  <a:lnTo>
                    <a:pt x="654" y="1372"/>
                  </a:lnTo>
                  <a:lnTo>
                    <a:pt x="668" y="1392"/>
                  </a:lnTo>
                  <a:lnTo>
                    <a:pt x="685" y="1409"/>
                  </a:lnTo>
                  <a:lnTo>
                    <a:pt x="712" y="1416"/>
                  </a:lnTo>
                  <a:lnTo>
                    <a:pt x="832" y="1416"/>
                  </a:lnTo>
                  <a:lnTo>
                    <a:pt x="848" y="1429"/>
                  </a:lnTo>
                  <a:lnTo>
                    <a:pt x="866" y="1432"/>
                  </a:lnTo>
                  <a:lnTo>
                    <a:pt x="918" y="1429"/>
                  </a:lnTo>
                  <a:lnTo>
                    <a:pt x="950" y="1434"/>
                  </a:lnTo>
                  <a:lnTo>
                    <a:pt x="1123" y="1390"/>
                  </a:lnTo>
                  <a:lnTo>
                    <a:pt x="1015" y="1258"/>
                  </a:lnTo>
                  <a:lnTo>
                    <a:pt x="1002" y="1235"/>
                  </a:lnTo>
                  <a:lnTo>
                    <a:pt x="996" y="1212"/>
                  </a:lnTo>
                  <a:lnTo>
                    <a:pt x="999" y="842"/>
                  </a:lnTo>
                  <a:lnTo>
                    <a:pt x="1149" y="837"/>
                  </a:lnTo>
                  <a:lnTo>
                    <a:pt x="1172" y="838"/>
                  </a:lnTo>
                  <a:lnTo>
                    <a:pt x="1176" y="835"/>
                  </a:lnTo>
                  <a:lnTo>
                    <a:pt x="1182" y="803"/>
                  </a:lnTo>
                  <a:lnTo>
                    <a:pt x="1202" y="779"/>
                  </a:lnTo>
                  <a:lnTo>
                    <a:pt x="1207" y="759"/>
                  </a:lnTo>
                  <a:lnTo>
                    <a:pt x="1203" y="745"/>
                  </a:lnTo>
                  <a:lnTo>
                    <a:pt x="1191" y="729"/>
                  </a:lnTo>
                  <a:lnTo>
                    <a:pt x="1184" y="673"/>
                  </a:lnTo>
                  <a:lnTo>
                    <a:pt x="1192" y="600"/>
                  </a:lnTo>
                  <a:lnTo>
                    <a:pt x="1138" y="593"/>
                  </a:lnTo>
                  <a:lnTo>
                    <a:pt x="1094" y="600"/>
                  </a:lnTo>
                  <a:lnTo>
                    <a:pt x="1056" y="614"/>
                  </a:lnTo>
                  <a:lnTo>
                    <a:pt x="1029" y="614"/>
                  </a:lnTo>
                  <a:lnTo>
                    <a:pt x="1020" y="604"/>
                  </a:lnTo>
                  <a:lnTo>
                    <a:pt x="1020" y="592"/>
                  </a:lnTo>
                  <a:lnTo>
                    <a:pt x="1029" y="542"/>
                  </a:lnTo>
                  <a:lnTo>
                    <a:pt x="1029" y="516"/>
                  </a:lnTo>
                  <a:lnTo>
                    <a:pt x="1016" y="485"/>
                  </a:lnTo>
                  <a:lnTo>
                    <a:pt x="978" y="432"/>
                  </a:lnTo>
                  <a:lnTo>
                    <a:pt x="974" y="419"/>
                  </a:lnTo>
                  <a:lnTo>
                    <a:pt x="971" y="409"/>
                  </a:lnTo>
                  <a:lnTo>
                    <a:pt x="985" y="354"/>
                  </a:lnTo>
                  <a:lnTo>
                    <a:pt x="988" y="298"/>
                  </a:lnTo>
                  <a:lnTo>
                    <a:pt x="983" y="266"/>
                  </a:lnTo>
                  <a:lnTo>
                    <a:pt x="970" y="234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45" name="Freeform 82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2872" y="2856"/>
              <a:ext cx="16" cy="21"/>
            </a:xfrm>
            <a:custGeom>
              <a:avLst/>
              <a:gdLst>
                <a:gd name="T0" fmla="*/ 0 w 100"/>
                <a:gd name="T1" fmla="*/ 54 h 142"/>
                <a:gd name="T2" fmla="*/ 23 w 100"/>
                <a:gd name="T3" fmla="*/ 97 h 142"/>
                <a:gd name="T4" fmla="*/ 28 w 100"/>
                <a:gd name="T5" fmla="*/ 109 h 142"/>
                <a:gd name="T6" fmla="*/ 20 w 100"/>
                <a:gd name="T7" fmla="*/ 142 h 142"/>
                <a:gd name="T8" fmla="*/ 53 w 100"/>
                <a:gd name="T9" fmla="*/ 127 h 142"/>
                <a:gd name="T10" fmla="*/ 53 w 100"/>
                <a:gd name="T11" fmla="*/ 121 h 142"/>
                <a:gd name="T12" fmla="*/ 57 w 100"/>
                <a:gd name="T13" fmla="*/ 75 h 142"/>
                <a:gd name="T14" fmla="*/ 61 w 100"/>
                <a:gd name="T15" fmla="*/ 68 h 142"/>
                <a:gd name="T16" fmla="*/ 74 w 100"/>
                <a:gd name="T17" fmla="*/ 58 h 142"/>
                <a:gd name="T18" fmla="*/ 100 w 100"/>
                <a:gd name="T19" fmla="*/ 28 h 142"/>
                <a:gd name="T20" fmla="*/ 70 w 100"/>
                <a:gd name="T21" fmla="*/ 0 h 142"/>
                <a:gd name="T22" fmla="*/ 54 w 100"/>
                <a:gd name="T23" fmla="*/ 7 h 142"/>
                <a:gd name="T24" fmla="*/ 0 w 100"/>
                <a:gd name="T25" fmla="*/ 54 h 14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00"/>
                <a:gd name="T40" fmla="*/ 0 h 142"/>
                <a:gd name="T41" fmla="*/ 100 w 100"/>
                <a:gd name="T42" fmla="*/ 142 h 14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00" h="142">
                  <a:moveTo>
                    <a:pt x="0" y="54"/>
                  </a:moveTo>
                  <a:lnTo>
                    <a:pt x="23" y="97"/>
                  </a:lnTo>
                  <a:lnTo>
                    <a:pt x="28" y="109"/>
                  </a:lnTo>
                  <a:lnTo>
                    <a:pt x="20" y="142"/>
                  </a:lnTo>
                  <a:lnTo>
                    <a:pt x="53" y="127"/>
                  </a:lnTo>
                  <a:lnTo>
                    <a:pt x="53" y="121"/>
                  </a:lnTo>
                  <a:lnTo>
                    <a:pt x="57" y="75"/>
                  </a:lnTo>
                  <a:lnTo>
                    <a:pt x="61" y="68"/>
                  </a:lnTo>
                  <a:lnTo>
                    <a:pt x="74" y="58"/>
                  </a:lnTo>
                  <a:lnTo>
                    <a:pt x="100" y="28"/>
                  </a:lnTo>
                  <a:lnTo>
                    <a:pt x="70" y="0"/>
                  </a:lnTo>
                  <a:lnTo>
                    <a:pt x="54" y="7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46" name="Freeform 83"/>
            <p:cNvSpPr>
              <a:spLocks/>
            </p:cNvSpPr>
            <p:nvPr>
              <p:custDataLst>
                <p:tags r:id="rId74"/>
              </p:custDataLst>
            </p:nvPr>
          </p:nvSpPr>
          <p:spPr bwMode="auto">
            <a:xfrm>
              <a:off x="2872" y="2856"/>
              <a:ext cx="16" cy="21"/>
            </a:xfrm>
            <a:custGeom>
              <a:avLst/>
              <a:gdLst>
                <a:gd name="T0" fmla="*/ 23 w 100"/>
                <a:gd name="T1" fmla="*/ 97 h 142"/>
                <a:gd name="T2" fmla="*/ 28 w 100"/>
                <a:gd name="T3" fmla="*/ 109 h 142"/>
                <a:gd name="T4" fmla="*/ 20 w 100"/>
                <a:gd name="T5" fmla="*/ 142 h 142"/>
                <a:gd name="T6" fmla="*/ 53 w 100"/>
                <a:gd name="T7" fmla="*/ 127 h 142"/>
                <a:gd name="T8" fmla="*/ 53 w 100"/>
                <a:gd name="T9" fmla="*/ 121 h 142"/>
                <a:gd name="T10" fmla="*/ 57 w 100"/>
                <a:gd name="T11" fmla="*/ 75 h 142"/>
                <a:gd name="T12" fmla="*/ 61 w 100"/>
                <a:gd name="T13" fmla="*/ 68 h 142"/>
                <a:gd name="T14" fmla="*/ 74 w 100"/>
                <a:gd name="T15" fmla="*/ 58 h 142"/>
                <a:gd name="T16" fmla="*/ 100 w 100"/>
                <a:gd name="T17" fmla="*/ 28 h 142"/>
                <a:gd name="T18" fmla="*/ 70 w 100"/>
                <a:gd name="T19" fmla="*/ 0 h 142"/>
                <a:gd name="T20" fmla="*/ 54 w 100"/>
                <a:gd name="T21" fmla="*/ 7 h 142"/>
                <a:gd name="T22" fmla="*/ 0 w 100"/>
                <a:gd name="T23" fmla="*/ 54 h 142"/>
                <a:gd name="T24" fmla="*/ 23 w 100"/>
                <a:gd name="T25" fmla="*/ 97 h 14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00"/>
                <a:gd name="T40" fmla="*/ 0 h 142"/>
                <a:gd name="T41" fmla="*/ 100 w 100"/>
                <a:gd name="T42" fmla="*/ 142 h 14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00" h="142">
                  <a:moveTo>
                    <a:pt x="23" y="97"/>
                  </a:moveTo>
                  <a:lnTo>
                    <a:pt x="28" y="109"/>
                  </a:lnTo>
                  <a:lnTo>
                    <a:pt x="20" y="142"/>
                  </a:lnTo>
                  <a:lnTo>
                    <a:pt x="53" y="127"/>
                  </a:lnTo>
                  <a:lnTo>
                    <a:pt x="53" y="121"/>
                  </a:lnTo>
                  <a:lnTo>
                    <a:pt x="57" y="75"/>
                  </a:lnTo>
                  <a:lnTo>
                    <a:pt x="61" y="68"/>
                  </a:lnTo>
                  <a:lnTo>
                    <a:pt x="74" y="58"/>
                  </a:lnTo>
                  <a:lnTo>
                    <a:pt x="100" y="28"/>
                  </a:lnTo>
                  <a:lnTo>
                    <a:pt x="70" y="0"/>
                  </a:lnTo>
                  <a:lnTo>
                    <a:pt x="54" y="7"/>
                  </a:lnTo>
                  <a:lnTo>
                    <a:pt x="0" y="54"/>
                  </a:lnTo>
                  <a:lnTo>
                    <a:pt x="23" y="97"/>
                  </a:lnTo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47" name="Freeform 84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3019" y="2922"/>
              <a:ext cx="172" cy="173"/>
            </a:xfrm>
            <a:custGeom>
              <a:avLst/>
              <a:gdLst>
                <a:gd name="T0" fmla="*/ 1056 w 1150"/>
                <a:gd name="T1" fmla="*/ 120 h 1169"/>
                <a:gd name="T2" fmla="*/ 887 w 1150"/>
                <a:gd name="T3" fmla="*/ 33 h 1169"/>
                <a:gd name="T4" fmla="*/ 698 w 1150"/>
                <a:gd name="T5" fmla="*/ 30 h 1169"/>
                <a:gd name="T6" fmla="*/ 676 w 1150"/>
                <a:gd name="T7" fmla="*/ 51 h 1169"/>
                <a:gd name="T8" fmla="*/ 639 w 1150"/>
                <a:gd name="T9" fmla="*/ 151 h 1169"/>
                <a:gd name="T10" fmla="*/ 626 w 1150"/>
                <a:gd name="T11" fmla="*/ 380 h 1169"/>
                <a:gd name="T12" fmla="*/ 648 w 1150"/>
                <a:gd name="T13" fmla="*/ 427 h 1169"/>
                <a:gd name="T14" fmla="*/ 704 w 1150"/>
                <a:gd name="T15" fmla="*/ 487 h 1169"/>
                <a:gd name="T16" fmla="*/ 747 w 1150"/>
                <a:gd name="T17" fmla="*/ 463 h 1169"/>
                <a:gd name="T18" fmla="*/ 770 w 1150"/>
                <a:gd name="T19" fmla="*/ 463 h 1169"/>
                <a:gd name="T20" fmla="*/ 770 w 1150"/>
                <a:gd name="T21" fmla="*/ 611 h 1169"/>
                <a:gd name="T22" fmla="*/ 679 w 1150"/>
                <a:gd name="T23" fmla="*/ 595 h 1169"/>
                <a:gd name="T24" fmla="*/ 618 w 1150"/>
                <a:gd name="T25" fmla="*/ 502 h 1169"/>
                <a:gd name="T26" fmla="*/ 557 w 1150"/>
                <a:gd name="T27" fmla="*/ 475 h 1169"/>
                <a:gd name="T28" fmla="*/ 508 w 1150"/>
                <a:gd name="T29" fmla="*/ 383 h 1169"/>
                <a:gd name="T30" fmla="*/ 477 w 1150"/>
                <a:gd name="T31" fmla="*/ 440 h 1169"/>
                <a:gd name="T32" fmla="*/ 365 w 1150"/>
                <a:gd name="T33" fmla="*/ 415 h 1169"/>
                <a:gd name="T34" fmla="*/ 317 w 1150"/>
                <a:gd name="T35" fmla="*/ 352 h 1169"/>
                <a:gd name="T36" fmla="*/ 259 w 1150"/>
                <a:gd name="T37" fmla="*/ 371 h 1169"/>
                <a:gd name="T38" fmla="*/ 243 w 1150"/>
                <a:gd name="T39" fmla="*/ 350 h 1169"/>
                <a:gd name="T40" fmla="*/ 196 w 1150"/>
                <a:gd name="T41" fmla="*/ 323 h 1169"/>
                <a:gd name="T42" fmla="*/ 195 w 1150"/>
                <a:gd name="T43" fmla="*/ 452 h 1169"/>
                <a:gd name="T44" fmla="*/ 211 w 1150"/>
                <a:gd name="T45" fmla="*/ 482 h 1169"/>
                <a:gd name="T46" fmla="*/ 186 w 1150"/>
                <a:gd name="T47" fmla="*/ 526 h 1169"/>
                <a:gd name="T48" fmla="*/ 176 w 1150"/>
                <a:gd name="T49" fmla="*/ 561 h 1169"/>
                <a:gd name="T50" fmla="*/ 3 w 1150"/>
                <a:gd name="T51" fmla="*/ 565 h 1169"/>
                <a:gd name="T52" fmla="*/ 6 w 1150"/>
                <a:gd name="T53" fmla="*/ 958 h 1169"/>
                <a:gd name="T54" fmla="*/ 127 w 1150"/>
                <a:gd name="T55" fmla="*/ 1113 h 1169"/>
                <a:gd name="T56" fmla="*/ 216 w 1150"/>
                <a:gd name="T57" fmla="*/ 1097 h 1169"/>
                <a:gd name="T58" fmla="*/ 280 w 1150"/>
                <a:gd name="T59" fmla="*/ 1109 h 1169"/>
                <a:gd name="T60" fmla="*/ 316 w 1150"/>
                <a:gd name="T61" fmla="*/ 1141 h 1169"/>
                <a:gd name="T62" fmla="*/ 362 w 1150"/>
                <a:gd name="T63" fmla="*/ 1168 h 1169"/>
                <a:gd name="T64" fmla="*/ 402 w 1150"/>
                <a:gd name="T65" fmla="*/ 1150 h 1169"/>
                <a:gd name="T66" fmla="*/ 436 w 1150"/>
                <a:gd name="T67" fmla="*/ 1160 h 1169"/>
                <a:gd name="T68" fmla="*/ 486 w 1150"/>
                <a:gd name="T69" fmla="*/ 1168 h 1169"/>
                <a:gd name="T70" fmla="*/ 623 w 1150"/>
                <a:gd name="T71" fmla="*/ 995 h 1169"/>
                <a:gd name="T72" fmla="*/ 679 w 1150"/>
                <a:gd name="T73" fmla="*/ 986 h 1169"/>
                <a:gd name="T74" fmla="*/ 688 w 1150"/>
                <a:gd name="T75" fmla="*/ 942 h 1169"/>
                <a:gd name="T76" fmla="*/ 729 w 1150"/>
                <a:gd name="T77" fmla="*/ 884 h 1169"/>
                <a:gd name="T78" fmla="*/ 808 w 1150"/>
                <a:gd name="T79" fmla="*/ 868 h 1169"/>
                <a:gd name="T80" fmla="*/ 827 w 1150"/>
                <a:gd name="T81" fmla="*/ 849 h 1169"/>
                <a:gd name="T82" fmla="*/ 820 w 1150"/>
                <a:gd name="T83" fmla="*/ 798 h 1169"/>
                <a:gd name="T84" fmla="*/ 924 w 1150"/>
                <a:gd name="T85" fmla="*/ 761 h 1169"/>
                <a:gd name="T86" fmla="*/ 1080 w 1150"/>
                <a:gd name="T87" fmla="*/ 673 h 1169"/>
                <a:gd name="T88" fmla="*/ 1059 w 1150"/>
                <a:gd name="T89" fmla="*/ 625 h 1169"/>
                <a:gd name="T90" fmla="*/ 1076 w 1150"/>
                <a:gd name="T91" fmla="*/ 542 h 1169"/>
                <a:gd name="T92" fmla="*/ 1117 w 1150"/>
                <a:gd name="T93" fmla="*/ 510 h 1169"/>
                <a:gd name="T94" fmla="*/ 1146 w 1150"/>
                <a:gd name="T95" fmla="*/ 484 h 1169"/>
                <a:gd name="T96" fmla="*/ 1121 w 1150"/>
                <a:gd name="T97" fmla="*/ 459 h 1169"/>
                <a:gd name="T98" fmla="*/ 1108 w 1150"/>
                <a:gd name="T99" fmla="*/ 431 h 1169"/>
                <a:gd name="T100" fmla="*/ 1110 w 1150"/>
                <a:gd name="T101" fmla="*/ 302 h 1169"/>
                <a:gd name="T102" fmla="*/ 1150 w 1150"/>
                <a:gd name="T103" fmla="*/ 270 h 1169"/>
                <a:gd name="T104" fmla="*/ 1106 w 1150"/>
                <a:gd name="T105" fmla="*/ 160 h 116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150"/>
                <a:gd name="T160" fmla="*/ 0 h 1169"/>
                <a:gd name="T161" fmla="*/ 1150 w 1150"/>
                <a:gd name="T162" fmla="*/ 1169 h 1169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150" h="1169">
                  <a:moveTo>
                    <a:pt x="1088" y="139"/>
                  </a:moveTo>
                  <a:lnTo>
                    <a:pt x="1056" y="120"/>
                  </a:lnTo>
                  <a:lnTo>
                    <a:pt x="898" y="44"/>
                  </a:lnTo>
                  <a:lnTo>
                    <a:pt x="887" y="33"/>
                  </a:lnTo>
                  <a:lnTo>
                    <a:pt x="856" y="0"/>
                  </a:lnTo>
                  <a:lnTo>
                    <a:pt x="698" y="30"/>
                  </a:lnTo>
                  <a:lnTo>
                    <a:pt x="684" y="40"/>
                  </a:lnTo>
                  <a:lnTo>
                    <a:pt x="676" y="51"/>
                  </a:lnTo>
                  <a:lnTo>
                    <a:pt x="640" y="118"/>
                  </a:lnTo>
                  <a:lnTo>
                    <a:pt x="639" y="151"/>
                  </a:lnTo>
                  <a:lnTo>
                    <a:pt x="655" y="263"/>
                  </a:lnTo>
                  <a:lnTo>
                    <a:pt x="626" y="380"/>
                  </a:lnTo>
                  <a:lnTo>
                    <a:pt x="628" y="396"/>
                  </a:lnTo>
                  <a:lnTo>
                    <a:pt x="648" y="427"/>
                  </a:lnTo>
                  <a:lnTo>
                    <a:pt x="685" y="472"/>
                  </a:lnTo>
                  <a:lnTo>
                    <a:pt x="704" y="487"/>
                  </a:lnTo>
                  <a:lnTo>
                    <a:pt x="728" y="487"/>
                  </a:lnTo>
                  <a:lnTo>
                    <a:pt x="747" y="463"/>
                  </a:lnTo>
                  <a:lnTo>
                    <a:pt x="763" y="454"/>
                  </a:lnTo>
                  <a:lnTo>
                    <a:pt x="770" y="463"/>
                  </a:lnTo>
                  <a:lnTo>
                    <a:pt x="773" y="581"/>
                  </a:lnTo>
                  <a:lnTo>
                    <a:pt x="770" y="611"/>
                  </a:lnTo>
                  <a:lnTo>
                    <a:pt x="693" y="606"/>
                  </a:lnTo>
                  <a:lnTo>
                    <a:pt x="679" y="595"/>
                  </a:lnTo>
                  <a:lnTo>
                    <a:pt x="637" y="521"/>
                  </a:lnTo>
                  <a:lnTo>
                    <a:pt x="618" y="502"/>
                  </a:lnTo>
                  <a:lnTo>
                    <a:pt x="598" y="489"/>
                  </a:lnTo>
                  <a:lnTo>
                    <a:pt x="557" y="475"/>
                  </a:lnTo>
                  <a:lnTo>
                    <a:pt x="541" y="459"/>
                  </a:lnTo>
                  <a:lnTo>
                    <a:pt x="508" y="383"/>
                  </a:lnTo>
                  <a:lnTo>
                    <a:pt x="500" y="403"/>
                  </a:lnTo>
                  <a:lnTo>
                    <a:pt x="477" y="440"/>
                  </a:lnTo>
                  <a:lnTo>
                    <a:pt x="461" y="443"/>
                  </a:lnTo>
                  <a:lnTo>
                    <a:pt x="365" y="415"/>
                  </a:lnTo>
                  <a:lnTo>
                    <a:pt x="343" y="405"/>
                  </a:lnTo>
                  <a:lnTo>
                    <a:pt x="317" y="352"/>
                  </a:lnTo>
                  <a:lnTo>
                    <a:pt x="309" y="355"/>
                  </a:lnTo>
                  <a:lnTo>
                    <a:pt x="259" y="371"/>
                  </a:lnTo>
                  <a:lnTo>
                    <a:pt x="251" y="367"/>
                  </a:lnTo>
                  <a:lnTo>
                    <a:pt x="243" y="350"/>
                  </a:lnTo>
                  <a:lnTo>
                    <a:pt x="227" y="329"/>
                  </a:lnTo>
                  <a:lnTo>
                    <a:pt x="196" y="323"/>
                  </a:lnTo>
                  <a:lnTo>
                    <a:pt x="188" y="396"/>
                  </a:lnTo>
                  <a:lnTo>
                    <a:pt x="195" y="452"/>
                  </a:lnTo>
                  <a:lnTo>
                    <a:pt x="207" y="468"/>
                  </a:lnTo>
                  <a:lnTo>
                    <a:pt x="211" y="482"/>
                  </a:lnTo>
                  <a:lnTo>
                    <a:pt x="206" y="502"/>
                  </a:lnTo>
                  <a:lnTo>
                    <a:pt x="186" y="526"/>
                  </a:lnTo>
                  <a:lnTo>
                    <a:pt x="180" y="558"/>
                  </a:lnTo>
                  <a:lnTo>
                    <a:pt x="176" y="561"/>
                  </a:lnTo>
                  <a:lnTo>
                    <a:pt x="153" y="560"/>
                  </a:lnTo>
                  <a:lnTo>
                    <a:pt x="3" y="565"/>
                  </a:lnTo>
                  <a:lnTo>
                    <a:pt x="0" y="935"/>
                  </a:lnTo>
                  <a:lnTo>
                    <a:pt x="6" y="958"/>
                  </a:lnTo>
                  <a:lnTo>
                    <a:pt x="19" y="981"/>
                  </a:lnTo>
                  <a:lnTo>
                    <a:pt x="127" y="1113"/>
                  </a:lnTo>
                  <a:lnTo>
                    <a:pt x="208" y="1093"/>
                  </a:lnTo>
                  <a:lnTo>
                    <a:pt x="216" y="1097"/>
                  </a:lnTo>
                  <a:lnTo>
                    <a:pt x="219" y="1102"/>
                  </a:lnTo>
                  <a:lnTo>
                    <a:pt x="280" y="1109"/>
                  </a:lnTo>
                  <a:lnTo>
                    <a:pt x="309" y="1139"/>
                  </a:lnTo>
                  <a:lnTo>
                    <a:pt x="316" y="1141"/>
                  </a:lnTo>
                  <a:lnTo>
                    <a:pt x="322" y="1150"/>
                  </a:lnTo>
                  <a:lnTo>
                    <a:pt x="362" y="1168"/>
                  </a:lnTo>
                  <a:lnTo>
                    <a:pt x="379" y="1166"/>
                  </a:lnTo>
                  <a:lnTo>
                    <a:pt x="402" y="1150"/>
                  </a:lnTo>
                  <a:lnTo>
                    <a:pt x="416" y="1143"/>
                  </a:lnTo>
                  <a:lnTo>
                    <a:pt x="436" y="1160"/>
                  </a:lnTo>
                  <a:lnTo>
                    <a:pt x="469" y="1169"/>
                  </a:lnTo>
                  <a:lnTo>
                    <a:pt x="486" y="1168"/>
                  </a:lnTo>
                  <a:lnTo>
                    <a:pt x="594" y="1007"/>
                  </a:lnTo>
                  <a:lnTo>
                    <a:pt x="623" y="995"/>
                  </a:lnTo>
                  <a:lnTo>
                    <a:pt x="667" y="991"/>
                  </a:lnTo>
                  <a:lnTo>
                    <a:pt x="679" y="986"/>
                  </a:lnTo>
                  <a:lnTo>
                    <a:pt x="686" y="975"/>
                  </a:lnTo>
                  <a:lnTo>
                    <a:pt x="688" y="942"/>
                  </a:lnTo>
                  <a:lnTo>
                    <a:pt x="701" y="914"/>
                  </a:lnTo>
                  <a:lnTo>
                    <a:pt x="729" y="884"/>
                  </a:lnTo>
                  <a:lnTo>
                    <a:pt x="765" y="870"/>
                  </a:lnTo>
                  <a:lnTo>
                    <a:pt x="808" y="868"/>
                  </a:lnTo>
                  <a:lnTo>
                    <a:pt x="831" y="874"/>
                  </a:lnTo>
                  <a:lnTo>
                    <a:pt x="827" y="849"/>
                  </a:lnTo>
                  <a:lnTo>
                    <a:pt x="820" y="824"/>
                  </a:lnTo>
                  <a:lnTo>
                    <a:pt x="820" y="798"/>
                  </a:lnTo>
                  <a:lnTo>
                    <a:pt x="828" y="791"/>
                  </a:lnTo>
                  <a:lnTo>
                    <a:pt x="924" y="761"/>
                  </a:lnTo>
                  <a:lnTo>
                    <a:pt x="1096" y="680"/>
                  </a:lnTo>
                  <a:lnTo>
                    <a:pt x="1080" y="673"/>
                  </a:lnTo>
                  <a:lnTo>
                    <a:pt x="1068" y="651"/>
                  </a:lnTo>
                  <a:lnTo>
                    <a:pt x="1059" y="625"/>
                  </a:lnTo>
                  <a:lnTo>
                    <a:pt x="1072" y="583"/>
                  </a:lnTo>
                  <a:lnTo>
                    <a:pt x="1076" y="542"/>
                  </a:lnTo>
                  <a:lnTo>
                    <a:pt x="1083" y="523"/>
                  </a:lnTo>
                  <a:lnTo>
                    <a:pt x="1117" y="510"/>
                  </a:lnTo>
                  <a:lnTo>
                    <a:pt x="1137" y="496"/>
                  </a:lnTo>
                  <a:lnTo>
                    <a:pt x="1146" y="484"/>
                  </a:lnTo>
                  <a:lnTo>
                    <a:pt x="1143" y="473"/>
                  </a:lnTo>
                  <a:lnTo>
                    <a:pt x="1121" y="459"/>
                  </a:lnTo>
                  <a:lnTo>
                    <a:pt x="1112" y="450"/>
                  </a:lnTo>
                  <a:lnTo>
                    <a:pt x="1108" y="431"/>
                  </a:lnTo>
                  <a:lnTo>
                    <a:pt x="1112" y="341"/>
                  </a:lnTo>
                  <a:lnTo>
                    <a:pt x="1110" y="302"/>
                  </a:lnTo>
                  <a:lnTo>
                    <a:pt x="1142" y="285"/>
                  </a:lnTo>
                  <a:lnTo>
                    <a:pt x="1150" y="270"/>
                  </a:lnTo>
                  <a:lnTo>
                    <a:pt x="1149" y="252"/>
                  </a:lnTo>
                  <a:lnTo>
                    <a:pt x="1106" y="160"/>
                  </a:lnTo>
                  <a:lnTo>
                    <a:pt x="1088" y="139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48" name="Freeform 85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3177" y="2945"/>
              <a:ext cx="47" cy="132"/>
            </a:xfrm>
            <a:custGeom>
              <a:avLst/>
              <a:gdLst>
                <a:gd name="T0" fmla="*/ 100 w 308"/>
                <a:gd name="T1" fmla="*/ 7 h 895"/>
                <a:gd name="T2" fmla="*/ 57 w 308"/>
                <a:gd name="T3" fmla="*/ 0 h 895"/>
                <a:gd name="T4" fmla="*/ 47 w 308"/>
                <a:gd name="T5" fmla="*/ 2 h 895"/>
                <a:gd name="T6" fmla="*/ 90 w 308"/>
                <a:gd name="T7" fmla="*/ 94 h 895"/>
                <a:gd name="T8" fmla="*/ 91 w 308"/>
                <a:gd name="T9" fmla="*/ 112 h 895"/>
                <a:gd name="T10" fmla="*/ 83 w 308"/>
                <a:gd name="T11" fmla="*/ 127 h 895"/>
                <a:gd name="T12" fmla="*/ 51 w 308"/>
                <a:gd name="T13" fmla="*/ 144 h 895"/>
                <a:gd name="T14" fmla="*/ 53 w 308"/>
                <a:gd name="T15" fmla="*/ 183 h 895"/>
                <a:gd name="T16" fmla="*/ 49 w 308"/>
                <a:gd name="T17" fmla="*/ 273 h 895"/>
                <a:gd name="T18" fmla="*/ 53 w 308"/>
                <a:gd name="T19" fmla="*/ 292 h 895"/>
                <a:gd name="T20" fmla="*/ 62 w 308"/>
                <a:gd name="T21" fmla="*/ 301 h 895"/>
                <a:gd name="T22" fmla="*/ 84 w 308"/>
                <a:gd name="T23" fmla="*/ 315 h 895"/>
                <a:gd name="T24" fmla="*/ 87 w 308"/>
                <a:gd name="T25" fmla="*/ 326 h 895"/>
                <a:gd name="T26" fmla="*/ 78 w 308"/>
                <a:gd name="T27" fmla="*/ 338 h 895"/>
                <a:gd name="T28" fmla="*/ 58 w 308"/>
                <a:gd name="T29" fmla="*/ 352 h 895"/>
                <a:gd name="T30" fmla="*/ 24 w 308"/>
                <a:gd name="T31" fmla="*/ 365 h 895"/>
                <a:gd name="T32" fmla="*/ 17 w 308"/>
                <a:gd name="T33" fmla="*/ 384 h 895"/>
                <a:gd name="T34" fmla="*/ 13 w 308"/>
                <a:gd name="T35" fmla="*/ 425 h 895"/>
                <a:gd name="T36" fmla="*/ 0 w 308"/>
                <a:gd name="T37" fmla="*/ 467 h 895"/>
                <a:gd name="T38" fmla="*/ 9 w 308"/>
                <a:gd name="T39" fmla="*/ 493 h 895"/>
                <a:gd name="T40" fmla="*/ 21 w 308"/>
                <a:gd name="T41" fmla="*/ 515 h 895"/>
                <a:gd name="T42" fmla="*/ 37 w 308"/>
                <a:gd name="T43" fmla="*/ 522 h 895"/>
                <a:gd name="T44" fmla="*/ 46 w 308"/>
                <a:gd name="T45" fmla="*/ 523 h 895"/>
                <a:gd name="T46" fmla="*/ 62 w 308"/>
                <a:gd name="T47" fmla="*/ 553 h 895"/>
                <a:gd name="T48" fmla="*/ 78 w 308"/>
                <a:gd name="T49" fmla="*/ 575 h 895"/>
                <a:gd name="T50" fmla="*/ 90 w 308"/>
                <a:gd name="T51" fmla="*/ 587 h 895"/>
                <a:gd name="T52" fmla="*/ 151 w 308"/>
                <a:gd name="T53" fmla="*/ 576 h 895"/>
                <a:gd name="T54" fmla="*/ 161 w 308"/>
                <a:gd name="T55" fmla="*/ 580 h 895"/>
                <a:gd name="T56" fmla="*/ 172 w 308"/>
                <a:gd name="T57" fmla="*/ 605 h 895"/>
                <a:gd name="T58" fmla="*/ 176 w 308"/>
                <a:gd name="T59" fmla="*/ 656 h 895"/>
                <a:gd name="T60" fmla="*/ 175 w 308"/>
                <a:gd name="T61" fmla="*/ 693 h 895"/>
                <a:gd name="T62" fmla="*/ 171 w 308"/>
                <a:gd name="T63" fmla="*/ 705 h 895"/>
                <a:gd name="T64" fmla="*/ 148 w 308"/>
                <a:gd name="T65" fmla="*/ 739 h 895"/>
                <a:gd name="T66" fmla="*/ 147 w 308"/>
                <a:gd name="T67" fmla="*/ 749 h 895"/>
                <a:gd name="T68" fmla="*/ 157 w 308"/>
                <a:gd name="T69" fmla="*/ 772 h 895"/>
                <a:gd name="T70" fmla="*/ 212 w 308"/>
                <a:gd name="T71" fmla="*/ 863 h 895"/>
                <a:gd name="T72" fmla="*/ 245 w 308"/>
                <a:gd name="T73" fmla="*/ 895 h 895"/>
                <a:gd name="T74" fmla="*/ 249 w 308"/>
                <a:gd name="T75" fmla="*/ 879 h 895"/>
                <a:gd name="T76" fmla="*/ 245 w 308"/>
                <a:gd name="T77" fmla="*/ 826 h 895"/>
                <a:gd name="T78" fmla="*/ 247 w 308"/>
                <a:gd name="T79" fmla="*/ 792 h 895"/>
                <a:gd name="T80" fmla="*/ 258 w 308"/>
                <a:gd name="T81" fmla="*/ 779 h 895"/>
                <a:gd name="T82" fmla="*/ 271 w 308"/>
                <a:gd name="T83" fmla="*/ 779 h 895"/>
                <a:gd name="T84" fmla="*/ 291 w 308"/>
                <a:gd name="T85" fmla="*/ 774 h 895"/>
                <a:gd name="T86" fmla="*/ 301 w 308"/>
                <a:gd name="T87" fmla="*/ 763 h 895"/>
                <a:gd name="T88" fmla="*/ 308 w 308"/>
                <a:gd name="T89" fmla="*/ 615 h 895"/>
                <a:gd name="T90" fmla="*/ 303 w 308"/>
                <a:gd name="T91" fmla="*/ 589 h 895"/>
                <a:gd name="T92" fmla="*/ 283 w 308"/>
                <a:gd name="T93" fmla="*/ 553 h 895"/>
                <a:gd name="T94" fmla="*/ 230 w 308"/>
                <a:gd name="T95" fmla="*/ 492 h 895"/>
                <a:gd name="T96" fmla="*/ 194 w 308"/>
                <a:gd name="T97" fmla="*/ 460 h 895"/>
                <a:gd name="T98" fmla="*/ 184 w 308"/>
                <a:gd name="T99" fmla="*/ 446 h 895"/>
                <a:gd name="T100" fmla="*/ 177 w 308"/>
                <a:gd name="T101" fmla="*/ 425 h 895"/>
                <a:gd name="T102" fmla="*/ 159 w 308"/>
                <a:gd name="T103" fmla="*/ 321 h 895"/>
                <a:gd name="T104" fmla="*/ 173 w 308"/>
                <a:gd name="T105" fmla="*/ 232 h 895"/>
                <a:gd name="T106" fmla="*/ 164 w 308"/>
                <a:gd name="T107" fmla="*/ 202 h 895"/>
                <a:gd name="T108" fmla="*/ 151 w 308"/>
                <a:gd name="T109" fmla="*/ 80 h 895"/>
                <a:gd name="T110" fmla="*/ 131 w 308"/>
                <a:gd name="T111" fmla="*/ 36 h 895"/>
                <a:gd name="T112" fmla="*/ 100 w 308"/>
                <a:gd name="T113" fmla="*/ 7 h 89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08"/>
                <a:gd name="T172" fmla="*/ 0 h 895"/>
                <a:gd name="T173" fmla="*/ 308 w 308"/>
                <a:gd name="T174" fmla="*/ 895 h 895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08" h="895">
                  <a:moveTo>
                    <a:pt x="100" y="7"/>
                  </a:moveTo>
                  <a:lnTo>
                    <a:pt x="57" y="0"/>
                  </a:lnTo>
                  <a:lnTo>
                    <a:pt x="47" y="2"/>
                  </a:lnTo>
                  <a:lnTo>
                    <a:pt x="90" y="94"/>
                  </a:lnTo>
                  <a:lnTo>
                    <a:pt x="91" y="112"/>
                  </a:lnTo>
                  <a:lnTo>
                    <a:pt x="83" y="127"/>
                  </a:lnTo>
                  <a:lnTo>
                    <a:pt x="51" y="144"/>
                  </a:lnTo>
                  <a:lnTo>
                    <a:pt x="53" y="183"/>
                  </a:lnTo>
                  <a:lnTo>
                    <a:pt x="49" y="273"/>
                  </a:lnTo>
                  <a:lnTo>
                    <a:pt x="53" y="292"/>
                  </a:lnTo>
                  <a:lnTo>
                    <a:pt x="62" y="301"/>
                  </a:lnTo>
                  <a:lnTo>
                    <a:pt x="84" y="315"/>
                  </a:lnTo>
                  <a:lnTo>
                    <a:pt x="87" y="326"/>
                  </a:lnTo>
                  <a:lnTo>
                    <a:pt x="78" y="338"/>
                  </a:lnTo>
                  <a:lnTo>
                    <a:pt x="58" y="352"/>
                  </a:lnTo>
                  <a:lnTo>
                    <a:pt x="24" y="365"/>
                  </a:lnTo>
                  <a:lnTo>
                    <a:pt x="17" y="384"/>
                  </a:lnTo>
                  <a:lnTo>
                    <a:pt x="13" y="425"/>
                  </a:lnTo>
                  <a:lnTo>
                    <a:pt x="0" y="467"/>
                  </a:lnTo>
                  <a:lnTo>
                    <a:pt x="9" y="493"/>
                  </a:lnTo>
                  <a:lnTo>
                    <a:pt x="21" y="515"/>
                  </a:lnTo>
                  <a:lnTo>
                    <a:pt x="37" y="522"/>
                  </a:lnTo>
                  <a:lnTo>
                    <a:pt x="46" y="523"/>
                  </a:lnTo>
                  <a:lnTo>
                    <a:pt x="62" y="553"/>
                  </a:lnTo>
                  <a:lnTo>
                    <a:pt x="78" y="575"/>
                  </a:lnTo>
                  <a:lnTo>
                    <a:pt x="90" y="587"/>
                  </a:lnTo>
                  <a:lnTo>
                    <a:pt x="151" y="576"/>
                  </a:lnTo>
                  <a:lnTo>
                    <a:pt x="161" y="580"/>
                  </a:lnTo>
                  <a:lnTo>
                    <a:pt x="172" y="605"/>
                  </a:lnTo>
                  <a:lnTo>
                    <a:pt x="176" y="656"/>
                  </a:lnTo>
                  <a:lnTo>
                    <a:pt x="175" y="693"/>
                  </a:lnTo>
                  <a:lnTo>
                    <a:pt x="171" y="705"/>
                  </a:lnTo>
                  <a:lnTo>
                    <a:pt x="148" y="739"/>
                  </a:lnTo>
                  <a:lnTo>
                    <a:pt x="147" y="749"/>
                  </a:lnTo>
                  <a:lnTo>
                    <a:pt x="157" y="772"/>
                  </a:lnTo>
                  <a:lnTo>
                    <a:pt x="212" y="863"/>
                  </a:lnTo>
                  <a:lnTo>
                    <a:pt x="245" y="895"/>
                  </a:lnTo>
                  <a:lnTo>
                    <a:pt x="249" y="879"/>
                  </a:lnTo>
                  <a:lnTo>
                    <a:pt x="245" y="826"/>
                  </a:lnTo>
                  <a:lnTo>
                    <a:pt x="247" y="792"/>
                  </a:lnTo>
                  <a:lnTo>
                    <a:pt x="258" y="779"/>
                  </a:lnTo>
                  <a:lnTo>
                    <a:pt x="271" y="779"/>
                  </a:lnTo>
                  <a:lnTo>
                    <a:pt x="291" y="774"/>
                  </a:lnTo>
                  <a:lnTo>
                    <a:pt x="301" y="763"/>
                  </a:lnTo>
                  <a:lnTo>
                    <a:pt x="308" y="615"/>
                  </a:lnTo>
                  <a:lnTo>
                    <a:pt x="303" y="589"/>
                  </a:lnTo>
                  <a:lnTo>
                    <a:pt x="283" y="553"/>
                  </a:lnTo>
                  <a:lnTo>
                    <a:pt x="230" y="492"/>
                  </a:lnTo>
                  <a:lnTo>
                    <a:pt x="194" y="460"/>
                  </a:lnTo>
                  <a:lnTo>
                    <a:pt x="184" y="446"/>
                  </a:lnTo>
                  <a:lnTo>
                    <a:pt x="177" y="425"/>
                  </a:lnTo>
                  <a:lnTo>
                    <a:pt x="159" y="321"/>
                  </a:lnTo>
                  <a:lnTo>
                    <a:pt x="173" y="232"/>
                  </a:lnTo>
                  <a:lnTo>
                    <a:pt x="164" y="202"/>
                  </a:lnTo>
                  <a:lnTo>
                    <a:pt x="151" y="80"/>
                  </a:lnTo>
                  <a:lnTo>
                    <a:pt x="131" y="36"/>
                  </a:lnTo>
                  <a:lnTo>
                    <a:pt x="100" y="7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49" name="Freeform 86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3141" y="2960"/>
              <a:ext cx="156" cy="297"/>
            </a:xfrm>
            <a:custGeom>
              <a:avLst/>
              <a:gdLst>
                <a:gd name="T0" fmla="*/ 398 w 1037"/>
                <a:gd name="T1" fmla="*/ 223 h 2004"/>
                <a:gd name="T2" fmla="*/ 433 w 1037"/>
                <a:gd name="T3" fmla="*/ 362 h 2004"/>
                <a:gd name="T4" fmla="*/ 542 w 1037"/>
                <a:gd name="T5" fmla="*/ 491 h 2004"/>
                <a:gd name="T6" fmla="*/ 530 w 1037"/>
                <a:gd name="T7" fmla="*/ 676 h 2004"/>
                <a:gd name="T8" fmla="*/ 486 w 1037"/>
                <a:gd name="T9" fmla="*/ 694 h 2004"/>
                <a:gd name="T10" fmla="*/ 484 w 1037"/>
                <a:gd name="T11" fmla="*/ 797 h 2004"/>
                <a:gd name="T12" fmla="*/ 386 w 1037"/>
                <a:gd name="T13" fmla="*/ 651 h 2004"/>
                <a:gd name="T14" fmla="*/ 414 w 1037"/>
                <a:gd name="T15" fmla="*/ 595 h 2004"/>
                <a:gd name="T16" fmla="*/ 400 w 1037"/>
                <a:gd name="T17" fmla="*/ 482 h 2004"/>
                <a:gd name="T18" fmla="*/ 317 w 1037"/>
                <a:gd name="T19" fmla="*/ 477 h 2004"/>
                <a:gd name="T20" fmla="*/ 276 w 1037"/>
                <a:gd name="T21" fmla="*/ 424 h 2004"/>
                <a:gd name="T22" fmla="*/ 0 w 1037"/>
                <a:gd name="T23" fmla="*/ 542 h 2004"/>
                <a:gd name="T24" fmla="*/ 12 w 1037"/>
                <a:gd name="T25" fmla="*/ 628 h 2004"/>
                <a:gd name="T26" fmla="*/ 81 w 1037"/>
                <a:gd name="T27" fmla="*/ 664 h 2004"/>
                <a:gd name="T28" fmla="*/ 251 w 1037"/>
                <a:gd name="T29" fmla="*/ 751 h 2004"/>
                <a:gd name="T30" fmla="*/ 270 w 1037"/>
                <a:gd name="T31" fmla="*/ 943 h 2004"/>
                <a:gd name="T32" fmla="*/ 236 w 1037"/>
                <a:gd name="T33" fmla="*/ 1014 h 2004"/>
                <a:gd name="T34" fmla="*/ 264 w 1037"/>
                <a:gd name="T35" fmla="*/ 1153 h 2004"/>
                <a:gd name="T36" fmla="*/ 212 w 1037"/>
                <a:gd name="T37" fmla="*/ 1236 h 2004"/>
                <a:gd name="T38" fmla="*/ 207 w 1037"/>
                <a:gd name="T39" fmla="*/ 1314 h 2004"/>
                <a:gd name="T40" fmla="*/ 104 w 1037"/>
                <a:gd name="T41" fmla="*/ 1463 h 2004"/>
                <a:gd name="T42" fmla="*/ 166 w 1037"/>
                <a:gd name="T43" fmla="*/ 1710 h 2004"/>
                <a:gd name="T44" fmla="*/ 172 w 1037"/>
                <a:gd name="T45" fmla="*/ 1906 h 2004"/>
                <a:gd name="T46" fmla="*/ 184 w 1037"/>
                <a:gd name="T47" fmla="*/ 2004 h 2004"/>
                <a:gd name="T48" fmla="*/ 258 w 1037"/>
                <a:gd name="T49" fmla="*/ 1943 h 2004"/>
                <a:gd name="T50" fmla="*/ 216 w 1037"/>
                <a:gd name="T51" fmla="*/ 1888 h 2004"/>
                <a:gd name="T52" fmla="*/ 300 w 1037"/>
                <a:gd name="T53" fmla="*/ 1793 h 2004"/>
                <a:gd name="T54" fmla="*/ 482 w 1037"/>
                <a:gd name="T55" fmla="*/ 1690 h 2004"/>
                <a:gd name="T56" fmla="*/ 512 w 1037"/>
                <a:gd name="T57" fmla="*/ 1623 h 2004"/>
                <a:gd name="T58" fmla="*/ 514 w 1037"/>
                <a:gd name="T59" fmla="*/ 1440 h 2004"/>
                <a:gd name="T60" fmla="*/ 488 w 1037"/>
                <a:gd name="T61" fmla="*/ 1419 h 2004"/>
                <a:gd name="T62" fmla="*/ 461 w 1037"/>
                <a:gd name="T63" fmla="*/ 1294 h 2004"/>
                <a:gd name="T64" fmla="*/ 464 w 1037"/>
                <a:gd name="T65" fmla="*/ 1238 h 2004"/>
                <a:gd name="T66" fmla="*/ 433 w 1037"/>
                <a:gd name="T67" fmla="*/ 1176 h 2004"/>
                <a:gd name="T68" fmla="*/ 551 w 1037"/>
                <a:gd name="T69" fmla="*/ 1023 h 2004"/>
                <a:gd name="T70" fmla="*/ 743 w 1037"/>
                <a:gd name="T71" fmla="*/ 832 h 2004"/>
                <a:gd name="T72" fmla="*/ 933 w 1037"/>
                <a:gd name="T73" fmla="*/ 709 h 2004"/>
                <a:gd name="T74" fmla="*/ 1004 w 1037"/>
                <a:gd name="T75" fmla="*/ 559 h 2004"/>
                <a:gd name="T76" fmla="*/ 1036 w 1037"/>
                <a:gd name="T77" fmla="*/ 487 h 2004"/>
                <a:gd name="T78" fmla="*/ 1012 w 1037"/>
                <a:gd name="T79" fmla="*/ 466 h 2004"/>
                <a:gd name="T80" fmla="*/ 988 w 1037"/>
                <a:gd name="T81" fmla="*/ 298 h 2004"/>
                <a:gd name="T82" fmla="*/ 997 w 1037"/>
                <a:gd name="T83" fmla="*/ 191 h 2004"/>
                <a:gd name="T84" fmla="*/ 983 w 1037"/>
                <a:gd name="T85" fmla="*/ 104 h 2004"/>
                <a:gd name="T86" fmla="*/ 1004 w 1037"/>
                <a:gd name="T87" fmla="*/ 9 h 2004"/>
                <a:gd name="T88" fmla="*/ 925 w 1037"/>
                <a:gd name="T89" fmla="*/ 64 h 2004"/>
                <a:gd name="T90" fmla="*/ 767 w 1037"/>
                <a:gd name="T91" fmla="*/ 94 h 2004"/>
                <a:gd name="T92" fmla="*/ 705 w 1037"/>
                <a:gd name="T93" fmla="*/ 156 h 2004"/>
                <a:gd name="T94" fmla="*/ 579 w 1037"/>
                <a:gd name="T95" fmla="*/ 138 h 2004"/>
                <a:gd name="T96" fmla="*/ 549 w 1037"/>
                <a:gd name="T97" fmla="*/ 120 h 2004"/>
                <a:gd name="T98" fmla="*/ 452 w 1037"/>
                <a:gd name="T99" fmla="*/ 134 h 2004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037"/>
                <a:gd name="T151" fmla="*/ 0 h 2004"/>
                <a:gd name="T152" fmla="*/ 1037 w 1037"/>
                <a:gd name="T153" fmla="*/ 2004 h 2004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037" h="2004">
                  <a:moveTo>
                    <a:pt x="452" y="134"/>
                  </a:moveTo>
                  <a:lnTo>
                    <a:pt x="412" y="134"/>
                  </a:lnTo>
                  <a:lnTo>
                    <a:pt x="398" y="223"/>
                  </a:lnTo>
                  <a:lnTo>
                    <a:pt x="416" y="327"/>
                  </a:lnTo>
                  <a:lnTo>
                    <a:pt x="423" y="348"/>
                  </a:lnTo>
                  <a:lnTo>
                    <a:pt x="433" y="362"/>
                  </a:lnTo>
                  <a:lnTo>
                    <a:pt x="469" y="394"/>
                  </a:lnTo>
                  <a:lnTo>
                    <a:pt x="522" y="455"/>
                  </a:lnTo>
                  <a:lnTo>
                    <a:pt x="542" y="491"/>
                  </a:lnTo>
                  <a:lnTo>
                    <a:pt x="547" y="517"/>
                  </a:lnTo>
                  <a:lnTo>
                    <a:pt x="540" y="665"/>
                  </a:lnTo>
                  <a:lnTo>
                    <a:pt x="530" y="676"/>
                  </a:lnTo>
                  <a:lnTo>
                    <a:pt x="510" y="681"/>
                  </a:lnTo>
                  <a:lnTo>
                    <a:pt x="497" y="681"/>
                  </a:lnTo>
                  <a:lnTo>
                    <a:pt x="486" y="694"/>
                  </a:lnTo>
                  <a:lnTo>
                    <a:pt x="484" y="728"/>
                  </a:lnTo>
                  <a:lnTo>
                    <a:pt x="488" y="781"/>
                  </a:lnTo>
                  <a:lnTo>
                    <a:pt x="484" y="797"/>
                  </a:lnTo>
                  <a:lnTo>
                    <a:pt x="451" y="765"/>
                  </a:lnTo>
                  <a:lnTo>
                    <a:pt x="396" y="674"/>
                  </a:lnTo>
                  <a:lnTo>
                    <a:pt x="386" y="651"/>
                  </a:lnTo>
                  <a:lnTo>
                    <a:pt x="387" y="641"/>
                  </a:lnTo>
                  <a:lnTo>
                    <a:pt x="410" y="607"/>
                  </a:lnTo>
                  <a:lnTo>
                    <a:pt x="414" y="595"/>
                  </a:lnTo>
                  <a:lnTo>
                    <a:pt x="415" y="558"/>
                  </a:lnTo>
                  <a:lnTo>
                    <a:pt x="411" y="507"/>
                  </a:lnTo>
                  <a:lnTo>
                    <a:pt x="400" y="482"/>
                  </a:lnTo>
                  <a:lnTo>
                    <a:pt x="390" y="478"/>
                  </a:lnTo>
                  <a:lnTo>
                    <a:pt x="329" y="489"/>
                  </a:lnTo>
                  <a:lnTo>
                    <a:pt x="317" y="477"/>
                  </a:lnTo>
                  <a:lnTo>
                    <a:pt x="301" y="455"/>
                  </a:lnTo>
                  <a:lnTo>
                    <a:pt x="285" y="425"/>
                  </a:lnTo>
                  <a:lnTo>
                    <a:pt x="276" y="424"/>
                  </a:lnTo>
                  <a:lnTo>
                    <a:pt x="104" y="505"/>
                  </a:lnTo>
                  <a:lnTo>
                    <a:pt x="8" y="535"/>
                  </a:lnTo>
                  <a:lnTo>
                    <a:pt x="0" y="542"/>
                  </a:lnTo>
                  <a:lnTo>
                    <a:pt x="0" y="568"/>
                  </a:lnTo>
                  <a:lnTo>
                    <a:pt x="7" y="593"/>
                  </a:lnTo>
                  <a:lnTo>
                    <a:pt x="12" y="628"/>
                  </a:lnTo>
                  <a:lnTo>
                    <a:pt x="12" y="655"/>
                  </a:lnTo>
                  <a:lnTo>
                    <a:pt x="18" y="664"/>
                  </a:lnTo>
                  <a:lnTo>
                    <a:pt x="81" y="664"/>
                  </a:lnTo>
                  <a:lnTo>
                    <a:pt x="209" y="719"/>
                  </a:lnTo>
                  <a:lnTo>
                    <a:pt x="231" y="732"/>
                  </a:lnTo>
                  <a:lnTo>
                    <a:pt x="251" y="751"/>
                  </a:lnTo>
                  <a:lnTo>
                    <a:pt x="258" y="795"/>
                  </a:lnTo>
                  <a:lnTo>
                    <a:pt x="264" y="901"/>
                  </a:lnTo>
                  <a:lnTo>
                    <a:pt x="270" y="943"/>
                  </a:lnTo>
                  <a:lnTo>
                    <a:pt x="261" y="966"/>
                  </a:lnTo>
                  <a:lnTo>
                    <a:pt x="240" y="998"/>
                  </a:lnTo>
                  <a:lnTo>
                    <a:pt x="236" y="1014"/>
                  </a:lnTo>
                  <a:lnTo>
                    <a:pt x="247" y="1084"/>
                  </a:lnTo>
                  <a:lnTo>
                    <a:pt x="272" y="1130"/>
                  </a:lnTo>
                  <a:lnTo>
                    <a:pt x="264" y="1153"/>
                  </a:lnTo>
                  <a:lnTo>
                    <a:pt x="255" y="1173"/>
                  </a:lnTo>
                  <a:lnTo>
                    <a:pt x="223" y="1210"/>
                  </a:lnTo>
                  <a:lnTo>
                    <a:pt x="212" y="1236"/>
                  </a:lnTo>
                  <a:lnTo>
                    <a:pt x="209" y="1282"/>
                  </a:lnTo>
                  <a:lnTo>
                    <a:pt x="214" y="1301"/>
                  </a:lnTo>
                  <a:lnTo>
                    <a:pt x="207" y="1314"/>
                  </a:lnTo>
                  <a:lnTo>
                    <a:pt x="117" y="1431"/>
                  </a:lnTo>
                  <a:lnTo>
                    <a:pt x="97" y="1452"/>
                  </a:lnTo>
                  <a:lnTo>
                    <a:pt x="104" y="1463"/>
                  </a:lnTo>
                  <a:lnTo>
                    <a:pt x="125" y="1581"/>
                  </a:lnTo>
                  <a:lnTo>
                    <a:pt x="143" y="1620"/>
                  </a:lnTo>
                  <a:lnTo>
                    <a:pt x="166" y="1710"/>
                  </a:lnTo>
                  <a:lnTo>
                    <a:pt x="169" y="1752"/>
                  </a:lnTo>
                  <a:lnTo>
                    <a:pt x="165" y="1870"/>
                  </a:lnTo>
                  <a:lnTo>
                    <a:pt x="172" y="1906"/>
                  </a:lnTo>
                  <a:lnTo>
                    <a:pt x="169" y="1934"/>
                  </a:lnTo>
                  <a:lnTo>
                    <a:pt x="181" y="1983"/>
                  </a:lnTo>
                  <a:lnTo>
                    <a:pt x="184" y="2004"/>
                  </a:lnTo>
                  <a:lnTo>
                    <a:pt x="192" y="2001"/>
                  </a:lnTo>
                  <a:lnTo>
                    <a:pt x="251" y="2001"/>
                  </a:lnTo>
                  <a:lnTo>
                    <a:pt x="258" y="1943"/>
                  </a:lnTo>
                  <a:lnTo>
                    <a:pt x="255" y="1925"/>
                  </a:lnTo>
                  <a:lnTo>
                    <a:pt x="230" y="1906"/>
                  </a:lnTo>
                  <a:lnTo>
                    <a:pt x="216" y="1888"/>
                  </a:lnTo>
                  <a:lnTo>
                    <a:pt x="231" y="1858"/>
                  </a:lnTo>
                  <a:lnTo>
                    <a:pt x="261" y="1821"/>
                  </a:lnTo>
                  <a:lnTo>
                    <a:pt x="300" y="1793"/>
                  </a:lnTo>
                  <a:lnTo>
                    <a:pt x="421" y="1738"/>
                  </a:lnTo>
                  <a:lnTo>
                    <a:pt x="451" y="1720"/>
                  </a:lnTo>
                  <a:lnTo>
                    <a:pt x="482" y="1690"/>
                  </a:lnTo>
                  <a:lnTo>
                    <a:pt x="505" y="1659"/>
                  </a:lnTo>
                  <a:lnTo>
                    <a:pt x="512" y="1641"/>
                  </a:lnTo>
                  <a:lnTo>
                    <a:pt x="512" y="1623"/>
                  </a:lnTo>
                  <a:lnTo>
                    <a:pt x="491" y="1609"/>
                  </a:lnTo>
                  <a:lnTo>
                    <a:pt x="505" y="1563"/>
                  </a:lnTo>
                  <a:lnTo>
                    <a:pt x="514" y="1440"/>
                  </a:lnTo>
                  <a:lnTo>
                    <a:pt x="512" y="1405"/>
                  </a:lnTo>
                  <a:lnTo>
                    <a:pt x="498" y="1419"/>
                  </a:lnTo>
                  <a:lnTo>
                    <a:pt x="488" y="1419"/>
                  </a:lnTo>
                  <a:lnTo>
                    <a:pt x="485" y="1410"/>
                  </a:lnTo>
                  <a:lnTo>
                    <a:pt x="482" y="1377"/>
                  </a:lnTo>
                  <a:lnTo>
                    <a:pt x="461" y="1294"/>
                  </a:lnTo>
                  <a:lnTo>
                    <a:pt x="465" y="1284"/>
                  </a:lnTo>
                  <a:lnTo>
                    <a:pt x="473" y="1259"/>
                  </a:lnTo>
                  <a:lnTo>
                    <a:pt x="464" y="1238"/>
                  </a:lnTo>
                  <a:lnTo>
                    <a:pt x="433" y="1210"/>
                  </a:lnTo>
                  <a:lnTo>
                    <a:pt x="431" y="1203"/>
                  </a:lnTo>
                  <a:lnTo>
                    <a:pt x="433" y="1176"/>
                  </a:lnTo>
                  <a:lnTo>
                    <a:pt x="435" y="1123"/>
                  </a:lnTo>
                  <a:lnTo>
                    <a:pt x="447" y="1116"/>
                  </a:lnTo>
                  <a:lnTo>
                    <a:pt x="551" y="1023"/>
                  </a:lnTo>
                  <a:lnTo>
                    <a:pt x="648" y="897"/>
                  </a:lnTo>
                  <a:lnTo>
                    <a:pt x="685" y="864"/>
                  </a:lnTo>
                  <a:lnTo>
                    <a:pt x="743" y="832"/>
                  </a:lnTo>
                  <a:lnTo>
                    <a:pt x="775" y="820"/>
                  </a:lnTo>
                  <a:lnTo>
                    <a:pt x="901" y="744"/>
                  </a:lnTo>
                  <a:lnTo>
                    <a:pt x="933" y="709"/>
                  </a:lnTo>
                  <a:lnTo>
                    <a:pt x="1008" y="595"/>
                  </a:lnTo>
                  <a:lnTo>
                    <a:pt x="1014" y="579"/>
                  </a:lnTo>
                  <a:lnTo>
                    <a:pt x="1004" y="559"/>
                  </a:lnTo>
                  <a:lnTo>
                    <a:pt x="1030" y="528"/>
                  </a:lnTo>
                  <a:lnTo>
                    <a:pt x="1037" y="501"/>
                  </a:lnTo>
                  <a:lnTo>
                    <a:pt x="1036" y="487"/>
                  </a:lnTo>
                  <a:lnTo>
                    <a:pt x="1022" y="482"/>
                  </a:lnTo>
                  <a:lnTo>
                    <a:pt x="1014" y="477"/>
                  </a:lnTo>
                  <a:lnTo>
                    <a:pt x="1012" y="466"/>
                  </a:lnTo>
                  <a:lnTo>
                    <a:pt x="1012" y="362"/>
                  </a:lnTo>
                  <a:lnTo>
                    <a:pt x="1004" y="335"/>
                  </a:lnTo>
                  <a:lnTo>
                    <a:pt x="988" y="298"/>
                  </a:lnTo>
                  <a:lnTo>
                    <a:pt x="1000" y="281"/>
                  </a:lnTo>
                  <a:lnTo>
                    <a:pt x="1004" y="251"/>
                  </a:lnTo>
                  <a:lnTo>
                    <a:pt x="997" y="191"/>
                  </a:lnTo>
                  <a:lnTo>
                    <a:pt x="997" y="166"/>
                  </a:lnTo>
                  <a:lnTo>
                    <a:pt x="991" y="127"/>
                  </a:lnTo>
                  <a:lnTo>
                    <a:pt x="983" y="104"/>
                  </a:lnTo>
                  <a:lnTo>
                    <a:pt x="1006" y="66"/>
                  </a:lnTo>
                  <a:lnTo>
                    <a:pt x="1014" y="36"/>
                  </a:lnTo>
                  <a:lnTo>
                    <a:pt x="1004" y="9"/>
                  </a:lnTo>
                  <a:lnTo>
                    <a:pt x="999" y="0"/>
                  </a:lnTo>
                  <a:lnTo>
                    <a:pt x="948" y="46"/>
                  </a:lnTo>
                  <a:lnTo>
                    <a:pt x="925" y="64"/>
                  </a:lnTo>
                  <a:lnTo>
                    <a:pt x="816" y="115"/>
                  </a:lnTo>
                  <a:lnTo>
                    <a:pt x="796" y="117"/>
                  </a:lnTo>
                  <a:lnTo>
                    <a:pt x="767" y="94"/>
                  </a:lnTo>
                  <a:lnTo>
                    <a:pt x="755" y="90"/>
                  </a:lnTo>
                  <a:lnTo>
                    <a:pt x="722" y="147"/>
                  </a:lnTo>
                  <a:lnTo>
                    <a:pt x="705" y="156"/>
                  </a:lnTo>
                  <a:lnTo>
                    <a:pt x="687" y="152"/>
                  </a:lnTo>
                  <a:lnTo>
                    <a:pt x="600" y="154"/>
                  </a:lnTo>
                  <a:lnTo>
                    <a:pt x="579" y="138"/>
                  </a:lnTo>
                  <a:lnTo>
                    <a:pt x="563" y="117"/>
                  </a:lnTo>
                  <a:lnTo>
                    <a:pt x="555" y="113"/>
                  </a:lnTo>
                  <a:lnTo>
                    <a:pt x="549" y="120"/>
                  </a:lnTo>
                  <a:lnTo>
                    <a:pt x="521" y="138"/>
                  </a:lnTo>
                  <a:lnTo>
                    <a:pt x="497" y="143"/>
                  </a:lnTo>
                  <a:lnTo>
                    <a:pt x="452" y="134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50" name="Freeform 87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3332" y="2991"/>
              <a:ext cx="107" cy="241"/>
            </a:xfrm>
            <a:custGeom>
              <a:avLst/>
              <a:gdLst>
                <a:gd name="T0" fmla="*/ 559 w 707"/>
                <a:gd name="T1" fmla="*/ 56 h 1625"/>
                <a:gd name="T2" fmla="*/ 535 w 707"/>
                <a:gd name="T3" fmla="*/ 138 h 1625"/>
                <a:gd name="T4" fmla="*/ 495 w 707"/>
                <a:gd name="T5" fmla="*/ 187 h 1625"/>
                <a:gd name="T6" fmla="*/ 473 w 707"/>
                <a:gd name="T7" fmla="*/ 159 h 1625"/>
                <a:gd name="T8" fmla="*/ 456 w 707"/>
                <a:gd name="T9" fmla="*/ 157 h 1625"/>
                <a:gd name="T10" fmla="*/ 467 w 707"/>
                <a:gd name="T11" fmla="*/ 222 h 1625"/>
                <a:gd name="T12" fmla="*/ 446 w 707"/>
                <a:gd name="T13" fmla="*/ 243 h 1625"/>
                <a:gd name="T14" fmla="*/ 432 w 707"/>
                <a:gd name="T15" fmla="*/ 259 h 1625"/>
                <a:gd name="T16" fmla="*/ 450 w 707"/>
                <a:gd name="T17" fmla="*/ 291 h 1625"/>
                <a:gd name="T18" fmla="*/ 416 w 707"/>
                <a:gd name="T19" fmla="*/ 321 h 1625"/>
                <a:gd name="T20" fmla="*/ 383 w 707"/>
                <a:gd name="T21" fmla="*/ 328 h 1625"/>
                <a:gd name="T22" fmla="*/ 387 w 707"/>
                <a:gd name="T23" fmla="*/ 369 h 1625"/>
                <a:gd name="T24" fmla="*/ 356 w 707"/>
                <a:gd name="T25" fmla="*/ 369 h 1625"/>
                <a:gd name="T26" fmla="*/ 304 w 707"/>
                <a:gd name="T27" fmla="*/ 407 h 1625"/>
                <a:gd name="T28" fmla="*/ 307 w 707"/>
                <a:gd name="T29" fmla="*/ 437 h 1625"/>
                <a:gd name="T30" fmla="*/ 279 w 707"/>
                <a:gd name="T31" fmla="*/ 423 h 1625"/>
                <a:gd name="T32" fmla="*/ 222 w 707"/>
                <a:gd name="T33" fmla="*/ 452 h 1625"/>
                <a:gd name="T34" fmla="*/ 187 w 707"/>
                <a:gd name="T35" fmla="*/ 450 h 1625"/>
                <a:gd name="T36" fmla="*/ 114 w 707"/>
                <a:gd name="T37" fmla="*/ 474 h 1625"/>
                <a:gd name="T38" fmla="*/ 107 w 707"/>
                <a:gd name="T39" fmla="*/ 557 h 1625"/>
                <a:gd name="T40" fmla="*/ 66 w 707"/>
                <a:gd name="T41" fmla="*/ 632 h 1625"/>
                <a:gd name="T42" fmla="*/ 85 w 707"/>
                <a:gd name="T43" fmla="*/ 735 h 1625"/>
                <a:gd name="T44" fmla="*/ 97 w 707"/>
                <a:gd name="T45" fmla="*/ 809 h 1625"/>
                <a:gd name="T46" fmla="*/ 122 w 707"/>
                <a:gd name="T47" fmla="*/ 851 h 1625"/>
                <a:gd name="T48" fmla="*/ 120 w 707"/>
                <a:gd name="T49" fmla="*/ 931 h 1625"/>
                <a:gd name="T50" fmla="*/ 52 w 707"/>
                <a:gd name="T51" fmla="*/ 1088 h 1625"/>
                <a:gd name="T52" fmla="*/ 21 w 707"/>
                <a:gd name="T53" fmla="*/ 1110 h 1625"/>
                <a:gd name="T54" fmla="*/ 0 w 707"/>
                <a:gd name="T55" fmla="*/ 1223 h 1625"/>
                <a:gd name="T56" fmla="*/ 48 w 707"/>
                <a:gd name="T57" fmla="*/ 1328 h 1625"/>
                <a:gd name="T58" fmla="*/ 37 w 707"/>
                <a:gd name="T59" fmla="*/ 1406 h 1625"/>
                <a:gd name="T60" fmla="*/ 42 w 707"/>
                <a:gd name="T61" fmla="*/ 1462 h 1625"/>
                <a:gd name="T62" fmla="*/ 66 w 707"/>
                <a:gd name="T63" fmla="*/ 1496 h 1625"/>
                <a:gd name="T64" fmla="*/ 73 w 707"/>
                <a:gd name="T65" fmla="*/ 1540 h 1625"/>
                <a:gd name="T66" fmla="*/ 123 w 707"/>
                <a:gd name="T67" fmla="*/ 1584 h 1625"/>
                <a:gd name="T68" fmla="*/ 163 w 707"/>
                <a:gd name="T69" fmla="*/ 1589 h 1625"/>
                <a:gd name="T70" fmla="*/ 188 w 707"/>
                <a:gd name="T71" fmla="*/ 1625 h 1625"/>
                <a:gd name="T72" fmla="*/ 245 w 707"/>
                <a:gd name="T73" fmla="*/ 1593 h 1625"/>
                <a:gd name="T74" fmla="*/ 350 w 707"/>
                <a:gd name="T75" fmla="*/ 1570 h 1625"/>
                <a:gd name="T76" fmla="*/ 388 w 707"/>
                <a:gd name="T77" fmla="*/ 1514 h 1625"/>
                <a:gd name="T78" fmla="*/ 601 w 707"/>
                <a:gd name="T79" fmla="*/ 662 h 1625"/>
                <a:gd name="T80" fmla="*/ 603 w 707"/>
                <a:gd name="T81" fmla="*/ 590 h 1625"/>
                <a:gd name="T82" fmla="*/ 648 w 707"/>
                <a:gd name="T83" fmla="*/ 500 h 1625"/>
                <a:gd name="T84" fmla="*/ 628 w 707"/>
                <a:gd name="T85" fmla="*/ 450 h 1625"/>
                <a:gd name="T86" fmla="*/ 620 w 707"/>
                <a:gd name="T87" fmla="*/ 381 h 1625"/>
                <a:gd name="T88" fmla="*/ 658 w 707"/>
                <a:gd name="T89" fmla="*/ 413 h 1625"/>
                <a:gd name="T90" fmla="*/ 677 w 707"/>
                <a:gd name="T91" fmla="*/ 439 h 1625"/>
                <a:gd name="T92" fmla="*/ 706 w 707"/>
                <a:gd name="T93" fmla="*/ 383 h 1625"/>
                <a:gd name="T94" fmla="*/ 701 w 707"/>
                <a:gd name="T95" fmla="*/ 339 h 1625"/>
                <a:gd name="T96" fmla="*/ 646 w 707"/>
                <a:gd name="T97" fmla="*/ 78 h 1625"/>
                <a:gd name="T98" fmla="*/ 613 w 707"/>
                <a:gd name="T99" fmla="*/ 53 h 1625"/>
                <a:gd name="T100" fmla="*/ 577 w 707"/>
                <a:gd name="T101" fmla="*/ 0 h 1625"/>
                <a:gd name="T102" fmla="*/ 554 w 707"/>
                <a:gd name="T103" fmla="*/ 37 h 1625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07"/>
                <a:gd name="T157" fmla="*/ 0 h 1625"/>
                <a:gd name="T158" fmla="*/ 707 w 707"/>
                <a:gd name="T159" fmla="*/ 1625 h 1625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07" h="1625">
                  <a:moveTo>
                    <a:pt x="554" y="37"/>
                  </a:moveTo>
                  <a:lnTo>
                    <a:pt x="559" y="56"/>
                  </a:lnTo>
                  <a:lnTo>
                    <a:pt x="546" y="118"/>
                  </a:lnTo>
                  <a:lnTo>
                    <a:pt x="535" y="138"/>
                  </a:lnTo>
                  <a:lnTo>
                    <a:pt x="505" y="166"/>
                  </a:lnTo>
                  <a:lnTo>
                    <a:pt x="495" y="187"/>
                  </a:lnTo>
                  <a:lnTo>
                    <a:pt x="483" y="182"/>
                  </a:lnTo>
                  <a:lnTo>
                    <a:pt x="473" y="159"/>
                  </a:lnTo>
                  <a:lnTo>
                    <a:pt x="467" y="155"/>
                  </a:lnTo>
                  <a:lnTo>
                    <a:pt x="456" y="157"/>
                  </a:lnTo>
                  <a:lnTo>
                    <a:pt x="454" y="175"/>
                  </a:lnTo>
                  <a:lnTo>
                    <a:pt x="467" y="222"/>
                  </a:lnTo>
                  <a:lnTo>
                    <a:pt x="458" y="240"/>
                  </a:lnTo>
                  <a:lnTo>
                    <a:pt x="446" y="243"/>
                  </a:lnTo>
                  <a:lnTo>
                    <a:pt x="436" y="243"/>
                  </a:lnTo>
                  <a:lnTo>
                    <a:pt x="432" y="259"/>
                  </a:lnTo>
                  <a:lnTo>
                    <a:pt x="444" y="280"/>
                  </a:lnTo>
                  <a:lnTo>
                    <a:pt x="450" y="291"/>
                  </a:lnTo>
                  <a:lnTo>
                    <a:pt x="425" y="323"/>
                  </a:lnTo>
                  <a:lnTo>
                    <a:pt x="416" y="321"/>
                  </a:lnTo>
                  <a:lnTo>
                    <a:pt x="405" y="305"/>
                  </a:lnTo>
                  <a:lnTo>
                    <a:pt x="383" y="328"/>
                  </a:lnTo>
                  <a:lnTo>
                    <a:pt x="374" y="342"/>
                  </a:lnTo>
                  <a:lnTo>
                    <a:pt x="387" y="369"/>
                  </a:lnTo>
                  <a:lnTo>
                    <a:pt x="371" y="381"/>
                  </a:lnTo>
                  <a:lnTo>
                    <a:pt x="356" y="369"/>
                  </a:lnTo>
                  <a:lnTo>
                    <a:pt x="338" y="379"/>
                  </a:lnTo>
                  <a:lnTo>
                    <a:pt x="304" y="407"/>
                  </a:lnTo>
                  <a:lnTo>
                    <a:pt x="311" y="429"/>
                  </a:lnTo>
                  <a:lnTo>
                    <a:pt x="307" y="437"/>
                  </a:lnTo>
                  <a:lnTo>
                    <a:pt x="294" y="439"/>
                  </a:lnTo>
                  <a:lnTo>
                    <a:pt x="279" y="423"/>
                  </a:lnTo>
                  <a:lnTo>
                    <a:pt x="238" y="432"/>
                  </a:lnTo>
                  <a:lnTo>
                    <a:pt x="222" y="452"/>
                  </a:lnTo>
                  <a:lnTo>
                    <a:pt x="211" y="457"/>
                  </a:lnTo>
                  <a:lnTo>
                    <a:pt x="187" y="450"/>
                  </a:lnTo>
                  <a:lnTo>
                    <a:pt x="159" y="469"/>
                  </a:lnTo>
                  <a:lnTo>
                    <a:pt x="114" y="474"/>
                  </a:lnTo>
                  <a:lnTo>
                    <a:pt x="114" y="532"/>
                  </a:lnTo>
                  <a:lnTo>
                    <a:pt x="107" y="557"/>
                  </a:lnTo>
                  <a:lnTo>
                    <a:pt x="69" y="625"/>
                  </a:lnTo>
                  <a:lnTo>
                    <a:pt x="66" y="632"/>
                  </a:lnTo>
                  <a:lnTo>
                    <a:pt x="77" y="671"/>
                  </a:lnTo>
                  <a:lnTo>
                    <a:pt x="85" y="735"/>
                  </a:lnTo>
                  <a:lnTo>
                    <a:pt x="108" y="781"/>
                  </a:lnTo>
                  <a:lnTo>
                    <a:pt x="97" y="809"/>
                  </a:lnTo>
                  <a:lnTo>
                    <a:pt x="94" y="819"/>
                  </a:lnTo>
                  <a:lnTo>
                    <a:pt x="122" y="851"/>
                  </a:lnTo>
                  <a:lnTo>
                    <a:pt x="126" y="871"/>
                  </a:lnTo>
                  <a:lnTo>
                    <a:pt x="120" y="931"/>
                  </a:lnTo>
                  <a:lnTo>
                    <a:pt x="115" y="948"/>
                  </a:lnTo>
                  <a:lnTo>
                    <a:pt x="52" y="1088"/>
                  </a:lnTo>
                  <a:lnTo>
                    <a:pt x="29" y="1098"/>
                  </a:lnTo>
                  <a:lnTo>
                    <a:pt x="21" y="1110"/>
                  </a:lnTo>
                  <a:lnTo>
                    <a:pt x="3" y="1185"/>
                  </a:lnTo>
                  <a:lnTo>
                    <a:pt x="0" y="1223"/>
                  </a:lnTo>
                  <a:lnTo>
                    <a:pt x="8" y="1249"/>
                  </a:lnTo>
                  <a:lnTo>
                    <a:pt x="48" y="1328"/>
                  </a:lnTo>
                  <a:lnTo>
                    <a:pt x="52" y="1346"/>
                  </a:lnTo>
                  <a:lnTo>
                    <a:pt x="37" y="1406"/>
                  </a:lnTo>
                  <a:lnTo>
                    <a:pt x="37" y="1447"/>
                  </a:lnTo>
                  <a:lnTo>
                    <a:pt x="42" y="1462"/>
                  </a:lnTo>
                  <a:lnTo>
                    <a:pt x="62" y="1482"/>
                  </a:lnTo>
                  <a:lnTo>
                    <a:pt x="66" y="1496"/>
                  </a:lnTo>
                  <a:lnTo>
                    <a:pt x="69" y="1528"/>
                  </a:lnTo>
                  <a:lnTo>
                    <a:pt x="73" y="1540"/>
                  </a:lnTo>
                  <a:lnTo>
                    <a:pt x="111" y="1581"/>
                  </a:lnTo>
                  <a:lnTo>
                    <a:pt x="123" y="1584"/>
                  </a:lnTo>
                  <a:lnTo>
                    <a:pt x="139" y="1581"/>
                  </a:lnTo>
                  <a:lnTo>
                    <a:pt x="163" y="1589"/>
                  </a:lnTo>
                  <a:lnTo>
                    <a:pt x="172" y="1598"/>
                  </a:lnTo>
                  <a:lnTo>
                    <a:pt x="188" y="1625"/>
                  </a:lnTo>
                  <a:lnTo>
                    <a:pt x="224" y="1619"/>
                  </a:lnTo>
                  <a:lnTo>
                    <a:pt x="245" y="1593"/>
                  </a:lnTo>
                  <a:lnTo>
                    <a:pt x="289" y="1575"/>
                  </a:lnTo>
                  <a:lnTo>
                    <a:pt x="350" y="1570"/>
                  </a:lnTo>
                  <a:lnTo>
                    <a:pt x="359" y="1563"/>
                  </a:lnTo>
                  <a:lnTo>
                    <a:pt x="388" y="1514"/>
                  </a:lnTo>
                  <a:lnTo>
                    <a:pt x="593" y="714"/>
                  </a:lnTo>
                  <a:lnTo>
                    <a:pt x="601" y="662"/>
                  </a:lnTo>
                  <a:lnTo>
                    <a:pt x="599" y="613"/>
                  </a:lnTo>
                  <a:lnTo>
                    <a:pt x="603" y="590"/>
                  </a:lnTo>
                  <a:lnTo>
                    <a:pt x="635" y="535"/>
                  </a:lnTo>
                  <a:lnTo>
                    <a:pt x="648" y="500"/>
                  </a:lnTo>
                  <a:lnTo>
                    <a:pt x="644" y="478"/>
                  </a:lnTo>
                  <a:lnTo>
                    <a:pt x="628" y="450"/>
                  </a:lnTo>
                  <a:lnTo>
                    <a:pt x="619" y="404"/>
                  </a:lnTo>
                  <a:lnTo>
                    <a:pt x="620" y="381"/>
                  </a:lnTo>
                  <a:lnTo>
                    <a:pt x="633" y="372"/>
                  </a:lnTo>
                  <a:lnTo>
                    <a:pt x="658" y="413"/>
                  </a:lnTo>
                  <a:lnTo>
                    <a:pt x="666" y="432"/>
                  </a:lnTo>
                  <a:lnTo>
                    <a:pt x="677" y="439"/>
                  </a:lnTo>
                  <a:lnTo>
                    <a:pt x="703" y="392"/>
                  </a:lnTo>
                  <a:lnTo>
                    <a:pt x="706" y="383"/>
                  </a:lnTo>
                  <a:lnTo>
                    <a:pt x="707" y="363"/>
                  </a:lnTo>
                  <a:lnTo>
                    <a:pt x="701" y="339"/>
                  </a:lnTo>
                  <a:lnTo>
                    <a:pt x="682" y="298"/>
                  </a:lnTo>
                  <a:lnTo>
                    <a:pt x="646" y="78"/>
                  </a:lnTo>
                  <a:lnTo>
                    <a:pt x="640" y="67"/>
                  </a:lnTo>
                  <a:lnTo>
                    <a:pt x="613" y="53"/>
                  </a:lnTo>
                  <a:lnTo>
                    <a:pt x="593" y="18"/>
                  </a:lnTo>
                  <a:lnTo>
                    <a:pt x="577" y="0"/>
                  </a:lnTo>
                  <a:lnTo>
                    <a:pt x="554" y="25"/>
                  </a:lnTo>
                  <a:lnTo>
                    <a:pt x="554" y="37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51" name="Freeform 88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3069" y="3050"/>
              <a:ext cx="115" cy="125"/>
            </a:xfrm>
            <a:custGeom>
              <a:avLst/>
              <a:gdLst>
                <a:gd name="T0" fmla="*/ 337 w 762"/>
                <a:gd name="T1" fmla="*/ 123 h 840"/>
                <a:gd name="T2" fmla="*/ 264 w 762"/>
                <a:gd name="T3" fmla="*/ 139 h 840"/>
                <a:gd name="T4" fmla="*/ 139 w 762"/>
                <a:gd name="T5" fmla="*/ 301 h 840"/>
                <a:gd name="T6" fmla="*/ 86 w 762"/>
                <a:gd name="T7" fmla="*/ 275 h 840"/>
                <a:gd name="T8" fmla="*/ 49 w 762"/>
                <a:gd name="T9" fmla="*/ 298 h 840"/>
                <a:gd name="T10" fmla="*/ 4 w 762"/>
                <a:gd name="T11" fmla="*/ 287 h 840"/>
                <a:gd name="T12" fmla="*/ 12 w 762"/>
                <a:gd name="T13" fmla="*/ 324 h 840"/>
                <a:gd name="T14" fmla="*/ 62 w 762"/>
                <a:gd name="T15" fmla="*/ 435 h 840"/>
                <a:gd name="T16" fmla="*/ 105 w 762"/>
                <a:gd name="T17" fmla="*/ 499 h 840"/>
                <a:gd name="T18" fmla="*/ 153 w 762"/>
                <a:gd name="T19" fmla="*/ 527 h 840"/>
                <a:gd name="T20" fmla="*/ 182 w 762"/>
                <a:gd name="T21" fmla="*/ 552 h 840"/>
                <a:gd name="T22" fmla="*/ 184 w 762"/>
                <a:gd name="T23" fmla="*/ 592 h 840"/>
                <a:gd name="T24" fmla="*/ 227 w 762"/>
                <a:gd name="T25" fmla="*/ 598 h 840"/>
                <a:gd name="T26" fmla="*/ 232 w 762"/>
                <a:gd name="T27" fmla="*/ 642 h 840"/>
                <a:gd name="T28" fmla="*/ 261 w 762"/>
                <a:gd name="T29" fmla="*/ 719 h 840"/>
                <a:gd name="T30" fmla="*/ 319 w 762"/>
                <a:gd name="T31" fmla="*/ 735 h 840"/>
                <a:gd name="T32" fmla="*/ 363 w 762"/>
                <a:gd name="T33" fmla="*/ 763 h 840"/>
                <a:gd name="T34" fmla="*/ 388 w 762"/>
                <a:gd name="T35" fmla="*/ 798 h 840"/>
                <a:gd name="T36" fmla="*/ 447 w 762"/>
                <a:gd name="T37" fmla="*/ 807 h 840"/>
                <a:gd name="T38" fmla="*/ 505 w 762"/>
                <a:gd name="T39" fmla="*/ 828 h 840"/>
                <a:gd name="T40" fmla="*/ 547 w 762"/>
                <a:gd name="T41" fmla="*/ 821 h 840"/>
                <a:gd name="T42" fmla="*/ 587 w 762"/>
                <a:gd name="T43" fmla="*/ 840 h 840"/>
                <a:gd name="T44" fmla="*/ 697 w 762"/>
                <a:gd name="T45" fmla="*/ 702 h 840"/>
                <a:gd name="T46" fmla="*/ 699 w 762"/>
                <a:gd name="T47" fmla="*/ 670 h 840"/>
                <a:gd name="T48" fmla="*/ 713 w 762"/>
                <a:gd name="T49" fmla="*/ 598 h 840"/>
                <a:gd name="T50" fmla="*/ 754 w 762"/>
                <a:gd name="T51" fmla="*/ 541 h 840"/>
                <a:gd name="T52" fmla="*/ 737 w 762"/>
                <a:gd name="T53" fmla="*/ 472 h 840"/>
                <a:gd name="T54" fmla="*/ 730 w 762"/>
                <a:gd name="T55" fmla="*/ 386 h 840"/>
                <a:gd name="T56" fmla="*/ 760 w 762"/>
                <a:gd name="T57" fmla="*/ 331 h 840"/>
                <a:gd name="T58" fmla="*/ 748 w 762"/>
                <a:gd name="T59" fmla="*/ 183 h 840"/>
                <a:gd name="T60" fmla="*/ 721 w 762"/>
                <a:gd name="T61" fmla="*/ 120 h 840"/>
                <a:gd name="T62" fmla="*/ 571 w 762"/>
                <a:gd name="T63" fmla="*/ 52 h 840"/>
                <a:gd name="T64" fmla="*/ 502 w 762"/>
                <a:gd name="T65" fmla="*/ 43 h 840"/>
                <a:gd name="T66" fmla="*/ 501 w 762"/>
                <a:gd name="T67" fmla="*/ 6 h 840"/>
                <a:gd name="T68" fmla="*/ 435 w 762"/>
                <a:gd name="T69" fmla="*/ 2 h 840"/>
                <a:gd name="T70" fmla="*/ 371 w 762"/>
                <a:gd name="T71" fmla="*/ 46 h 840"/>
                <a:gd name="T72" fmla="*/ 356 w 762"/>
                <a:gd name="T73" fmla="*/ 107 h 84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762"/>
                <a:gd name="T112" fmla="*/ 0 h 840"/>
                <a:gd name="T113" fmla="*/ 762 w 762"/>
                <a:gd name="T114" fmla="*/ 840 h 84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762" h="840">
                  <a:moveTo>
                    <a:pt x="349" y="118"/>
                  </a:moveTo>
                  <a:lnTo>
                    <a:pt x="337" y="123"/>
                  </a:lnTo>
                  <a:lnTo>
                    <a:pt x="293" y="127"/>
                  </a:lnTo>
                  <a:lnTo>
                    <a:pt x="264" y="139"/>
                  </a:lnTo>
                  <a:lnTo>
                    <a:pt x="156" y="300"/>
                  </a:lnTo>
                  <a:lnTo>
                    <a:pt x="139" y="301"/>
                  </a:lnTo>
                  <a:lnTo>
                    <a:pt x="106" y="292"/>
                  </a:lnTo>
                  <a:lnTo>
                    <a:pt x="86" y="275"/>
                  </a:lnTo>
                  <a:lnTo>
                    <a:pt x="72" y="282"/>
                  </a:lnTo>
                  <a:lnTo>
                    <a:pt x="49" y="298"/>
                  </a:lnTo>
                  <a:lnTo>
                    <a:pt x="32" y="300"/>
                  </a:lnTo>
                  <a:lnTo>
                    <a:pt x="4" y="287"/>
                  </a:lnTo>
                  <a:lnTo>
                    <a:pt x="0" y="300"/>
                  </a:lnTo>
                  <a:lnTo>
                    <a:pt x="12" y="324"/>
                  </a:lnTo>
                  <a:lnTo>
                    <a:pt x="51" y="382"/>
                  </a:lnTo>
                  <a:lnTo>
                    <a:pt x="62" y="435"/>
                  </a:lnTo>
                  <a:lnTo>
                    <a:pt x="78" y="471"/>
                  </a:lnTo>
                  <a:lnTo>
                    <a:pt x="105" y="499"/>
                  </a:lnTo>
                  <a:lnTo>
                    <a:pt x="130" y="516"/>
                  </a:lnTo>
                  <a:lnTo>
                    <a:pt x="153" y="527"/>
                  </a:lnTo>
                  <a:lnTo>
                    <a:pt x="176" y="543"/>
                  </a:lnTo>
                  <a:lnTo>
                    <a:pt x="182" y="552"/>
                  </a:lnTo>
                  <a:lnTo>
                    <a:pt x="180" y="582"/>
                  </a:lnTo>
                  <a:lnTo>
                    <a:pt x="184" y="592"/>
                  </a:lnTo>
                  <a:lnTo>
                    <a:pt x="193" y="598"/>
                  </a:lnTo>
                  <a:lnTo>
                    <a:pt x="227" y="598"/>
                  </a:lnTo>
                  <a:lnTo>
                    <a:pt x="233" y="610"/>
                  </a:lnTo>
                  <a:lnTo>
                    <a:pt x="232" y="642"/>
                  </a:lnTo>
                  <a:lnTo>
                    <a:pt x="239" y="672"/>
                  </a:lnTo>
                  <a:lnTo>
                    <a:pt x="261" y="719"/>
                  </a:lnTo>
                  <a:lnTo>
                    <a:pt x="278" y="728"/>
                  </a:lnTo>
                  <a:lnTo>
                    <a:pt x="319" y="735"/>
                  </a:lnTo>
                  <a:lnTo>
                    <a:pt x="343" y="746"/>
                  </a:lnTo>
                  <a:lnTo>
                    <a:pt x="363" y="763"/>
                  </a:lnTo>
                  <a:lnTo>
                    <a:pt x="379" y="790"/>
                  </a:lnTo>
                  <a:lnTo>
                    <a:pt x="388" y="798"/>
                  </a:lnTo>
                  <a:lnTo>
                    <a:pt x="420" y="800"/>
                  </a:lnTo>
                  <a:lnTo>
                    <a:pt x="447" y="807"/>
                  </a:lnTo>
                  <a:lnTo>
                    <a:pt x="492" y="830"/>
                  </a:lnTo>
                  <a:lnTo>
                    <a:pt x="505" y="828"/>
                  </a:lnTo>
                  <a:lnTo>
                    <a:pt x="529" y="821"/>
                  </a:lnTo>
                  <a:lnTo>
                    <a:pt x="547" y="821"/>
                  </a:lnTo>
                  <a:lnTo>
                    <a:pt x="571" y="828"/>
                  </a:lnTo>
                  <a:lnTo>
                    <a:pt x="587" y="840"/>
                  </a:lnTo>
                  <a:lnTo>
                    <a:pt x="607" y="819"/>
                  </a:lnTo>
                  <a:lnTo>
                    <a:pt x="697" y="702"/>
                  </a:lnTo>
                  <a:lnTo>
                    <a:pt x="704" y="689"/>
                  </a:lnTo>
                  <a:lnTo>
                    <a:pt x="699" y="670"/>
                  </a:lnTo>
                  <a:lnTo>
                    <a:pt x="702" y="624"/>
                  </a:lnTo>
                  <a:lnTo>
                    <a:pt x="713" y="598"/>
                  </a:lnTo>
                  <a:lnTo>
                    <a:pt x="745" y="561"/>
                  </a:lnTo>
                  <a:lnTo>
                    <a:pt x="754" y="541"/>
                  </a:lnTo>
                  <a:lnTo>
                    <a:pt x="762" y="518"/>
                  </a:lnTo>
                  <a:lnTo>
                    <a:pt x="737" y="472"/>
                  </a:lnTo>
                  <a:lnTo>
                    <a:pt x="726" y="402"/>
                  </a:lnTo>
                  <a:lnTo>
                    <a:pt x="730" y="386"/>
                  </a:lnTo>
                  <a:lnTo>
                    <a:pt x="751" y="354"/>
                  </a:lnTo>
                  <a:lnTo>
                    <a:pt x="760" y="331"/>
                  </a:lnTo>
                  <a:lnTo>
                    <a:pt x="754" y="289"/>
                  </a:lnTo>
                  <a:lnTo>
                    <a:pt x="748" y="183"/>
                  </a:lnTo>
                  <a:lnTo>
                    <a:pt x="741" y="139"/>
                  </a:lnTo>
                  <a:lnTo>
                    <a:pt x="721" y="120"/>
                  </a:lnTo>
                  <a:lnTo>
                    <a:pt x="699" y="107"/>
                  </a:lnTo>
                  <a:lnTo>
                    <a:pt x="571" y="52"/>
                  </a:lnTo>
                  <a:lnTo>
                    <a:pt x="508" y="52"/>
                  </a:lnTo>
                  <a:lnTo>
                    <a:pt x="502" y="43"/>
                  </a:lnTo>
                  <a:lnTo>
                    <a:pt x="502" y="16"/>
                  </a:lnTo>
                  <a:lnTo>
                    <a:pt x="501" y="6"/>
                  </a:lnTo>
                  <a:lnTo>
                    <a:pt x="478" y="0"/>
                  </a:lnTo>
                  <a:lnTo>
                    <a:pt x="435" y="2"/>
                  </a:lnTo>
                  <a:lnTo>
                    <a:pt x="399" y="16"/>
                  </a:lnTo>
                  <a:lnTo>
                    <a:pt x="371" y="46"/>
                  </a:lnTo>
                  <a:lnTo>
                    <a:pt x="358" y="74"/>
                  </a:lnTo>
                  <a:lnTo>
                    <a:pt x="356" y="107"/>
                  </a:lnTo>
                  <a:lnTo>
                    <a:pt x="349" y="118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52" name="Freeform 89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2869" y="3073"/>
              <a:ext cx="196" cy="221"/>
            </a:xfrm>
            <a:custGeom>
              <a:avLst/>
              <a:gdLst>
                <a:gd name="T0" fmla="*/ 1298 w 1298"/>
                <a:gd name="T1" fmla="*/ 97 h 1475"/>
                <a:gd name="T2" fmla="*/ 1216 w 1298"/>
                <a:gd name="T3" fmla="*/ 69 h 1475"/>
                <a:gd name="T4" fmla="*/ 1205 w 1298"/>
                <a:gd name="T5" fmla="*/ 60 h 1475"/>
                <a:gd name="T6" fmla="*/ 919 w 1298"/>
                <a:gd name="T7" fmla="*/ 119 h 1475"/>
                <a:gd name="T8" fmla="*/ 849 w 1298"/>
                <a:gd name="T9" fmla="*/ 119 h 1475"/>
                <a:gd name="T10" fmla="*/ 713 w 1298"/>
                <a:gd name="T11" fmla="*/ 106 h 1475"/>
                <a:gd name="T12" fmla="*/ 669 w 1298"/>
                <a:gd name="T13" fmla="*/ 82 h 1475"/>
                <a:gd name="T14" fmla="*/ 637 w 1298"/>
                <a:gd name="T15" fmla="*/ 57 h 1475"/>
                <a:gd name="T16" fmla="*/ 197 w 1298"/>
                <a:gd name="T17" fmla="*/ 46 h 1475"/>
                <a:gd name="T18" fmla="*/ 155 w 1298"/>
                <a:gd name="T19" fmla="*/ 4 h 1475"/>
                <a:gd name="T20" fmla="*/ 121 w 1298"/>
                <a:gd name="T21" fmla="*/ 4 h 1475"/>
                <a:gd name="T22" fmla="*/ 61 w 1298"/>
                <a:gd name="T23" fmla="*/ 48 h 1475"/>
                <a:gd name="T24" fmla="*/ 12 w 1298"/>
                <a:gd name="T25" fmla="*/ 30 h 1475"/>
                <a:gd name="T26" fmla="*/ 0 w 1298"/>
                <a:gd name="T27" fmla="*/ 73 h 1475"/>
                <a:gd name="T28" fmla="*/ 7 w 1298"/>
                <a:gd name="T29" fmla="*/ 124 h 1475"/>
                <a:gd name="T30" fmla="*/ 74 w 1298"/>
                <a:gd name="T31" fmla="*/ 249 h 1475"/>
                <a:gd name="T32" fmla="*/ 259 w 1298"/>
                <a:gd name="T33" fmla="*/ 640 h 1475"/>
                <a:gd name="T34" fmla="*/ 275 w 1298"/>
                <a:gd name="T35" fmla="*/ 696 h 1475"/>
                <a:gd name="T36" fmla="*/ 294 w 1298"/>
                <a:gd name="T37" fmla="*/ 700 h 1475"/>
                <a:gd name="T38" fmla="*/ 296 w 1298"/>
                <a:gd name="T39" fmla="*/ 779 h 1475"/>
                <a:gd name="T40" fmla="*/ 285 w 1298"/>
                <a:gd name="T41" fmla="*/ 906 h 1475"/>
                <a:gd name="T42" fmla="*/ 308 w 1298"/>
                <a:gd name="T43" fmla="*/ 1007 h 1475"/>
                <a:gd name="T44" fmla="*/ 311 w 1298"/>
                <a:gd name="T45" fmla="*/ 1102 h 1475"/>
                <a:gd name="T46" fmla="*/ 328 w 1298"/>
                <a:gd name="T47" fmla="*/ 1162 h 1475"/>
                <a:gd name="T48" fmla="*/ 330 w 1298"/>
                <a:gd name="T49" fmla="*/ 1206 h 1475"/>
                <a:gd name="T50" fmla="*/ 380 w 1298"/>
                <a:gd name="T51" fmla="*/ 1339 h 1475"/>
                <a:gd name="T52" fmla="*/ 481 w 1298"/>
                <a:gd name="T53" fmla="*/ 1405 h 1475"/>
                <a:gd name="T54" fmla="*/ 498 w 1298"/>
                <a:gd name="T55" fmla="*/ 1369 h 1475"/>
                <a:gd name="T56" fmla="*/ 527 w 1298"/>
                <a:gd name="T57" fmla="*/ 1369 h 1475"/>
                <a:gd name="T58" fmla="*/ 564 w 1298"/>
                <a:gd name="T59" fmla="*/ 1403 h 1475"/>
                <a:gd name="T60" fmla="*/ 583 w 1298"/>
                <a:gd name="T61" fmla="*/ 1465 h 1475"/>
                <a:gd name="T62" fmla="*/ 645 w 1298"/>
                <a:gd name="T63" fmla="*/ 1463 h 1475"/>
                <a:gd name="T64" fmla="*/ 703 w 1298"/>
                <a:gd name="T65" fmla="*/ 1475 h 1475"/>
                <a:gd name="T66" fmla="*/ 747 w 1298"/>
                <a:gd name="T67" fmla="*/ 1445 h 1475"/>
                <a:gd name="T68" fmla="*/ 793 w 1298"/>
                <a:gd name="T69" fmla="*/ 1398 h 1475"/>
                <a:gd name="T70" fmla="*/ 802 w 1298"/>
                <a:gd name="T71" fmla="*/ 620 h 1475"/>
                <a:gd name="T72" fmla="*/ 899 w 1298"/>
                <a:gd name="T73" fmla="*/ 168 h 1475"/>
                <a:gd name="T74" fmla="*/ 1130 w 1298"/>
                <a:gd name="T75" fmla="*/ 135 h 1475"/>
                <a:gd name="T76" fmla="*/ 1166 w 1298"/>
                <a:gd name="T77" fmla="*/ 175 h 1475"/>
                <a:gd name="T78" fmla="*/ 1222 w 1298"/>
                <a:gd name="T79" fmla="*/ 117 h 1475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298"/>
                <a:gd name="T121" fmla="*/ 0 h 1475"/>
                <a:gd name="T122" fmla="*/ 1298 w 1298"/>
                <a:gd name="T123" fmla="*/ 1475 h 1475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298" h="1475">
                  <a:moveTo>
                    <a:pt x="1262" y="115"/>
                  </a:moveTo>
                  <a:lnTo>
                    <a:pt x="1298" y="97"/>
                  </a:lnTo>
                  <a:lnTo>
                    <a:pt x="1277" y="76"/>
                  </a:lnTo>
                  <a:lnTo>
                    <a:pt x="1216" y="69"/>
                  </a:lnTo>
                  <a:lnTo>
                    <a:pt x="1213" y="64"/>
                  </a:lnTo>
                  <a:lnTo>
                    <a:pt x="1205" y="60"/>
                  </a:lnTo>
                  <a:lnTo>
                    <a:pt x="951" y="124"/>
                  </a:lnTo>
                  <a:lnTo>
                    <a:pt x="919" y="119"/>
                  </a:lnTo>
                  <a:lnTo>
                    <a:pt x="867" y="122"/>
                  </a:lnTo>
                  <a:lnTo>
                    <a:pt x="849" y="119"/>
                  </a:lnTo>
                  <a:lnTo>
                    <a:pt x="833" y="106"/>
                  </a:lnTo>
                  <a:lnTo>
                    <a:pt x="713" y="106"/>
                  </a:lnTo>
                  <a:lnTo>
                    <a:pt x="686" y="99"/>
                  </a:lnTo>
                  <a:lnTo>
                    <a:pt x="669" y="82"/>
                  </a:lnTo>
                  <a:lnTo>
                    <a:pt x="655" y="62"/>
                  </a:lnTo>
                  <a:lnTo>
                    <a:pt x="637" y="57"/>
                  </a:lnTo>
                  <a:lnTo>
                    <a:pt x="225" y="55"/>
                  </a:lnTo>
                  <a:lnTo>
                    <a:pt x="197" y="46"/>
                  </a:lnTo>
                  <a:lnTo>
                    <a:pt x="176" y="30"/>
                  </a:lnTo>
                  <a:lnTo>
                    <a:pt x="155" y="4"/>
                  </a:lnTo>
                  <a:lnTo>
                    <a:pt x="143" y="0"/>
                  </a:lnTo>
                  <a:lnTo>
                    <a:pt x="121" y="4"/>
                  </a:lnTo>
                  <a:lnTo>
                    <a:pt x="94" y="20"/>
                  </a:lnTo>
                  <a:lnTo>
                    <a:pt x="61" y="48"/>
                  </a:lnTo>
                  <a:lnTo>
                    <a:pt x="28" y="23"/>
                  </a:lnTo>
                  <a:lnTo>
                    <a:pt x="12" y="30"/>
                  </a:lnTo>
                  <a:lnTo>
                    <a:pt x="1" y="41"/>
                  </a:lnTo>
                  <a:lnTo>
                    <a:pt x="0" y="73"/>
                  </a:lnTo>
                  <a:lnTo>
                    <a:pt x="2" y="103"/>
                  </a:lnTo>
                  <a:lnTo>
                    <a:pt x="7" y="124"/>
                  </a:lnTo>
                  <a:lnTo>
                    <a:pt x="29" y="180"/>
                  </a:lnTo>
                  <a:lnTo>
                    <a:pt x="74" y="249"/>
                  </a:lnTo>
                  <a:lnTo>
                    <a:pt x="198" y="538"/>
                  </a:lnTo>
                  <a:lnTo>
                    <a:pt x="259" y="640"/>
                  </a:lnTo>
                  <a:lnTo>
                    <a:pt x="271" y="668"/>
                  </a:lnTo>
                  <a:lnTo>
                    <a:pt x="275" y="696"/>
                  </a:lnTo>
                  <a:lnTo>
                    <a:pt x="274" y="700"/>
                  </a:lnTo>
                  <a:lnTo>
                    <a:pt x="294" y="700"/>
                  </a:lnTo>
                  <a:lnTo>
                    <a:pt x="298" y="742"/>
                  </a:lnTo>
                  <a:lnTo>
                    <a:pt x="296" y="779"/>
                  </a:lnTo>
                  <a:lnTo>
                    <a:pt x="262" y="781"/>
                  </a:lnTo>
                  <a:lnTo>
                    <a:pt x="285" y="906"/>
                  </a:lnTo>
                  <a:lnTo>
                    <a:pt x="308" y="979"/>
                  </a:lnTo>
                  <a:lnTo>
                    <a:pt x="308" y="1007"/>
                  </a:lnTo>
                  <a:lnTo>
                    <a:pt x="301" y="1054"/>
                  </a:lnTo>
                  <a:lnTo>
                    <a:pt x="311" y="1102"/>
                  </a:lnTo>
                  <a:lnTo>
                    <a:pt x="331" y="1143"/>
                  </a:lnTo>
                  <a:lnTo>
                    <a:pt x="328" y="1162"/>
                  </a:lnTo>
                  <a:lnTo>
                    <a:pt x="324" y="1178"/>
                  </a:lnTo>
                  <a:lnTo>
                    <a:pt x="330" y="1206"/>
                  </a:lnTo>
                  <a:lnTo>
                    <a:pt x="361" y="1305"/>
                  </a:lnTo>
                  <a:lnTo>
                    <a:pt x="380" y="1339"/>
                  </a:lnTo>
                  <a:lnTo>
                    <a:pt x="448" y="1424"/>
                  </a:lnTo>
                  <a:lnTo>
                    <a:pt x="481" y="1405"/>
                  </a:lnTo>
                  <a:lnTo>
                    <a:pt x="494" y="1382"/>
                  </a:lnTo>
                  <a:lnTo>
                    <a:pt x="498" y="1369"/>
                  </a:lnTo>
                  <a:lnTo>
                    <a:pt x="513" y="1362"/>
                  </a:lnTo>
                  <a:lnTo>
                    <a:pt x="527" y="1369"/>
                  </a:lnTo>
                  <a:lnTo>
                    <a:pt x="556" y="1389"/>
                  </a:lnTo>
                  <a:lnTo>
                    <a:pt x="564" y="1403"/>
                  </a:lnTo>
                  <a:lnTo>
                    <a:pt x="569" y="1452"/>
                  </a:lnTo>
                  <a:lnTo>
                    <a:pt x="583" y="1465"/>
                  </a:lnTo>
                  <a:lnTo>
                    <a:pt x="605" y="1466"/>
                  </a:lnTo>
                  <a:lnTo>
                    <a:pt x="645" y="1463"/>
                  </a:lnTo>
                  <a:lnTo>
                    <a:pt x="677" y="1466"/>
                  </a:lnTo>
                  <a:lnTo>
                    <a:pt x="703" y="1475"/>
                  </a:lnTo>
                  <a:lnTo>
                    <a:pt x="722" y="1474"/>
                  </a:lnTo>
                  <a:lnTo>
                    <a:pt x="747" y="1445"/>
                  </a:lnTo>
                  <a:lnTo>
                    <a:pt x="792" y="1410"/>
                  </a:lnTo>
                  <a:lnTo>
                    <a:pt x="793" y="1398"/>
                  </a:lnTo>
                  <a:lnTo>
                    <a:pt x="796" y="621"/>
                  </a:lnTo>
                  <a:lnTo>
                    <a:pt x="802" y="620"/>
                  </a:lnTo>
                  <a:lnTo>
                    <a:pt x="897" y="614"/>
                  </a:lnTo>
                  <a:lnTo>
                    <a:pt x="899" y="168"/>
                  </a:lnTo>
                  <a:lnTo>
                    <a:pt x="952" y="168"/>
                  </a:lnTo>
                  <a:lnTo>
                    <a:pt x="1130" y="135"/>
                  </a:lnTo>
                  <a:lnTo>
                    <a:pt x="1156" y="177"/>
                  </a:lnTo>
                  <a:lnTo>
                    <a:pt x="1166" y="175"/>
                  </a:lnTo>
                  <a:lnTo>
                    <a:pt x="1210" y="124"/>
                  </a:lnTo>
                  <a:lnTo>
                    <a:pt x="1222" y="117"/>
                  </a:lnTo>
                  <a:lnTo>
                    <a:pt x="1262" y="115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53" name="Freeform 90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2988" y="3089"/>
              <a:ext cx="139" cy="167"/>
            </a:xfrm>
            <a:custGeom>
              <a:avLst/>
              <a:gdLst>
                <a:gd name="T0" fmla="*/ 470 w 921"/>
                <a:gd name="T1" fmla="*/ 18 h 1123"/>
                <a:gd name="T2" fmla="*/ 418 w 921"/>
                <a:gd name="T3" fmla="*/ 27 h 1123"/>
                <a:gd name="T4" fmla="*/ 364 w 921"/>
                <a:gd name="T5" fmla="*/ 80 h 1123"/>
                <a:gd name="T6" fmla="*/ 160 w 921"/>
                <a:gd name="T7" fmla="*/ 71 h 1123"/>
                <a:gd name="T8" fmla="*/ 105 w 921"/>
                <a:gd name="T9" fmla="*/ 517 h 1123"/>
                <a:gd name="T10" fmla="*/ 4 w 921"/>
                <a:gd name="T11" fmla="*/ 524 h 1123"/>
                <a:gd name="T12" fmla="*/ 24 w 921"/>
                <a:gd name="T13" fmla="*/ 876 h 1123"/>
                <a:gd name="T14" fmla="*/ 78 w 921"/>
                <a:gd name="T15" fmla="*/ 973 h 1123"/>
                <a:gd name="T16" fmla="*/ 81 w 921"/>
                <a:gd name="T17" fmla="*/ 1047 h 1123"/>
                <a:gd name="T18" fmla="*/ 69 w 921"/>
                <a:gd name="T19" fmla="*/ 1107 h 1123"/>
                <a:gd name="T20" fmla="*/ 90 w 921"/>
                <a:gd name="T21" fmla="*/ 1123 h 1123"/>
                <a:gd name="T22" fmla="*/ 200 w 921"/>
                <a:gd name="T23" fmla="*/ 1099 h 1123"/>
                <a:gd name="T24" fmla="*/ 274 w 921"/>
                <a:gd name="T25" fmla="*/ 1012 h 1123"/>
                <a:gd name="T26" fmla="*/ 319 w 921"/>
                <a:gd name="T27" fmla="*/ 926 h 1123"/>
                <a:gd name="T28" fmla="*/ 385 w 921"/>
                <a:gd name="T29" fmla="*/ 965 h 1123"/>
                <a:gd name="T30" fmla="*/ 453 w 921"/>
                <a:gd name="T31" fmla="*/ 993 h 1123"/>
                <a:gd name="T32" fmla="*/ 498 w 921"/>
                <a:gd name="T33" fmla="*/ 989 h 1123"/>
                <a:gd name="T34" fmla="*/ 543 w 921"/>
                <a:gd name="T35" fmla="*/ 984 h 1123"/>
                <a:gd name="T36" fmla="*/ 567 w 921"/>
                <a:gd name="T37" fmla="*/ 957 h 1123"/>
                <a:gd name="T38" fmla="*/ 603 w 921"/>
                <a:gd name="T39" fmla="*/ 852 h 1123"/>
                <a:gd name="T40" fmla="*/ 673 w 921"/>
                <a:gd name="T41" fmla="*/ 815 h 1123"/>
                <a:gd name="T42" fmla="*/ 694 w 921"/>
                <a:gd name="T43" fmla="*/ 763 h 1123"/>
                <a:gd name="T44" fmla="*/ 715 w 921"/>
                <a:gd name="T45" fmla="*/ 709 h 1123"/>
                <a:gd name="T46" fmla="*/ 764 w 921"/>
                <a:gd name="T47" fmla="*/ 675 h 1123"/>
                <a:gd name="T48" fmla="*/ 835 w 921"/>
                <a:gd name="T49" fmla="*/ 592 h 1123"/>
                <a:gd name="T50" fmla="*/ 890 w 921"/>
                <a:gd name="T51" fmla="*/ 575 h 1123"/>
                <a:gd name="T52" fmla="*/ 921 w 921"/>
                <a:gd name="T53" fmla="*/ 534 h 1123"/>
                <a:gd name="T54" fmla="*/ 898 w 921"/>
                <a:gd name="T55" fmla="*/ 501 h 1123"/>
                <a:gd name="T56" fmla="*/ 854 w 921"/>
                <a:gd name="T57" fmla="*/ 473 h 1123"/>
                <a:gd name="T58" fmla="*/ 796 w 921"/>
                <a:gd name="T59" fmla="*/ 457 h 1123"/>
                <a:gd name="T60" fmla="*/ 767 w 921"/>
                <a:gd name="T61" fmla="*/ 380 h 1123"/>
                <a:gd name="T62" fmla="*/ 762 w 921"/>
                <a:gd name="T63" fmla="*/ 336 h 1123"/>
                <a:gd name="T64" fmla="*/ 719 w 921"/>
                <a:gd name="T65" fmla="*/ 330 h 1123"/>
                <a:gd name="T66" fmla="*/ 717 w 921"/>
                <a:gd name="T67" fmla="*/ 290 h 1123"/>
                <a:gd name="T68" fmla="*/ 688 w 921"/>
                <a:gd name="T69" fmla="*/ 265 h 1123"/>
                <a:gd name="T70" fmla="*/ 640 w 921"/>
                <a:gd name="T71" fmla="*/ 237 h 1123"/>
                <a:gd name="T72" fmla="*/ 597 w 921"/>
                <a:gd name="T73" fmla="*/ 173 h 1123"/>
                <a:gd name="T74" fmla="*/ 547 w 921"/>
                <a:gd name="T75" fmla="*/ 62 h 1123"/>
                <a:gd name="T76" fmla="*/ 539 w 921"/>
                <a:gd name="T77" fmla="*/ 25 h 1123"/>
                <a:gd name="T78" fmla="*/ 521 w 921"/>
                <a:gd name="T79" fmla="*/ 11 h 1123"/>
                <a:gd name="T80" fmla="*/ 506 w 921"/>
                <a:gd name="T81" fmla="*/ 0 h 1123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921"/>
                <a:gd name="T124" fmla="*/ 0 h 1123"/>
                <a:gd name="T125" fmla="*/ 921 w 921"/>
                <a:gd name="T126" fmla="*/ 1123 h 1123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921" h="1123">
                  <a:moveTo>
                    <a:pt x="506" y="0"/>
                  </a:moveTo>
                  <a:lnTo>
                    <a:pt x="470" y="18"/>
                  </a:lnTo>
                  <a:lnTo>
                    <a:pt x="430" y="20"/>
                  </a:lnTo>
                  <a:lnTo>
                    <a:pt x="418" y="27"/>
                  </a:lnTo>
                  <a:lnTo>
                    <a:pt x="374" y="78"/>
                  </a:lnTo>
                  <a:lnTo>
                    <a:pt x="364" y="80"/>
                  </a:lnTo>
                  <a:lnTo>
                    <a:pt x="338" y="38"/>
                  </a:lnTo>
                  <a:lnTo>
                    <a:pt x="160" y="71"/>
                  </a:lnTo>
                  <a:lnTo>
                    <a:pt x="107" y="71"/>
                  </a:lnTo>
                  <a:lnTo>
                    <a:pt x="105" y="517"/>
                  </a:lnTo>
                  <a:lnTo>
                    <a:pt x="10" y="523"/>
                  </a:lnTo>
                  <a:lnTo>
                    <a:pt x="4" y="524"/>
                  </a:lnTo>
                  <a:lnTo>
                    <a:pt x="0" y="873"/>
                  </a:lnTo>
                  <a:lnTo>
                    <a:pt x="24" y="876"/>
                  </a:lnTo>
                  <a:lnTo>
                    <a:pt x="54" y="920"/>
                  </a:lnTo>
                  <a:lnTo>
                    <a:pt x="78" y="973"/>
                  </a:lnTo>
                  <a:lnTo>
                    <a:pt x="87" y="1017"/>
                  </a:lnTo>
                  <a:lnTo>
                    <a:pt x="81" y="1047"/>
                  </a:lnTo>
                  <a:lnTo>
                    <a:pt x="69" y="1081"/>
                  </a:lnTo>
                  <a:lnTo>
                    <a:pt x="69" y="1107"/>
                  </a:lnTo>
                  <a:lnTo>
                    <a:pt x="74" y="1118"/>
                  </a:lnTo>
                  <a:lnTo>
                    <a:pt x="90" y="1123"/>
                  </a:lnTo>
                  <a:lnTo>
                    <a:pt x="164" y="1120"/>
                  </a:lnTo>
                  <a:lnTo>
                    <a:pt x="200" y="1099"/>
                  </a:lnTo>
                  <a:lnTo>
                    <a:pt x="228" y="1074"/>
                  </a:lnTo>
                  <a:lnTo>
                    <a:pt x="274" y="1012"/>
                  </a:lnTo>
                  <a:lnTo>
                    <a:pt x="303" y="936"/>
                  </a:lnTo>
                  <a:lnTo>
                    <a:pt x="319" y="926"/>
                  </a:lnTo>
                  <a:lnTo>
                    <a:pt x="342" y="927"/>
                  </a:lnTo>
                  <a:lnTo>
                    <a:pt x="385" y="965"/>
                  </a:lnTo>
                  <a:lnTo>
                    <a:pt x="418" y="982"/>
                  </a:lnTo>
                  <a:lnTo>
                    <a:pt x="453" y="993"/>
                  </a:lnTo>
                  <a:lnTo>
                    <a:pt x="477" y="993"/>
                  </a:lnTo>
                  <a:lnTo>
                    <a:pt x="498" y="989"/>
                  </a:lnTo>
                  <a:lnTo>
                    <a:pt x="518" y="991"/>
                  </a:lnTo>
                  <a:lnTo>
                    <a:pt x="543" y="984"/>
                  </a:lnTo>
                  <a:lnTo>
                    <a:pt x="554" y="977"/>
                  </a:lnTo>
                  <a:lnTo>
                    <a:pt x="567" y="957"/>
                  </a:lnTo>
                  <a:lnTo>
                    <a:pt x="591" y="864"/>
                  </a:lnTo>
                  <a:lnTo>
                    <a:pt x="603" y="852"/>
                  </a:lnTo>
                  <a:lnTo>
                    <a:pt x="645" y="834"/>
                  </a:lnTo>
                  <a:lnTo>
                    <a:pt x="673" y="815"/>
                  </a:lnTo>
                  <a:lnTo>
                    <a:pt x="684" y="800"/>
                  </a:lnTo>
                  <a:lnTo>
                    <a:pt x="694" y="763"/>
                  </a:lnTo>
                  <a:lnTo>
                    <a:pt x="698" y="728"/>
                  </a:lnTo>
                  <a:lnTo>
                    <a:pt x="715" y="709"/>
                  </a:lnTo>
                  <a:lnTo>
                    <a:pt x="749" y="689"/>
                  </a:lnTo>
                  <a:lnTo>
                    <a:pt x="764" y="675"/>
                  </a:lnTo>
                  <a:lnTo>
                    <a:pt x="821" y="598"/>
                  </a:lnTo>
                  <a:lnTo>
                    <a:pt x="835" y="592"/>
                  </a:lnTo>
                  <a:lnTo>
                    <a:pt x="868" y="587"/>
                  </a:lnTo>
                  <a:lnTo>
                    <a:pt x="890" y="575"/>
                  </a:lnTo>
                  <a:lnTo>
                    <a:pt x="907" y="555"/>
                  </a:lnTo>
                  <a:lnTo>
                    <a:pt x="921" y="534"/>
                  </a:lnTo>
                  <a:lnTo>
                    <a:pt x="914" y="528"/>
                  </a:lnTo>
                  <a:lnTo>
                    <a:pt x="898" y="501"/>
                  </a:lnTo>
                  <a:lnTo>
                    <a:pt x="878" y="484"/>
                  </a:lnTo>
                  <a:lnTo>
                    <a:pt x="854" y="473"/>
                  </a:lnTo>
                  <a:lnTo>
                    <a:pt x="813" y="466"/>
                  </a:lnTo>
                  <a:lnTo>
                    <a:pt x="796" y="457"/>
                  </a:lnTo>
                  <a:lnTo>
                    <a:pt x="774" y="410"/>
                  </a:lnTo>
                  <a:lnTo>
                    <a:pt x="767" y="380"/>
                  </a:lnTo>
                  <a:lnTo>
                    <a:pt x="768" y="348"/>
                  </a:lnTo>
                  <a:lnTo>
                    <a:pt x="762" y="336"/>
                  </a:lnTo>
                  <a:lnTo>
                    <a:pt x="728" y="336"/>
                  </a:lnTo>
                  <a:lnTo>
                    <a:pt x="719" y="330"/>
                  </a:lnTo>
                  <a:lnTo>
                    <a:pt x="715" y="320"/>
                  </a:lnTo>
                  <a:lnTo>
                    <a:pt x="717" y="290"/>
                  </a:lnTo>
                  <a:lnTo>
                    <a:pt x="711" y="281"/>
                  </a:lnTo>
                  <a:lnTo>
                    <a:pt x="688" y="265"/>
                  </a:lnTo>
                  <a:lnTo>
                    <a:pt x="665" y="254"/>
                  </a:lnTo>
                  <a:lnTo>
                    <a:pt x="640" y="237"/>
                  </a:lnTo>
                  <a:lnTo>
                    <a:pt x="613" y="209"/>
                  </a:lnTo>
                  <a:lnTo>
                    <a:pt x="597" y="173"/>
                  </a:lnTo>
                  <a:lnTo>
                    <a:pt x="586" y="120"/>
                  </a:lnTo>
                  <a:lnTo>
                    <a:pt x="547" y="62"/>
                  </a:lnTo>
                  <a:lnTo>
                    <a:pt x="535" y="38"/>
                  </a:lnTo>
                  <a:lnTo>
                    <a:pt x="539" y="25"/>
                  </a:lnTo>
                  <a:lnTo>
                    <a:pt x="527" y="20"/>
                  </a:lnTo>
                  <a:lnTo>
                    <a:pt x="521" y="11"/>
                  </a:lnTo>
                  <a:lnTo>
                    <a:pt x="514" y="9"/>
                  </a:lnTo>
                  <a:lnTo>
                    <a:pt x="506" y="0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54" name="Freeform 91"/>
            <p:cNvSpPr>
              <a:spLocks noEditPoints="1"/>
            </p:cNvSpPr>
            <p:nvPr>
              <p:custDataLst>
                <p:tags r:id="rId82"/>
              </p:custDataLst>
            </p:nvPr>
          </p:nvSpPr>
          <p:spPr bwMode="auto">
            <a:xfrm>
              <a:off x="2937" y="3168"/>
              <a:ext cx="243" cy="240"/>
            </a:xfrm>
            <a:custGeom>
              <a:avLst/>
              <a:gdLst>
                <a:gd name="T0" fmla="*/ 572 w 1620"/>
                <a:gd name="T1" fmla="*/ 540 h 1625"/>
                <a:gd name="T2" fmla="*/ 434 w 1620"/>
                <a:gd name="T3" fmla="*/ 589 h 1625"/>
                <a:gd name="T4" fmla="*/ 413 w 1620"/>
                <a:gd name="T5" fmla="*/ 547 h 1625"/>
                <a:gd name="T6" fmla="*/ 422 w 1620"/>
                <a:gd name="T7" fmla="*/ 439 h 1625"/>
                <a:gd name="T8" fmla="*/ 344 w 1620"/>
                <a:gd name="T9" fmla="*/ 339 h 1625"/>
                <a:gd name="T10" fmla="*/ 299 w 1620"/>
                <a:gd name="T11" fmla="*/ 814 h 1625"/>
                <a:gd name="T12" fmla="*/ 229 w 1620"/>
                <a:gd name="T13" fmla="*/ 835 h 1625"/>
                <a:gd name="T14" fmla="*/ 135 w 1620"/>
                <a:gd name="T15" fmla="*/ 834 h 1625"/>
                <a:gd name="T16" fmla="*/ 108 w 1620"/>
                <a:gd name="T17" fmla="*/ 758 h 1625"/>
                <a:gd name="T18" fmla="*/ 50 w 1620"/>
                <a:gd name="T19" fmla="*/ 738 h 1625"/>
                <a:gd name="T20" fmla="*/ 0 w 1620"/>
                <a:gd name="T21" fmla="*/ 793 h 1625"/>
                <a:gd name="T22" fmla="*/ 120 w 1620"/>
                <a:gd name="T23" fmla="*/ 1082 h 1625"/>
                <a:gd name="T24" fmla="*/ 196 w 1620"/>
                <a:gd name="T25" fmla="*/ 1278 h 1625"/>
                <a:gd name="T26" fmla="*/ 157 w 1620"/>
                <a:gd name="T27" fmla="*/ 1352 h 1625"/>
                <a:gd name="T28" fmla="*/ 170 w 1620"/>
                <a:gd name="T29" fmla="*/ 1393 h 1625"/>
                <a:gd name="T30" fmla="*/ 190 w 1620"/>
                <a:gd name="T31" fmla="*/ 1528 h 1625"/>
                <a:gd name="T32" fmla="*/ 212 w 1620"/>
                <a:gd name="T33" fmla="*/ 1535 h 1625"/>
                <a:gd name="T34" fmla="*/ 246 w 1620"/>
                <a:gd name="T35" fmla="*/ 1553 h 1625"/>
                <a:gd name="T36" fmla="*/ 288 w 1620"/>
                <a:gd name="T37" fmla="*/ 1561 h 1625"/>
                <a:gd name="T38" fmla="*/ 384 w 1620"/>
                <a:gd name="T39" fmla="*/ 1577 h 1625"/>
                <a:gd name="T40" fmla="*/ 491 w 1620"/>
                <a:gd name="T41" fmla="*/ 1567 h 1625"/>
                <a:gd name="T42" fmla="*/ 581 w 1620"/>
                <a:gd name="T43" fmla="*/ 1517 h 1625"/>
                <a:gd name="T44" fmla="*/ 651 w 1620"/>
                <a:gd name="T45" fmla="*/ 1521 h 1625"/>
                <a:gd name="T46" fmla="*/ 703 w 1620"/>
                <a:gd name="T47" fmla="*/ 1503 h 1625"/>
                <a:gd name="T48" fmla="*/ 793 w 1620"/>
                <a:gd name="T49" fmla="*/ 1538 h 1625"/>
                <a:gd name="T50" fmla="*/ 832 w 1620"/>
                <a:gd name="T51" fmla="*/ 1517 h 1625"/>
                <a:gd name="T52" fmla="*/ 900 w 1620"/>
                <a:gd name="T53" fmla="*/ 1517 h 1625"/>
                <a:gd name="T54" fmla="*/ 911 w 1620"/>
                <a:gd name="T55" fmla="*/ 1484 h 1625"/>
                <a:gd name="T56" fmla="*/ 1013 w 1620"/>
                <a:gd name="T57" fmla="*/ 1475 h 1625"/>
                <a:gd name="T58" fmla="*/ 1380 w 1620"/>
                <a:gd name="T59" fmla="*/ 1081 h 1625"/>
                <a:gd name="T60" fmla="*/ 1560 w 1620"/>
                <a:gd name="T61" fmla="*/ 816 h 1625"/>
                <a:gd name="T62" fmla="*/ 1567 w 1620"/>
                <a:gd name="T63" fmla="*/ 740 h 1625"/>
                <a:gd name="T64" fmla="*/ 1596 w 1620"/>
                <a:gd name="T65" fmla="*/ 710 h 1625"/>
                <a:gd name="T66" fmla="*/ 1561 w 1620"/>
                <a:gd name="T67" fmla="*/ 593 h 1625"/>
                <a:gd name="T68" fmla="*/ 1531 w 1620"/>
                <a:gd name="T69" fmla="*/ 619 h 1625"/>
                <a:gd name="T70" fmla="*/ 1471 w 1620"/>
                <a:gd name="T71" fmla="*/ 647 h 1625"/>
                <a:gd name="T72" fmla="*/ 1421 w 1620"/>
                <a:gd name="T73" fmla="*/ 547 h 1625"/>
                <a:gd name="T74" fmla="*/ 1474 w 1620"/>
                <a:gd name="T75" fmla="*/ 448 h 1625"/>
                <a:gd name="T76" fmla="*/ 1538 w 1620"/>
                <a:gd name="T77" fmla="*/ 344 h 1625"/>
                <a:gd name="T78" fmla="*/ 1494 w 1620"/>
                <a:gd name="T79" fmla="*/ 173 h 1625"/>
                <a:gd name="T80" fmla="*/ 1450 w 1620"/>
                <a:gd name="T81" fmla="*/ 32 h 1625"/>
                <a:gd name="T82" fmla="*/ 1384 w 1620"/>
                <a:gd name="T83" fmla="*/ 32 h 1625"/>
                <a:gd name="T84" fmla="*/ 1299 w 1620"/>
                <a:gd name="T85" fmla="*/ 4 h 1625"/>
                <a:gd name="T86" fmla="*/ 1251 w 1620"/>
                <a:gd name="T87" fmla="*/ 21 h 1625"/>
                <a:gd name="T88" fmla="*/ 1179 w 1620"/>
                <a:gd name="T89" fmla="*/ 58 h 1625"/>
                <a:gd name="T90" fmla="*/ 1093 w 1620"/>
                <a:gd name="T91" fmla="*/ 155 h 1625"/>
                <a:gd name="T92" fmla="*/ 1038 w 1620"/>
                <a:gd name="T93" fmla="*/ 229 h 1625"/>
                <a:gd name="T94" fmla="*/ 989 w 1620"/>
                <a:gd name="T95" fmla="*/ 300 h 1625"/>
                <a:gd name="T96" fmla="*/ 911 w 1620"/>
                <a:gd name="T97" fmla="*/ 423 h 1625"/>
                <a:gd name="T98" fmla="*/ 862 w 1620"/>
                <a:gd name="T99" fmla="*/ 457 h 1625"/>
                <a:gd name="T100" fmla="*/ 797 w 1620"/>
                <a:gd name="T101" fmla="*/ 459 h 1625"/>
                <a:gd name="T102" fmla="*/ 686 w 1620"/>
                <a:gd name="T103" fmla="*/ 393 h 1625"/>
                <a:gd name="T104" fmla="*/ 1279 w 1620"/>
                <a:gd name="T105" fmla="*/ 890 h 1625"/>
                <a:gd name="T106" fmla="*/ 1266 w 1620"/>
                <a:gd name="T107" fmla="*/ 936 h 1625"/>
                <a:gd name="T108" fmla="*/ 1184 w 1620"/>
                <a:gd name="T109" fmla="*/ 1022 h 1625"/>
                <a:gd name="T110" fmla="*/ 1128 w 1620"/>
                <a:gd name="T111" fmla="*/ 1077 h 1625"/>
                <a:gd name="T112" fmla="*/ 1053 w 1620"/>
                <a:gd name="T113" fmla="*/ 950 h 1625"/>
                <a:gd name="T114" fmla="*/ 1118 w 1620"/>
                <a:gd name="T115" fmla="*/ 858 h 1625"/>
                <a:gd name="T116" fmla="*/ 1224 w 1620"/>
                <a:gd name="T117" fmla="*/ 828 h 1625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620"/>
                <a:gd name="T178" fmla="*/ 0 h 1625"/>
                <a:gd name="T179" fmla="*/ 1620 w 1620"/>
                <a:gd name="T180" fmla="*/ 1625 h 1625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620" h="1625">
                  <a:moveTo>
                    <a:pt x="647" y="402"/>
                  </a:moveTo>
                  <a:lnTo>
                    <a:pt x="618" y="478"/>
                  </a:lnTo>
                  <a:lnTo>
                    <a:pt x="572" y="540"/>
                  </a:lnTo>
                  <a:lnTo>
                    <a:pt x="544" y="565"/>
                  </a:lnTo>
                  <a:lnTo>
                    <a:pt x="508" y="586"/>
                  </a:lnTo>
                  <a:lnTo>
                    <a:pt x="434" y="589"/>
                  </a:lnTo>
                  <a:lnTo>
                    <a:pt x="418" y="584"/>
                  </a:lnTo>
                  <a:lnTo>
                    <a:pt x="413" y="573"/>
                  </a:lnTo>
                  <a:lnTo>
                    <a:pt x="413" y="547"/>
                  </a:lnTo>
                  <a:lnTo>
                    <a:pt x="425" y="513"/>
                  </a:lnTo>
                  <a:lnTo>
                    <a:pt x="431" y="483"/>
                  </a:lnTo>
                  <a:lnTo>
                    <a:pt x="422" y="439"/>
                  </a:lnTo>
                  <a:lnTo>
                    <a:pt x="398" y="386"/>
                  </a:lnTo>
                  <a:lnTo>
                    <a:pt x="368" y="342"/>
                  </a:lnTo>
                  <a:lnTo>
                    <a:pt x="344" y="339"/>
                  </a:lnTo>
                  <a:lnTo>
                    <a:pt x="345" y="767"/>
                  </a:lnTo>
                  <a:lnTo>
                    <a:pt x="344" y="779"/>
                  </a:lnTo>
                  <a:lnTo>
                    <a:pt x="299" y="814"/>
                  </a:lnTo>
                  <a:lnTo>
                    <a:pt x="274" y="843"/>
                  </a:lnTo>
                  <a:lnTo>
                    <a:pt x="255" y="844"/>
                  </a:lnTo>
                  <a:lnTo>
                    <a:pt x="229" y="835"/>
                  </a:lnTo>
                  <a:lnTo>
                    <a:pt x="197" y="832"/>
                  </a:lnTo>
                  <a:lnTo>
                    <a:pt x="157" y="835"/>
                  </a:lnTo>
                  <a:lnTo>
                    <a:pt x="135" y="834"/>
                  </a:lnTo>
                  <a:lnTo>
                    <a:pt x="121" y="821"/>
                  </a:lnTo>
                  <a:lnTo>
                    <a:pt x="116" y="772"/>
                  </a:lnTo>
                  <a:lnTo>
                    <a:pt x="108" y="758"/>
                  </a:lnTo>
                  <a:lnTo>
                    <a:pt x="79" y="738"/>
                  </a:lnTo>
                  <a:lnTo>
                    <a:pt x="65" y="731"/>
                  </a:lnTo>
                  <a:lnTo>
                    <a:pt x="50" y="738"/>
                  </a:lnTo>
                  <a:lnTo>
                    <a:pt x="46" y="751"/>
                  </a:lnTo>
                  <a:lnTo>
                    <a:pt x="33" y="774"/>
                  </a:lnTo>
                  <a:lnTo>
                    <a:pt x="0" y="793"/>
                  </a:lnTo>
                  <a:lnTo>
                    <a:pt x="18" y="820"/>
                  </a:lnTo>
                  <a:lnTo>
                    <a:pt x="43" y="867"/>
                  </a:lnTo>
                  <a:lnTo>
                    <a:pt x="120" y="1082"/>
                  </a:lnTo>
                  <a:lnTo>
                    <a:pt x="153" y="1142"/>
                  </a:lnTo>
                  <a:lnTo>
                    <a:pt x="181" y="1208"/>
                  </a:lnTo>
                  <a:lnTo>
                    <a:pt x="196" y="1278"/>
                  </a:lnTo>
                  <a:lnTo>
                    <a:pt x="192" y="1326"/>
                  </a:lnTo>
                  <a:lnTo>
                    <a:pt x="185" y="1351"/>
                  </a:lnTo>
                  <a:lnTo>
                    <a:pt x="157" y="1352"/>
                  </a:lnTo>
                  <a:lnTo>
                    <a:pt x="149" y="1363"/>
                  </a:lnTo>
                  <a:lnTo>
                    <a:pt x="155" y="1375"/>
                  </a:lnTo>
                  <a:lnTo>
                    <a:pt x="170" y="1393"/>
                  </a:lnTo>
                  <a:lnTo>
                    <a:pt x="207" y="1473"/>
                  </a:lnTo>
                  <a:lnTo>
                    <a:pt x="202" y="1498"/>
                  </a:lnTo>
                  <a:lnTo>
                    <a:pt x="190" y="1528"/>
                  </a:lnTo>
                  <a:lnTo>
                    <a:pt x="197" y="1540"/>
                  </a:lnTo>
                  <a:lnTo>
                    <a:pt x="210" y="1547"/>
                  </a:lnTo>
                  <a:lnTo>
                    <a:pt x="212" y="1535"/>
                  </a:lnTo>
                  <a:lnTo>
                    <a:pt x="219" y="1521"/>
                  </a:lnTo>
                  <a:lnTo>
                    <a:pt x="234" y="1524"/>
                  </a:lnTo>
                  <a:lnTo>
                    <a:pt x="246" y="1553"/>
                  </a:lnTo>
                  <a:lnTo>
                    <a:pt x="258" y="1547"/>
                  </a:lnTo>
                  <a:lnTo>
                    <a:pt x="278" y="1551"/>
                  </a:lnTo>
                  <a:lnTo>
                    <a:pt x="288" y="1561"/>
                  </a:lnTo>
                  <a:lnTo>
                    <a:pt x="291" y="1591"/>
                  </a:lnTo>
                  <a:lnTo>
                    <a:pt x="348" y="1625"/>
                  </a:lnTo>
                  <a:lnTo>
                    <a:pt x="384" y="1577"/>
                  </a:lnTo>
                  <a:lnTo>
                    <a:pt x="409" y="1565"/>
                  </a:lnTo>
                  <a:lnTo>
                    <a:pt x="442" y="1561"/>
                  </a:lnTo>
                  <a:lnTo>
                    <a:pt x="491" y="1567"/>
                  </a:lnTo>
                  <a:lnTo>
                    <a:pt x="523" y="1561"/>
                  </a:lnTo>
                  <a:lnTo>
                    <a:pt x="555" y="1530"/>
                  </a:lnTo>
                  <a:lnTo>
                    <a:pt x="581" y="1517"/>
                  </a:lnTo>
                  <a:lnTo>
                    <a:pt x="609" y="1514"/>
                  </a:lnTo>
                  <a:lnTo>
                    <a:pt x="622" y="1508"/>
                  </a:lnTo>
                  <a:lnTo>
                    <a:pt x="651" y="1521"/>
                  </a:lnTo>
                  <a:lnTo>
                    <a:pt x="671" y="1526"/>
                  </a:lnTo>
                  <a:lnTo>
                    <a:pt x="690" y="1510"/>
                  </a:lnTo>
                  <a:lnTo>
                    <a:pt x="703" y="1503"/>
                  </a:lnTo>
                  <a:lnTo>
                    <a:pt x="727" y="1505"/>
                  </a:lnTo>
                  <a:lnTo>
                    <a:pt x="759" y="1516"/>
                  </a:lnTo>
                  <a:lnTo>
                    <a:pt x="793" y="1538"/>
                  </a:lnTo>
                  <a:lnTo>
                    <a:pt x="809" y="1542"/>
                  </a:lnTo>
                  <a:lnTo>
                    <a:pt x="820" y="1535"/>
                  </a:lnTo>
                  <a:lnTo>
                    <a:pt x="832" y="1517"/>
                  </a:lnTo>
                  <a:lnTo>
                    <a:pt x="842" y="1505"/>
                  </a:lnTo>
                  <a:lnTo>
                    <a:pt x="855" y="1505"/>
                  </a:lnTo>
                  <a:lnTo>
                    <a:pt x="900" y="1517"/>
                  </a:lnTo>
                  <a:lnTo>
                    <a:pt x="904" y="1512"/>
                  </a:lnTo>
                  <a:lnTo>
                    <a:pt x="904" y="1505"/>
                  </a:lnTo>
                  <a:lnTo>
                    <a:pt x="911" y="1484"/>
                  </a:lnTo>
                  <a:lnTo>
                    <a:pt x="935" y="1480"/>
                  </a:lnTo>
                  <a:lnTo>
                    <a:pt x="977" y="1480"/>
                  </a:lnTo>
                  <a:lnTo>
                    <a:pt x="1013" y="1475"/>
                  </a:lnTo>
                  <a:lnTo>
                    <a:pt x="1042" y="1457"/>
                  </a:lnTo>
                  <a:lnTo>
                    <a:pt x="1234" y="1271"/>
                  </a:lnTo>
                  <a:lnTo>
                    <a:pt x="1380" y="1081"/>
                  </a:lnTo>
                  <a:lnTo>
                    <a:pt x="1494" y="876"/>
                  </a:lnTo>
                  <a:lnTo>
                    <a:pt x="1535" y="843"/>
                  </a:lnTo>
                  <a:lnTo>
                    <a:pt x="1560" y="816"/>
                  </a:lnTo>
                  <a:lnTo>
                    <a:pt x="1571" y="797"/>
                  </a:lnTo>
                  <a:lnTo>
                    <a:pt x="1575" y="770"/>
                  </a:lnTo>
                  <a:lnTo>
                    <a:pt x="1567" y="740"/>
                  </a:lnTo>
                  <a:lnTo>
                    <a:pt x="1571" y="726"/>
                  </a:lnTo>
                  <a:lnTo>
                    <a:pt x="1588" y="721"/>
                  </a:lnTo>
                  <a:lnTo>
                    <a:pt x="1596" y="710"/>
                  </a:lnTo>
                  <a:lnTo>
                    <a:pt x="1612" y="660"/>
                  </a:lnTo>
                  <a:lnTo>
                    <a:pt x="1620" y="593"/>
                  </a:lnTo>
                  <a:lnTo>
                    <a:pt x="1561" y="593"/>
                  </a:lnTo>
                  <a:lnTo>
                    <a:pt x="1547" y="598"/>
                  </a:lnTo>
                  <a:lnTo>
                    <a:pt x="1534" y="609"/>
                  </a:lnTo>
                  <a:lnTo>
                    <a:pt x="1531" y="619"/>
                  </a:lnTo>
                  <a:lnTo>
                    <a:pt x="1526" y="653"/>
                  </a:lnTo>
                  <a:lnTo>
                    <a:pt x="1501" y="653"/>
                  </a:lnTo>
                  <a:lnTo>
                    <a:pt x="1471" y="647"/>
                  </a:lnTo>
                  <a:lnTo>
                    <a:pt x="1450" y="628"/>
                  </a:lnTo>
                  <a:lnTo>
                    <a:pt x="1420" y="565"/>
                  </a:lnTo>
                  <a:lnTo>
                    <a:pt x="1421" y="547"/>
                  </a:lnTo>
                  <a:lnTo>
                    <a:pt x="1433" y="513"/>
                  </a:lnTo>
                  <a:lnTo>
                    <a:pt x="1461" y="459"/>
                  </a:lnTo>
                  <a:lnTo>
                    <a:pt x="1474" y="448"/>
                  </a:lnTo>
                  <a:lnTo>
                    <a:pt x="1538" y="482"/>
                  </a:lnTo>
                  <a:lnTo>
                    <a:pt x="1534" y="462"/>
                  </a:lnTo>
                  <a:lnTo>
                    <a:pt x="1538" y="344"/>
                  </a:lnTo>
                  <a:lnTo>
                    <a:pt x="1535" y="302"/>
                  </a:lnTo>
                  <a:lnTo>
                    <a:pt x="1512" y="212"/>
                  </a:lnTo>
                  <a:lnTo>
                    <a:pt x="1494" y="173"/>
                  </a:lnTo>
                  <a:lnTo>
                    <a:pt x="1473" y="55"/>
                  </a:lnTo>
                  <a:lnTo>
                    <a:pt x="1466" y="44"/>
                  </a:lnTo>
                  <a:lnTo>
                    <a:pt x="1450" y="32"/>
                  </a:lnTo>
                  <a:lnTo>
                    <a:pt x="1426" y="25"/>
                  </a:lnTo>
                  <a:lnTo>
                    <a:pt x="1408" y="25"/>
                  </a:lnTo>
                  <a:lnTo>
                    <a:pt x="1384" y="32"/>
                  </a:lnTo>
                  <a:lnTo>
                    <a:pt x="1371" y="34"/>
                  </a:lnTo>
                  <a:lnTo>
                    <a:pt x="1326" y="11"/>
                  </a:lnTo>
                  <a:lnTo>
                    <a:pt x="1299" y="4"/>
                  </a:lnTo>
                  <a:lnTo>
                    <a:pt x="1267" y="2"/>
                  </a:lnTo>
                  <a:lnTo>
                    <a:pt x="1265" y="0"/>
                  </a:lnTo>
                  <a:lnTo>
                    <a:pt x="1251" y="21"/>
                  </a:lnTo>
                  <a:lnTo>
                    <a:pt x="1234" y="41"/>
                  </a:lnTo>
                  <a:lnTo>
                    <a:pt x="1212" y="53"/>
                  </a:lnTo>
                  <a:lnTo>
                    <a:pt x="1179" y="58"/>
                  </a:lnTo>
                  <a:lnTo>
                    <a:pt x="1165" y="64"/>
                  </a:lnTo>
                  <a:lnTo>
                    <a:pt x="1108" y="141"/>
                  </a:lnTo>
                  <a:lnTo>
                    <a:pt x="1093" y="155"/>
                  </a:lnTo>
                  <a:lnTo>
                    <a:pt x="1059" y="175"/>
                  </a:lnTo>
                  <a:lnTo>
                    <a:pt x="1042" y="194"/>
                  </a:lnTo>
                  <a:lnTo>
                    <a:pt x="1038" y="229"/>
                  </a:lnTo>
                  <a:lnTo>
                    <a:pt x="1028" y="266"/>
                  </a:lnTo>
                  <a:lnTo>
                    <a:pt x="1017" y="281"/>
                  </a:lnTo>
                  <a:lnTo>
                    <a:pt x="989" y="300"/>
                  </a:lnTo>
                  <a:lnTo>
                    <a:pt x="947" y="318"/>
                  </a:lnTo>
                  <a:lnTo>
                    <a:pt x="935" y="330"/>
                  </a:lnTo>
                  <a:lnTo>
                    <a:pt x="911" y="423"/>
                  </a:lnTo>
                  <a:lnTo>
                    <a:pt x="898" y="443"/>
                  </a:lnTo>
                  <a:lnTo>
                    <a:pt x="887" y="450"/>
                  </a:lnTo>
                  <a:lnTo>
                    <a:pt x="862" y="457"/>
                  </a:lnTo>
                  <a:lnTo>
                    <a:pt x="842" y="455"/>
                  </a:lnTo>
                  <a:lnTo>
                    <a:pt x="821" y="459"/>
                  </a:lnTo>
                  <a:lnTo>
                    <a:pt x="797" y="459"/>
                  </a:lnTo>
                  <a:lnTo>
                    <a:pt x="762" y="448"/>
                  </a:lnTo>
                  <a:lnTo>
                    <a:pt x="729" y="431"/>
                  </a:lnTo>
                  <a:lnTo>
                    <a:pt x="686" y="393"/>
                  </a:lnTo>
                  <a:lnTo>
                    <a:pt x="663" y="392"/>
                  </a:lnTo>
                  <a:lnTo>
                    <a:pt x="647" y="402"/>
                  </a:lnTo>
                  <a:close/>
                  <a:moveTo>
                    <a:pt x="1279" y="890"/>
                  </a:moveTo>
                  <a:lnTo>
                    <a:pt x="1284" y="904"/>
                  </a:lnTo>
                  <a:lnTo>
                    <a:pt x="1278" y="917"/>
                  </a:lnTo>
                  <a:lnTo>
                    <a:pt x="1266" y="936"/>
                  </a:lnTo>
                  <a:lnTo>
                    <a:pt x="1241" y="994"/>
                  </a:lnTo>
                  <a:lnTo>
                    <a:pt x="1229" y="1005"/>
                  </a:lnTo>
                  <a:lnTo>
                    <a:pt x="1184" y="1022"/>
                  </a:lnTo>
                  <a:lnTo>
                    <a:pt x="1155" y="1042"/>
                  </a:lnTo>
                  <a:lnTo>
                    <a:pt x="1148" y="1075"/>
                  </a:lnTo>
                  <a:lnTo>
                    <a:pt x="1128" y="1077"/>
                  </a:lnTo>
                  <a:lnTo>
                    <a:pt x="1096" y="1045"/>
                  </a:lnTo>
                  <a:lnTo>
                    <a:pt x="1059" y="975"/>
                  </a:lnTo>
                  <a:lnTo>
                    <a:pt x="1053" y="950"/>
                  </a:lnTo>
                  <a:lnTo>
                    <a:pt x="1084" y="915"/>
                  </a:lnTo>
                  <a:lnTo>
                    <a:pt x="1096" y="890"/>
                  </a:lnTo>
                  <a:lnTo>
                    <a:pt x="1118" y="858"/>
                  </a:lnTo>
                  <a:lnTo>
                    <a:pt x="1147" y="839"/>
                  </a:lnTo>
                  <a:lnTo>
                    <a:pt x="1204" y="814"/>
                  </a:lnTo>
                  <a:lnTo>
                    <a:pt x="1224" y="828"/>
                  </a:lnTo>
                  <a:lnTo>
                    <a:pt x="1238" y="848"/>
                  </a:lnTo>
                  <a:lnTo>
                    <a:pt x="1279" y="890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55" name="Freeform 92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2908" y="3178"/>
              <a:ext cx="5" cy="12"/>
            </a:xfrm>
            <a:custGeom>
              <a:avLst/>
              <a:gdLst>
                <a:gd name="T0" fmla="*/ 0 w 41"/>
                <a:gd name="T1" fmla="*/ 39 h 81"/>
                <a:gd name="T2" fmla="*/ 5 w 41"/>
                <a:gd name="T3" fmla="*/ 81 h 81"/>
                <a:gd name="T4" fmla="*/ 39 w 41"/>
                <a:gd name="T5" fmla="*/ 79 h 81"/>
                <a:gd name="T6" fmla="*/ 41 w 41"/>
                <a:gd name="T7" fmla="*/ 42 h 81"/>
                <a:gd name="T8" fmla="*/ 37 w 41"/>
                <a:gd name="T9" fmla="*/ 0 h 81"/>
                <a:gd name="T10" fmla="*/ 17 w 41"/>
                <a:gd name="T11" fmla="*/ 0 h 81"/>
                <a:gd name="T12" fmla="*/ 12 w 41"/>
                <a:gd name="T13" fmla="*/ 23 h 81"/>
                <a:gd name="T14" fmla="*/ 0 w 41"/>
                <a:gd name="T15" fmla="*/ 39 h 8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1"/>
                <a:gd name="T25" fmla="*/ 0 h 81"/>
                <a:gd name="T26" fmla="*/ 41 w 41"/>
                <a:gd name="T27" fmla="*/ 81 h 8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1" h="81">
                  <a:moveTo>
                    <a:pt x="0" y="39"/>
                  </a:moveTo>
                  <a:lnTo>
                    <a:pt x="5" y="81"/>
                  </a:lnTo>
                  <a:lnTo>
                    <a:pt x="39" y="79"/>
                  </a:lnTo>
                  <a:lnTo>
                    <a:pt x="41" y="42"/>
                  </a:lnTo>
                  <a:lnTo>
                    <a:pt x="37" y="0"/>
                  </a:lnTo>
                  <a:lnTo>
                    <a:pt x="17" y="0"/>
                  </a:lnTo>
                  <a:lnTo>
                    <a:pt x="12" y="23"/>
                  </a:lnTo>
                  <a:lnTo>
                    <a:pt x="0" y="39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56" name="Freeform 93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3094" y="3289"/>
              <a:ext cx="35" cy="38"/>
            </a:xfrm>
            <a:custGeom>
              <a:avLst/>
              <a:gdLst>
                <a:gd name="T0" fmla="*/ 231 w 231"/>
                <a:gd name="T1" fmla="*/ 90 h 263"/>
                <a:gd name="T2" fmla="*/ 225 w 231"/>
                <a:gd name="T3" fmla="*/ 103 h 263"/>
                <a:gd name="T4" fmla="*/ 213 w 231"/>
                <a:gd name="T5" fmla="*/ 122 h 263"/>
                <a:gd name="T6" fmla="*/ 188 w 231"/>
                <a:gd name="T7" fmla="*/ 180 h 263"/>
                <a:gd name="T8" fmla="*/ 176 w 231"/>
                <a:gd name="T9" fmla="*/ 191 h 263"/>
                <a:gd name="T10" fmla="*/ 131 w 231"/>
                <a:gd name="T11" fmla="*/ 208 h 263"/>
                <a:gd name="T12" fmla="*/ 102 w 231"/>
                <a:gd name="T13" fmla="*/ 228 h 263"/>
                <a:gd name="T14" fmla="*/ 95 w 231"/>
                <a:gd name="T15" fmla="*/ 261 h 263"/>
                <a:gd name="T16" fmla="*/ 75 w 231"/>
                <a:gd name="T17" fmla="*/ 263 h 263"/>
                <a:gd name="T18" fmla="*/ 43 w 231"/>
                <a:gd name="T19" fmla="*/ 231 h 263"/>
                <a:gd name="T20" fmla="*/ 6 w 231"/>
                <a:gd name="T21" fmla="*/ 161 h 263"/>
                <a:gd name="T22" fmla="*/ 0 w 231"/>
                <a:gd name="T23" fmla="*/ 136 h 263"/>
                <a:gd name="T24" fmla="*/ 31 w 231"/>
                <a:gd name="T25" fmla="*/ 101 h 263"/>
                <a:gd name="T26" fmla="*/ 43 w 231"/>
                <a:gd name="T27" fmla="*/ 76 h 263"/>
                <a:gd name="T28" fmla="*/ 65 w 231"/>
                <a:gd name="T29" fmla="*/ 44 h 263"/>
                <a:gd name="T30" fmla="*/ 94 w 231"/>
                <a:gd name="T31" fmla="*/ 25 h 263"/>
                <a:gd name="T32" fmla="*/ 151 w 231"/>
                <a:gd name="T33" fmla="*/ 0 h 263"/>
                <a:gd name="T34" fmla="*/ 171 w 231"/>
                <a:gd name="T35" fmla="*/ 14 h 263"/>
                <a:gd name="T36" fmla="*/ 185 w 231"/>
                <a:gd name="T37" fmla="*/ 34 h 263"/>
                <a:gd name="T38" fmla="*/ 226 w 231"/>
                <a:gd name="T39" fmla="*/ 76 h 263"/>
                <a:gd name="T40" fmla="*/ 231 w 231"/>
                <a:gd name="T41" fmla="*/ 90 h 26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31"/>
                <a:gd name="T64" fmla="*/ 0 h 263"/>
                <a:gd name="T65" fmla="*/ 231 w 231"/>
                <a:gd name="T66" fmla="*/ 263 h 263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31" h="263">
                  <a:moveTo>
                    <a:pt x="231" y="90"/>
                  </a:moveTo>
                  <a:lnTo>
                    <a:pt x="225" y="103"/>
                  </a:lnTo>
                  <a:lnTo>
                    <a:pt x="213" y="122"/>
                  </a:lnTo>
                  <a:lnTo>
                    <a:pt x="188" y="180"/>
                  </a:lnTo>
                  <a:lnTo>
                    <a:pt x="176" y="191"/>
                  </a:lnTo>
                  <a:lnTo>
                    <a:pt x="131" y="208"/>
                  </a:lnTo>
                  <a:lnTo>
                    <a:pt x="102" y="228"/>
                  </a:lnTo>
                  <a:lnTo>
                    <a:pt x="95" y="261"/>
                  </a:lnTo>
                  <a:lnTo>
                    <a:pt x="75" y="263"/>
                  </a:lnTo>
                  <a:lnTo>
                    <a:pt x="43" y="231"/>
                  </a:lnTo>
                  <a:lnTo>
                    <a:pt x="6" y="161"/>
                  </a:lnTo>
                  <a:lnTo>
                    <a:pt x="0" y="136"/>
                  </a:lnTo>
                  <a:lnTo>
                    <a:pt x="31" y="101"/>
                  </a:lnTo>
                  <a:lnTo>
                    <a:pt x="43" y="76"/>
                  </a:lnTo>
                  <a:lnTo>
                    <a:pt x="65" y="44"/>
                  </a:lnTo>
                  <a:lnTo>
                    <a:pt x="94" y="25"/>
                  </a:lnTo>
                  <a:lnTo>
                    <a:pt x="151" y="0"/>
                  </a:lnTo>
                  <a:lnTo>
                    <a:pt x="171" y="14"/>
                  </a:lnTo>
                  <a:lnTo>
                    <a:pt x="185" y="34"/>
                  </a:lnTo>
                  <a:lnTo>
                    <a:pt x="226" y="76"/>
                  </a:lnTo>
                  <a:lnTo>
                    <a:pt x="231" y="90"/>
                  </a:lnTo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57" name="Freeform 94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2908" y="3178"/>
              <a:ext cx="5" cy="12"/>
            </a:xfrm>
            <a:custGeom>
              <a:avLst/>
              <a:gdLst>
                <a:gd name="T0" fmla="*/ 5 w 41"/>
                <a:gd name="T1" fmla="*/ 81 h 81"/>
                <a:gd name="T2" fmla="*/ 39 w 41"/>
                <a:gd name="T3" fmla="*/ 79 h 81"/>
                <a:gd name="T4" fmla="*/ 41 w 41"/>
                <a:gd name="T5" fmla="*/ 42 h 81"/>
                <a:gd name="T6" fmla="*/ 37 w 41"/>
                <a:gd name="T7" fmla="*/ 0 h 81"/>
                <a:gd name="T8" fmla="*/ 17 w 41"/>
                <a:gd name="T9" fmla="*/ 0 h 81"/>
                <a:gd name="T10" fmla="*/ 12 w 41"/>
                <a:gd name="T11" fmla="*/ 23 h 81"/>
                <a:gd name="T12" fmla="*/ 0 w 41"/>
                <a:gd name="T13" fmla="*/ 39 h 81"/>
                <a:gd name="T14" fmla="*/ 5 w 41"/>
                <a:gd name="T15" fmla="*/ 81 h 8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1"/>
                <a:gd name="T25" fmla="*/ 0 h 81"/>
                <a:gd name="T26" fmla="*/ 41 w 41"/>
                <a:gd name="T27" fmla="*/ 81 h 8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1" h="81">
                  <a:moveTo>
                    <a:pt x="5" y="81"/>
                  </a:moveTo>
                  <a:lnTo>
                    <a:pt x="39" y="79"/>
                  </a:lnTo>
                  <a:lnTo>
                    <a:pt x="41" y="42"/>
                  </a:lnTo>
                  <a:lnTo>
                    <a:pt x="37" y="0"/>
                  </a:lnTo>
                  <a:lnTo>
                    <a:pt x="17" y="0"/>
                  </a:lnTo>
                  <a:lnTo>
                    <a:pt x="12" y="23"/>
                  </a:lnTo>
                  <a:lnTo>
                    <a:pt x="0" y="39"/>
                  </a:lnTo>
                  <a:lnTo>
                    <a:pt x="5" y="81"/>
                  </a:lnTo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58" name="Freeform 95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3149" y="3234"/>
              <a:ext cx="20" cy="32"/>
            </a:xfrm>
            <a:custGeom>
              <a:avLst/>
              <a:gdLst>
                <a:gd name="T0" fmla="*/ 118 w 133"/>
                <a:gd name="T1" fmla="*/ 34 h 205"/>
                <a:gd name="T2" fmla="*/ 54 w 133"/>
                <a:gd name="T3" fmla="*/ 0 h 205"/>
                <a:gd name="T4" fmla="*/ 41 w 133"/>
                <a:gd name="T5" fmla="*/ 11 h 205"/>
                <a:gd name="T6" fmla="*/ 13 w 133"/>
                <a:gd name="T7" fmla="*/ 65 h 205"/>
                <a:gd name="T8" fmla="*/ 1 w 133"/>
                <a:gd name="T9" fmla="*/ 99 h 205"/>
                <a:gd name="T10" fmla="*/ 0 w 133"/>
                <a:gd name="T11" fmla="*/ 117 h 205"/>
                <a:gd name="T12" fmla="*/ 30 w 133"/>
                <a:gd name="T13" fmla="*/ 180 h 205"/>
                <a:gd name="T14" fmla="*/ 51 w 133"/>
                <a:gd name="T15" fmla="*/ 199 h 205"/>
                <a:gd name="T16" fmla="*/ 81 w 133"/>
                <a:gd name="T17" fmla="*/ 205 h 205"/>
                <a:gd name="T18" fmla="*/ 106 w 133"/>
                <a:gd name="T19" fmla="*/ 205 h 205"/>
                <a:gd name="T20" fmla="*/ 111 w 133"/>
                <a:gd name="T21" fmla="*/ 171 h 205"/>
                <a:gd name="T22" fmla="*/ 114 w 133"/>
                <a:gd name="T23" fmla="*/ 161 h 205"/>
                <a:gd name="T24" fmla="*/ 127 w 133"/>
                <a:gd name="T25" fmla="*/ 150 h 205"/>
                <a:gd name="T26" fmla="*/ 133 w 133"/>
                <a:gd name="T27" fmla="*/ 148 h 205"/>
                <a:gd name="T28" fmla="*/ 130 w 133"/>
                <a:gd name="T29" fmla="*/ 127 h 205"/>
                <a:gd name="T30" fmla="*/ 118 w 133"/>
                <a:gd name="T31" fmla="*/ 78 h 205"/>
                <a:gd name="T32" fmla="*/ 121 w 133"/>
                <a:gd name="T33" fmla="*/ 50 h 205"/>
                <a:gd name="T34" fmla="*/ 118 w 133"/>
                <a:gd name="T35" fmla="*/ 34 h 20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3"/>
                <a:gd name="T55" fmla="*/ 0 h 205"/>
                <a:gd name="T56" fmla="*/ 133 w 133"/>
                <a:gd name="T57" fmla="*/ 205 h 20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3" h="205">
                  <a:moveTo>
                    <a:pt x="118" y="34"/>
                  </a:moveTo>
                  <a:lnTo>
                    <a:pt x="54" y="0"/>
                  </a:lnTo>
                  <a:lnTo>
                    <a:pt x="41" y="11"/>
                  </a:lnTo>
                  <a:lnTo>
                    <a:pt x="13" y="65"/>
                  </a:lnTo>
                  <a:lnTo>
                    <a:pt x="1" y="99"/>
                  </a:lnTo>
                  <a:lnTo>
                    <a:pt x="0" y="117"/>
                  </a:lnTo>
                  <a:lnTo>
                    <a:pt x="30" y="180"/>
                  </a:lnTo>
                  <a:lnTo>
                    <a:pt x="51" y="199"/>
                  </a:lnTo>
                  <a:lnTo>
                    <a:pt x="81" y="205"/>
                  </a:lnTo>
                  <a:lnTo>
                    <a:pt x="106" y="205"/>
                  </a:lnTo>
                  <a:lnTo>
                    <a:pt x="111" y="171"/>
                  </a:lnTo>
                  <a:lnTo>
                    <a:pt x="114" y="161"/>
                  </a:lnTo>
                  <a:lnTo>
                    <a:pt x="127" y="150"/>
                  </a:lnTo>
                  <a:lnTo>
                    <a:pt x="133" y="148"/>
                  </a:lnTo>
                  <a:lnTo>
                    <a:pt x="130" y="127"/>
                  </a:lnTo>
                  <a:lnTo>
                    <a:pt x="118" y="78"/>
                  </a:lnTo>
                  <a:lnTo>
                    <a:pt x="121" y="50"/>
                  </a:lnTo>
                  <a:lnTo>
                    <a:pt x="118" y="34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59" name="Freeform 96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3149" y="3234"/>
              <a:ext cx="20" cy="32"/>
            </a:xfrm>
            <a:custGeom>
              <a:avLst/>
              <a:gdLst>
                <a:gd name="T0" fmla="*/ 54 w 133"/>
                <a:gd name="T1" fmla="*/ 0 h 205"/>
                <a:gd name="T2" fmla="*/ 41 w 133"/>
                <a:gd name="T3" fmla="*/ 11 h 205"/>
                <a:gd name="T4" fmla="*/ 13 w 133"/>
                <a:gd name="T5" fmla="*/ 65 h 205"/>
                <a:gd name="T6" fmla="*/ 1 w 133"/>
                <a:gd name="T7" fmla="*/ 99 h 205"/>
                <a:gd name="T8" fmla="*/ 0 w 133"/>
                <a:gd name="T9" fmla="*/ 117 h 205"/>
                <a:gd name="T10" fmla="*/ 30 w 133"/>
                <a:gd name="T11" fmla="*/ 180 h 205"/>
                <a:gd name="T12" fmla="*/ 51 w 133"/>
                <a:gd name="T13" fmla="*/ 199 h 205"/>
                <a:gd name="T14" fmla="*/ 81 w 133"/>
                <a:gd name="T15" fmla="*/ 205 h 205"/>
                <a:gd name="T16" fmla="*/ 106 w 133"/>
                <a:gd name="T17" fmla="*/ 205 h 205"/>
                <a:gd name="T18" fmla="*/ 111 w 133"/>
                <a:gd name="T19" fmla="*/ 171 h 205"/>
                <a:gd name="T20" fmla="*/ 114 w 133"/>
                <a:gd name="T21" fmla="*/ 161 h 205"/>
                <a:gd name="T22" fmla="*/ 127 w 133"/>
                <a:gd name="T23" fmla="*/ 150 h 205"/>
                <a:gd name="T24" fmla="*/ 133 w 133"/>
                <a:gd name="T25" fmla="*/ 148 h 205"/>
                <a:gd name="T26" fmla="*/ 130 w 133"/>
                <a:gd name="T27" fmla="*/ 127 h 205"/>
                <a:gd name="T28" fmla="*/ 118 w 133"/>
                <a:gd name="T29" fmla="*/ 78 h 205"/>
                <a:gd name="T30" fmla="*/ 121 w 133"/>
                <a:gd name="T31" fmla="*/ 50 h 205"/>
                <a:gd name="T32" fmla="*/ 118 w 133"/>
                <a:gd name="T33" fmla="*/ 34 h 205"/>
                <a:gd name="T34" fmla="*/ 54 w 133"/>
                <a:gd name="T35" fmla="*/ 0 h 20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3"/>
                <a:gd name="T55" fmla="*/ 0 h 205"/>
                <a:gd name="T56" fmla="*/ 133 w 133"/>
                <a:gd name="T57" fmla="*/ 205 h 20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3" h="205">
                  <a:moveTo>
                    <a:pt x="54" y="0"/>
                  </a:moveTo>
                  <a:lnTo>
                    <a:pt x="41" y="11"/>
                  </a:lnTo>
                  <a:lnTo>
                    <a:pt x="13" y="65"/>
                  </a:lnTo>
                  <a:lnTo>
                    <a:pt x="1" y="99"/>
                  </a:lnTo>
                  <a:lnTo>
                    <a:pt x="0" y="117"/>
                  </a:lnTo>
                  <a:lnTo>
                    <a:pt x="30" y="180"/>
                  </a:lnTo>
                  <a:lnTo>
                    <a:pt x="51" y="199"/>
                  </a:lnTo>
                  <a:lnTo>
                    <a:pt x="81" y="205"/>
                  </a:lnTo>
                  <a:lnTo>
                    <a:pt x="106" y="205"/>
                  </a:lnTo>
                  <a:lnTo>
                    <a:pt x="111" y="171"/>
                  </a:lnTo>
                  <a:lnTo>
                    <a:pt x="114" y="161"/>
                  </a:lnTo>
                  <a:lnTo>
                    <a:pt x="127" y="150"/>
                  </a:lnTo>
                  <a:lnTo>
                    <a:pt x="133" y="148"/>
                  </a:lnTo>
                  <a:lnTo>
                    <a:pt x="130" y="127"/>
                  </a:lnTo>
                  <a:lnTo>
                    <a:pt x="118" y="78"/>
                  </a:lnTo>
                  <a:lnTo>
                    <a:pt x="121" y="50"/>
                  </a:lnTo>
                  <a:lnTo>
                    <a:pt x="118" y="34"/>
                  </a:lnTo>
                  <a:lnTo>
                    <a:pt x="54" y="0"/>
                  </a:lnTo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60" name="Freeform 97"/>
            <p:cNvSpPr>
              <a:spLocks/>
            </p:cNvSpPr>
            <p:nvPr>
              <p:custDataLst>
                <p:tags r:id="rId88"/>
              </p:custDataLst>
            </p:nvPr>
          </p:nvSpPr>
          <p:spPr bwMode="auto">
            <a:xfrm>
              <a:off x="3094" y="3289"/>
              <a:ext cx="35" cy="38"/>
            </a:xfrm>
            <a:custGeom>
              <a:avLst/>
              <a:gdLst>
                <a:gd name="T0" fmla="*/ 213 w 231"/>
                <a:gd name="T1" fmla="*/ 122 h 263"/>
                <a:gd name="T2" fmla="*/ 225 w 231"/>
                <a:gd name="T3" fmla="*/ 103 h 263"/>
                <a:gd name="T4" fmla="*/ 231 w 231"/>
                <a:gd name="T5" fmla="*/ 90 h 263"/>
                <a:gd name="T6" fmla="*/ 226 w 231"/>
                <a:gd name="T7" fmla="*/ 76 h 263"/>
                <a:gd name="T8" fmla="*/ 185 w 231"/>
                <a:gd name="T9" fmla="*/ 34 h 263"/>
                <a:gd name="T10" fmla="*/ 171 w 231"/>
                <a:gd name="T11" fmla="*/ 14 h 263"/>
                <a:gd name="T12" fmla="*/ 151 w 231"/>
                <a:gd name="T13" fmla="*/ 0 h 263"/>
                <a:gd name="T14" fmla="*/ 94 w 231"/>
                <a:gd name="T15" fmla="*/ 25 h 263"/>
                <a:gd name="T16" fmla="*/ 65 w 231"/>
                <a:gd name="T17" fmla="*/ 44 h 263"/>
                <a:gd name="T18" fmla="*/ 43 w 231"/>
                <a:gd name="T19" fmla="*/ 76 h 263"/>
                <a:gd name="T20" fmla="*/ 31 w 231"/>
                <a:gd name="T21" fmla="*/ 101 h 263"/>
                <a:gd name="T22" fmla="*/ 0 w 231"/>
                <a:gd name="T23" fmla="*/ 136 h 263"/>
                <a:gd name="T24" fmla="*/ 6 w 231"/>
                <a:gd name="T25" fmla="*/ 161 h 263"/>
                <a:gd name="T26" fmla="*/ 43 w 231"/>
                <a:gd name="T27" fmla="*/ 231 h 263"/>
                <a:gd name="T28" fmla="*/ 75 w 231"/>
                <a:gd name="T29" fmla="*/ 263 h 263"/>
                <a:gd name="T30" fmla="*/ 95 w 231"/>
                <a:gd name="T31" fmla="*/ 261 h 263"/>
                <a:gd name="T32" fmla="*/ 102 w 231"/>
                <a:gd name="T33" fmla="*/ 228 h 263"/>
                <a:gd name="T34" fmla="*/ 131 w 231"/>
                <a:gd name="T35" fmla="*/ 208 h 263"/>
                <a:gd name="T36" fmla="*/ 176 w 231"/>
                <a:gd name="T37" fmla="*/ 191 h 263"/>
                <a:gd name="T38" fmla="*/ 188 w 231"/>
                <a:gd name="T39" fmla="*/ 180 h 263"/>
                <a:gd name="T40" fmla="*/ 213 w 231"/>
                <a:gd name="T41" fmla="*/ 122 h 26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31"/>
                <a:gd name="T64" fmla="*/ 0 h 263"/>
                <a:gd name="T65" fmla="*/ 231 w 231"/>
                <a:gd name="T66" fmla="*/ 263 h 263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31" h="263">
                  <a:moveTo>
                    <a:pt x="213" y="122"/>
                  </a:moveTo>
                  <a:lnTo>
                    <a:pt x="225" y="103"/>
                  </a:lnTo>
                  <a:lnTo>
                    <a:pt x="231" y="90"/>
                  </a:lnTo>
                  <a:lnTo>
                    <a:pt x="226" y="76"/>
                  </a:lnTo>
                  <a:lnTo>
                    <a:pt x="185" y="34"/>
                  </a:lnTo>
                  <a:lnTo>
                    <a:pt x="171" y="14"/>
                  </a:lnTo>
                  <a:lnTo>
                    <a:pt x="151" y="0"/>
                  </a:lnTo>
                  <a:lnTo>
                    <a:pt x="94" y="25"/>
                  </a:lnTo>
                  <a:lnTo>
                    <a:pt x="65" y="44"/>
                  </a:lnTo>
                  <a:lnTo>
                    <a:pt x="43" y="76"/>
                  </a:lnTo>
                  <a:lnTo>
                    <a:pt x="31" y="101"/>
                  </a:lnTo>
                  <a:lnTo>
                    <a:pt x="0" y="136"/>
                  </a:lnTo>
                  <a:lnTo>
                    <a:pt x="6" y="161"/>
                  </a:lnTo>
                  <a:lnTo>
                    <a:pt x="43" y="231"/>
                  </a:lnTo>
                  <a:lnTo>
                    <a:pt x="75" y="263"/>
                  </a:lnTo>
                  <a:lnTo>
                    <a:pt x="95" y="261"/>
                  </a:lnTo>
                  <a:lnTo>
                    <a:pt x="102" y="228"/>
                  </a:lnTo>
                  <a:lnTo>
                    <a:pt x="131" y="208"/>
                  </a:lnTo>
                  <a:lnTo>
                    <a:pt x="176" y="191"/>
                  </a:lnTo>
                  <a:lnTo>
                    <a:pt x="188" y="180"/>
                  </a:lnTo>
                  <a:lnTo>
                    <a:pt x="213" y="122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61" name="Freeform 98"/>
            <p:cNvSpPr>
              <a:spLocks/>
            </p:cNvSpPr>
            <p:nvPr>
              <p:custDataLst>
                <p:tags r:id="rId89"/>
              </p:custDataLst>
            </p:nvPr>
          </p:nvSpPr>
          <p:spPr bwMode="auto">
            <a:xfrm>
              <a:off x="2806" y="2101"/>
              <a:ext cx="58" cy="137"/>
            </a:xfrm>
            <a:custGeom>
              <a:avLst/>
              <a:gdLst>
                <a:gd name="T0" fmla="*/ 343 w 385"/>
                <a:gd name="T1" fmla="*/ 30 h 930"/>
                <a:gd name="T2" fmla="*/ 325 w 385"/>
                <a:gd name="T3" fmla="*/ 41 h 930"/>
                <a:gd name="T4" fmla="*/ 298 w 385"/>
                <a:gd name="T5" fmla="*/ 67 h 930"/>
                <a:gd name="T6" fmla="*/ 281 w 385"/>
                <a:gd name="T7" fmla="*/ 76 h 930"/>
                <a:gd name="T8" fmla="*/ 269 w 385"/>
                <a:gd name="T9" fmla="*/ 72 h 930"/>
                <a:gd name="T10" fmla="*/ 257 w 385"/>
                <a:gd name="T11" fmla="*/ 39 h 930"/>
                <a:gd name="T12" fmla="*/ 255 w 385"/>
                <a:gd name="T13" fmla="*/ 25 h 930"/>
                <a:gd name="T14" fmla="*/ 244 w 385"/>
                <a:gd name="T15" fmla="*/ 12 h 930"/>
                <a:gd name="T16" fmla="*/ 215 w 385"/>
                <a:gd name="T17" fmla="*/ 0 h 930"/>
                <a:gd name="T18" fmla="*/ 184 w 385"/>
                <a:gd name="T19" fmla="*/ 2 h 930"/>
                <a:gd name="T20" fmla="*/ 159 w 385"/>
                <a:gd name="T21" fmla="*/ 16 h 930"/>
                <a:gd name="T22" fmla="*/ 131 w 385"/>
                <a:gd name="T23" fmla="*/ 42 h 930"/>
                <a:gd name="T24" fmla="*/ 108 w 385"/>
                <a:gd name="T25" fmla="*/ 55 h 930"/>
                <a:gd name="T26" fmla="*/ 107 w 385"/>
                <a:gd name="T27" fmla="*/ 65 h 930"/>
                <a:gd name="T28" fmla="*/ 77 w 385"/>
                <a:gd name="T29" fmla="*/ 102 h 930"/>
                <a:gd name="T30" fmla="*/ 73 w 385"/>
                <a:gd name="T31" fmla="*/ 129 h 930"/>
                <a:gd name="T32" fmla="*/ 75 w 385"/>
                <a:gd name="T33" fmla="*/ 304 h 930"/>
                <a:gd name="T34" fmla="*/ 74 w 385"/>
                <a:gd name="T35" fmla="*/ 336 h 930"/>
                <a:gd name="T36" fmla="*/ 66 w 385"/>
                <a:gd name="T37" fmla="*/ 361 h 930"/>
                <a:gd name="T38" fmla="*/ 4 w 385"/>
                <a:gd name="T39" fmla="*/ 431 h 930"/>
                <a:gd name="T40" fmla="*/ 0 w 385"/>
                <a:gd name="T41" fmla="*/ 463 h 930"/>
                <a:gd name="T42" fmla="*/ 28 w 385"/>
                <a:gd name="T43" fmla="*/ 560 h 930"/>
                <a:gd name="T44" fmla="*/ 48 w 385"/>
                <a:gd name="T45" fmla="*/ 566 h 930"/>
                <a:gd name="T46" fmla="*/ 64 w 385"/>
                <a:gd name="T47" fmla="*/ 581 h 930"/>
                <a:gd name="T48" fmla="*/ 73 w 385"/>
                <a:gd name="T49" fmla="*/ 610 h 930"/>
                <a:gd name="T50" fmla="*/ 95 w 385"/>
                <a:gd name="T51" fmla="*/ 657 h 930"/>
                <a:gd name="T52" fmla="*/ 114 w 385"/>
                <a:gd name="T53" fmla="*/ 668 h 930"/>
                <a:gd name="T54" fmla="*/ 131 w 385"/>
                <a:gd name="T55" fmla="*/ 684 h 930"/>
                <a:gd name="T56" fmla="*/ 144 w 385"/>
                <a:gd name="T57" fmla="*/ 710 h 930"/>
                <a:gd name="T58" fmla="*/ 200 w 385"/>
                <a:gd name="T59" fmla="*/ 930 h 930"/>
                <a:gd name="T60" fmla="*/ 248 w 385"/>
                <a:gd name="T61" fmla="*/ 888 h 930"/>
                <a:gd name="T62" fmla="*/ 255 w 385"/>
                <a:gd name="T63" fmla="*/ 873 h 930"/>
                <a:gd name="T64" fmla="*/ 261 w 385"/>
                <a:gd name="T65" fmla="*/ 842 h 930"/>
                <a:gd name="T66" fmla="*/ 249 w 385"/>
                <a:gd name="T67" fmla="*/ 786 h 930"/>
                <a:gd name="T68" fmla="*/ 255 w 385"/>
                <a:gd name="T69" fmla="*/ 765 h 930"/>
                <a:gd name="T70" fmla="*/ 319 w 385"/>
                <a:gd name="T71" fmla="*/ 700 h 930"/>
                <a:gd name="T72" fmla="*/ 381 w 385"/>
                <a:gd name="T73" fmla="*/ 655 h 930"/>
                <a:gd name="T74" fmla="*/ 384 w 385"/>
                <a:gd name="T75" fmla="*/ 640 h 930"/>
                <a:gd name="T76" fmla="*/ 381 w 385"/>
                <a:gd name="T77" fmla="*/ 608 h 930"/>
                <a:gd name="T78" fmla="*/ 385 w 385"/>
                <a:gd name="T79" fmla="*/ 550 h 930"/>
                <a:gd name="T80" fmla="*/ 360 w 385"/>
                <a:gd name="T81" fmla="*/ 536 h 930"/>
                <a:gd name="T82" fmla="*/ 350 w 385"/>
                <a:gd name="T83" fmla="*/ 498 h 930"/>
                <a:gd name="T84" fmla="*/ 335 w 385"/>
                <a:gd name="T85" fmla="*/ 493 h 930"/>
                <a:gd name="T86" fmla="*/ 318 w 385"/>
                <a:gd name="T87" fmla="*/ 507 h 930"/>
                <a:gd name="T88" fmla="*/ 306 w 385"/>
                <a:gd name="T89" fmla="*/ 504 h 930"/>
                <a:gd name="T90" fmla="*/ 282 w 385"/>
                <a:gd name="T91" fmla="*/ 486 h 930"/>
                <a:gd name="T92" fmla="*/ 257 w 385"/>
                <a:gd name="T93" fmla="*/ 454 h 930"/>
                <a:gd name="T94" fmla="*/ 244 w 385"/>
                <a:gd name="T95" fmla="*/ 426 h 930"/>
                <a:gd name="T96" fmla="*/ 253 w 385"/>
                <a:gd name="T97" fmla="*/ 407 h 930"/>
                <a:gd name="T98" fmla="*/ 298 w 385"/>
                <a:gd name="T99" fmla="*/ 352 h 930"/>
                <a:gd name="T100" fmla="*/ 323 w 385"/>
                <a:gd name="T101" fmla="*/ 333 h 930"/>
                <a:gd name="T102" fmla="*/ 348 w 385"/>
                <a:gd name="T103" fmla="*/ 287 h 930"/>
                <a:gd name="T104" fmla="*/ 351 w 385"/>
                <a:gd name="T105" fmla="*/ 274 h 930"/>
                <a:gd name="T106" fmla="*/ 338 w 385"/>
                <a:gd name="T107" fmla="*/ 223 h 930"/>
                <a:gd name="T108" fmla="*/ 323 w 385"/>
                <a:gd name="T109" fmla="*/ 216 h 930"/>
                <a:gd name="T110" fmla="*/ 301 w 385"/>
                <a:gd name="T111" fmla="*/ 188 h 930"/>
                <a:gd name="T112" fmla="*/ 293 w 385"/>
                <a:gd name="T113" fmla="*/ 162 h 930"/>
                <a:gd name="T114" fmla="*/ 293 w 385"/>
                <a:gd name="T115" fmla="*/ 145 h 930"/>
                <a:gd name="T116" fmla="*/ 304 w 385"/>
                <a:gd name="T117" fmla="*/ 117 h 930"/>
                <a:gd name="T118" fmla="*/ 332 w 385"/>
                <a:gd name="T119" fmla="*/ 85 h 930"/>
                <a:gd name="T120" fmla="*/ 344 w 385"/>
                <a:gd name="T121" fmla="*/ 51 h 930"/>
                <a:gd name="T122" fmla="*/ 343 w 385"/>
                <a:gd name="T123" fmla="*/ 30 h 9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85"/>
                <a:gd name="T187" fmla="*/ 0 h 930"/>
                <a:gd name="T188" fmla="*/ 385 w 385"/>
                <a:gd name="T189" fmla="*/ 930 h 9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85" h="930">
                  <a:moveTo>
                    <a:pt x="343" y="30"/>
                  </a:moveTo>
                  <a:lnTo>
                    <a:pt x="325" y="41"/>
                  </a:lnTo>
                  <a:lnTo>
                    <a:pt x="298" y="67"/>
                  </a:lnTo>
                  <a:lnTo>
                    <a:pt x="281" y="76"/>
                  </a:lnTo>
                  <a:lnTo>
                    <a:pt x="269" y="72"/>
                  </a:lnTo>
                  <a:lnTo>
                    <a:pt x="257" y="39"/>
                  </a:lnTo>
                  <a:lnTo>
                    <a:pt x="255" y="25"/>
                  </a:lnTo>
                  <a:lnTo>
                    <a:pt x="244" y="12"/>
                  </a:lnTo>
                  <a:lnTo>
                    <a:pt x="215" y="0"/>
                  </a:lnTo>
                  <a:lnTo>
                    <a:pt x="184" y="2"/>
                  </a:lnTo>
                  <a:lnTo>
                    <a:pt x="159" y="16"/>
                  </a:lnTo>
                  <a:lnTo>
                    <a:pt x="131" y="42"/>
                  </a:lnTo>
                  <a:lnTo>
                    <a:pt x="108" y="55"/>
                  </a:lnTo>
                  <a:lnTo>
                    <a:pt x="107" y="65"/>
                  </a:lnTo>
                  <a:lnTo>
                    <a:pt x="77" y="102"/>
                  </a:lnTo>
                  <a:lnTo>
                    <a:pt x="73" y="129"/>
                  </a:lnTo>
                  <a:lnTo>
                    <a:pt x="75" y="304"/>
                  </a:lnTo>
                  <a:lnTo>
                    <a:pt x="74" y="336"/>
                  </a:lnTo>
                  <a:lnTo>
                    <a:pt x="66" y="361"/>
                  </a:lnTo>
                  <a:lnTo>
                    <a:pt x="4" y="431"/>
                  </a:lnTo>
                  <a:lnTo>
                    <a:pt x="0" y="463"/>
                  </a:lnTo>
                  <a:lnTo>
                    <a:pt x="28" y="560"/>
                  </a:lnTo>
                  <a:lnTo>
                    <a:pt x="48" y="566"/>
                  </a:lnTo>
                  <a:lnTo>
                    <a:pt x="64" y="581"/>
                  </a:lnTo>
                  <a:lnTo>
                    <a:pt x="73" y="610"/>
                  </a:lnTo>
                  <a:lnTo>
                    <a:pt x="95" y="657"/>
                  </a:lnTo>
                  <a:lnTo>
                    <a:pt x="114" y="668"/>
                  </a:lnTo>
                  <a:lnTo>
                    <a:pt x="131" y="684"/>
                  </a:lnTo>
                  <a:lnTo>
                    <a:pt x="144" y="710"/>
                  </a:lnTo>
                  <a:lnTo>
                    <a:pt x="200" y="930"/>
                  </a:lnTo>
                  <a:lnTo>
                    <a:pt x="248" y="888"/>
                  </a:lnTo>
                  <a:lnTo>
                    <a:pt x="255" y="873"/>
                  </a:lnTo>
                  <a:lnTo>
                    <a:pt x="261" y="842"/>
                  </a:lnTo>
                  <a:lnTo>
                    <a:pt x="249" y="786"/>
                  </a:lnTo>
                  <a:lnTo>
                    <a:pt x="255" y="765"/>
                  </a:lnTo>
                  <a:lnTo>
                    <a:pt x="319" y="700"/>
                  </a:lnTo>
                  <a:lnTo>
                    <a:pt x="381" y="655"/>
                  </a:lnTo>
                  <a:lnTo>
                    <a:pt x="384" y="640"/>
                  </a:lnTo>
                  <a:lnTo>
                    <a:pt x="381" y="608"/>
                  </a:lnTo>
                  <a:lnTo>
                    <a:pt x="385" y="550"/>
                  </a:lnTo>
                  <a:lnTo>
                    <a:pt x="360" y="536"/>
                  </a:lnTo>
                  <a:lnTo>
                    <a:pt x="350" y="498"/>
                  </a:lnTo>
                  <a:lnTo>
                    <a:pt x="335" y="493"/>
                  </a:lnTo>
                  <a:lnTo>
                    <a:pt x="318" y="507"/>
                  </a:lnTo>
                  <a:lnTo>
                    <a:pt x="306" y="504"/>
                  </a:lnTo>
                  <a:lnTo>
                    <a:pt x="282" y="486"/>
                  </a:lnTo>
                  <a:lnTo>
                    <a:pt x="257" y="454"/>
                  </a:lnTo>
                  <a:lnTo>
                    <a:pt x="244" y="426"/>
                  </a:lnTo>
                  <a:lnTo>
                    <a:pt x="253" y="407"/>
                  </a:lnTo>
                  <a:lnTo>
                    <a:pt x="298" y="352"/>
                  </a:lnTo>
                  <a:lnTo>
                    <a:pt x="323" y="333"/>
                  </a:lnTo>
                  <a:lnTo>
                    <a:pt x="348" y="287"/>
                  </a:lnTo>
                  <a:lnTo>
                    <a:pt x="351" y="274"/>
                  </a:lnTo>
                  <a:lnTo>
                    <a:pt x="338" y="223"/>
                  </a:lnTo>
                  <a:lnTo>
                    <a:pt x="323" y="216"/>
                  </a:lnTo>
                  <a:lnTo>
                    <a:pt x="301" y="188"/>
                  </a:lnTo>
                  <a:lnTo>
                    <a:pt x="293" y="162"/>
                  </a:lnTo>
                  <a:lnTo>
                    <a:pt x="293" y="145"/>
                  </a:lnTo>
                  <a:lnTo>
                    <a:pt x="304" y="117"/>
                  </a:lnTo>
                  <a:lnTo>
                    <a:pt x="332" y="85"/>
                  </a:lnTo>
                  <a:lnTo>
                    <a:pt x="344" y="51"/>
                  </a:lnTo>
                  <a:lnTo>
                    <a:pt x="343" y="30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62" name="Freeform 99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2568" y="2105"/>
              <a:ext cx="304" cy="341"/>
            </a:xfrm>
            <a:custGeom>
              <a:avLst/>
              <a:gdLst>
                <a:gd name="T0" fmla="*/ 643 w 2019"/>
                <a:gd name="T1" fmla="*/ 302 h 2302"/>
                <a:gd name="T2" fmla="*/ 682 w 2019"/>
                <a:gd name="T3" fmla="*/ 383 h 2302"/>
                <a:gd name="T4" fmla="*/ 714 w 2019"/>
                <a:gd name="T5" fmla="*/ 581 h 2302"/>
                <a:gd name="T6" fmla="*/ 725 w 2019"/>
                <a:gd name="T7" fmla="*/ 673 h 2302"/>
                <a:gd name="T8" fmla="*/ 540 w 2019"/>
                <a:gd name="T9" fmla="*/ 715 h 2302"/>
                <a:gd name="T10" fmla="*/ 472 w 2019"/>
                <a:gd name="T11" fmla="*/ 741 h 2302"/>
                <a:gd name="T12" fmla="*/ 481 w 2019"/>
                <a:gd name="T13" fmla="*/ 814 h 2302"/>
                <a:gd name="T14" fmla="*/ 342 w 2019"/>
                <a:gd name="T15" fmla="*/ 912 h 2302"/>
                <a:gd name="T16" fmla="*/ 263 w 2019"/>
                <a:gd name="T17" fmla="*/ 956 h 2302"/>
                <a:gd name="T18" fmla="*/ 199 w 2019"/>
                <a:gd name="T19" fmla="*/ 1000 h 2302"/>
                <a:gd name="T20" fmla="*/ 3 w 2019"/>
                <a:gd name="T21" fmla="*/ 1102 h 2302"/>
                <a:gd name="T22" fmla="*/ 374 w 2019"/>
                <a:gd name="T23" fmla="*/ 1565 h 2302"/>
                <a:gd name="T24" fmla="*/ 957 w 2019"/>
                <a:gd name="T25" fmla="*/ 2072 h 2302"/>
                <a:gd name="T26" fmla="*/ 1027 w 2019"/>
                <a:gd name="T27" fmla="*/ 2153 h 2302"/>
                <a:gd name="T28" fmla="*/ 1083 w 2019"/>
                <a:gd name="T29" fmla="*/ 2169 h 2302"/>
                <a:gd name="T30" fmla="*/ 1146 w 2019"/>
                <a:gd name="T31" fmla="*/ 2184 h 2302"/>
                <a:gd name="T32" fmla="*/ 1155 w 2019"/>
                <a:gd name="T33" fmla="*/ 2270 h 2302"/>
                <a:gd name="T34" fmla="*/ 1586 w 2019"/>
                <a:gd name="T35" fmla="*/ 2061 h 2302"/>
                <a:gd name="T36" fmla="*/ 2016 w 2019"/>
                <a:gd name="T37" fmla="*/ 1745 h 2302"/>
                <a:gd name="T38" fmla="*/ 1924 w 2019"/>
                <a:gd name="T39" fmla="*/ 1632 h 2302"/>
                <a:gd name="T40" fmla="*/ 1859 w 2019"/>
                <a:gd name="T41" fmla="*/ 1625 h 2302"/>
                <a:gd name="T42" fmla="*/ 1767 w 2019"/>
                <a:gd name="T43" fmla="*/ 1430 h 2302"/>
                <a:gd name="T44" fmla="*/ 1813 w 2019"/>
                <a:gd name="T45" fmla="*/ 1379 h 2302"/>
                <a:gd name="T46" fmla="*/ 1799 w 2019"/>
                <a:gd name="T47" fmla="*/ 1268 h 2302"/>
                <a:gd name="T48" fmla="*/ 1814 w 2019"/>
                <a:gd name="T49" fmla="*/ 1113 h 2302"/>
                <a:gd name="T50" fmla="*/ 1777 w 2019"/>
                <a:gd name="T51" fmla="*/ 912 h 2302"/>
                <a:gd name="T52" fmla="*/ 1717 w 2019"/>
                <a:gd name="T53" fmla="*/ 657 h 2302"/>
                <a:gd name="T54" fmla="*/ 1659 w 2019"/>
                <a:gd name="T55" fmla="*/ 583 h 2302"/>
                <a:gd name="T56" fmla="*/ 1614 w 2019"/>
                <a:gd name="T57" fmla="*/ 533 h 2302"/>
                <a:gd name="T58" fmla="*/ 1652 w 2019"/>
                <a:gd name="T59" fmla="*/ 334 h 2302"/>
                <a:gd name="T60" fmla="*/ 1659 w 2019"/>
                <a:gd name="T61" fmla="*/ 102 h 2302"/>
                <a:gd name="T62" fmla="*/ 1694 w 2019"/>
                <a:gd name="T63" fmla="*/ 28 h 2302"/>
                <a:gd name="T64" fmla="*/ 1603 w 2019"/>
                <a:gd name="T65" fmla="*/ 17 h 2302"/>
                <a:gd name="T66" fmla="*/ 1540 w 2019"/>
                <a:gd name="T67" fmla="*/ 28 h 2302"/>
                <a:gd name="T68" fmla="*/ 1467 w 2019"/>
                <a:gd name="T69" fmla="*/ 0 h 2302"/>
                <a:gd name="T70" fmla="*/ 1351 w 2019"/>
                <a:gd name="T71" fmla="*/ 56 h 2302"/>
                <a:gd name="T72" fmla="*/ 1214 w 2019"/>
                <a:gd name="T73" fmla="*/ 33 h 2302"/>
                <a:gd name="T74" fmla="*/ 1149 w 2019"/>
                <a:gd name="T75" fmla="*/ 63 h 2302"/>
                <a:gd name="T76" fmla="*/ 1071 w 2019"/>
                <a:gd name="T77" fmla="*/ 74 h 2302"/>
                <a:gd name="T78" fmla="*/ 867 w 2019"/>
                <a:gd name="T79" fmla="*/ 142 h 2302"/>
                <a:gd name="T80" fmla="*/ 827 w 2019"/>
                <a:gd name="T81" fmla="*/ 179 h 2302"/>
                <a:gd name="T82" fmla="*/ 757 w 2019"/>
                <a:gd name="T83" fmla="*/ 191 h 2302"/>
                <a:gd name="T84" fmla="*/ 700 w 2019"/>
                <a:gd name="T85" fmla="*/ 247 h 230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019"/>
                <a:gd name="T130" fmla="*/ 0 h 2302"/>
                <a:gd name="T131" fmla="*/ 2019 w 2019"/>
                <a:gd name="T132" fmla="*/ 2302 h 2302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019" h="2302">
                  <a:moveTo>
                    <a:pt x="647" y="272"/>
                  </a:moveTo>
                  <a:lnTo>
                    <a:pt x="631" y="272"/>
                  </a:lnTo>
                  <a:lnTo>
                    <a:pt x="643" y="302"/>
                  </a:lnTo>
                  <a:lnTo>
                    <a:pt x="668" y="318"/>
                  </a:lnTo>
                  <a:lnTo>
                    <a:pt x="676" y="330"/>
                  </a:lnTo>
                  <a:lnTo>
                    <a:pt x="682" y="383"/>
                  </a:lnTo>
                  <a:lnTo>
                    <a:pt x="681" y="509"/>
                  </a:lnTo>
                  <a:lnTo>
                    <a:pt x="688" y="535"/>
                  </a:lnTo>
                  <a:lnTo>
                    <a:pt x="714" y="581"/>
                  </a:lnTo>
                  <a:lnTo>
                    <a:pt x="737" y="600"/>
                  </a:lnTo>
                  <a:lnTo>
                    <a:pt x="741" y="613"/>
                  </a:lnTo>
                  <a:lnTo>
                    <a:pt x="725" y="673"/>
                  </a:lnTo>
                  <a:lnTo>
                    <a:pt x="570" y="673"/>
                  </a:lnTo>
                  <a:lnTo>
                    <a:pt x="557" y="704"/>
                  </a:lnTo>
                  <a:lnTo>
                    <a:pt x="540" y="715"/>
                  </a:lnTo>
                  <a:lnTo>
                    <a:pt x="486" y="722"/>
                  </a:lnTo>
                  <a:lnTo>
                    <a:pt x="475" y="729"/>
                  </a:lnTo>
                  <a:lnTo>
                    <a:pt x="472" y="741"/>
                  </a:lnTo>
                  <a:lnTo>
                    <a:pt x="473" y="764"/>
                  </a:lnTo>
                  <a:lnTo>
                    <a:pt x="486" y="801"/>
                  </a:lnTo>
                  <a:lnTo>
                    <a:pt x="481" y="814"/>
                  </a:lnTo>
                  <a:lnTo>
                    <a:pt x="414" y="855"/>
                  </a:lnTo>
                  <a:lnTo>
                    <a:pt x="365" y="875"/>
                  </a:lnTo>
                  <a:lnTo>
                    <a:pt x="342" y="912"/>
                  </a:lnTo>
                  <a:lnTo>
                    <a:pt x="321" y="933"/>
                  </a:lnTo>
                  <a:lnTo>
                    <a:pt x="297" y="945"/>
                  </a:lnTo>
                  <a:lnTo>
                    <a:pt x="263" y="956"/>
                  </a:lnTo>
                  <a:lnTo>
                    <a:pt x="224" y="958"/>
                  </a:lnTo>
                  <a:lnTo>
                    <a:pt x="216" y="996"/>
                  </a:lnTo>
                  <a:lnTo>
                    <a:pt x="199" y="1000"/>
                  </a:lnTo>
                  <a:lnTo>
                    <a:pt x="142" y="996"/>
                  </a:lnTo>
                  <a:lnTo>
                    <a:pt x="34" y="1085"/>
                  </a:lnTo>
                  <a:lnTo>
                    <a:pt x="3" y="1102"/>
                  </a:lnTo>
                  <a:lnTo>
                    <a:pt x="0" y="1287"/>
                  </a:lnTo>
                  <a:lnTo>
                    <a:pt x="370" y="1560"/>
                  </a:lnTo>
                  <a:lnTo>
                    <a:pt x="374" y="1565"/>
                  </a:lnTo>
                  <a:lnTo>
                    <a:pt x="953" y="2036"/>
                  </a:lnTo>
                  <a:lnTo>
                    <a:pt x="961" y="2049"/>
                  </a:lnTo>
                  <a:lnTo>
                    <a:pt x="957" y="2072"/>
                  </a:lnTo>
                  <a:lnTo>
                    <a:pt x="959" y="2080"/>
                  </a:lnTo>
                  <a:lnTo>
                    <a:pt x="978" y="2096"/>
                  </a:lnTo>
                  <a:lnTo>
                    <a:pt x="1027" y="2153"/>
                  </a:lnTo>
                  <a:lnTo>
                    <a:pt x="1037" y="2154"/>
                  </a:lnTo>
                  <a:lnTo>
                    <a:pt x="1057" y="2137"/>
                  </a:lnTo>
                  <a:lnTo>
                    <a:pt x="1083" y="2169"/>
                  </a:lnTo>
                  <a:lnTo>
                    <a:pt x="1101" y="2177"/>
                  </a:lnTo>
                  <a:lnTo>
                    <a:pt x="1133" y="2179"/>
                  </a:lnTo>
                  <a:lnTo>
                    <a:pt x="1146" y="2184"/>
                  </a:lnTo>
                  <a:lnTo>
                    <a:pt x="1158" y="2204"/>
                  </a:lnTo>
                  <a:lnTo>
                    <a:pt x="1163" y="2232"/>
                  </a:lnTo>
                  <a:lnTo>
                    <a:pt x="1155" y="2270"/>
                  </a:lnTo>
                  <a:lnTo>
                    <a:pt x="1163" y="2302"/>
                  </a:lnTo>
                  <a:lnTo>
                    <a:pt x="1412" y="2241"/>
                  </a:lnTo>
                  <a:lnTo>
                    <a:pt x="1586" y="2061"/>
                  </a:lnTo>
                  <a:lnTo>
                    <a:pt x="2009" y="1759"/>
                  </a:lnTo>
                  <a:lnTo>
                    <a:pt x="2019" y="1749"/>
                  </a:lnTo>
                  <a:lnTo>
                    <a:pt x="2016" y="1745"/>
                  </a:lnTo>
                  <a:lnTo>
                    <a:pt x="1978" y="1661"/>
                  </a:lnTo>
                  <a:lnTo>
                    <a:pt x="1970" y="1652"/>
                  </a:lnTo>
                  <a:lnTo>
                    <a:pt x="1924" y="1632"/>
                  </a:lnTo>
                  <a:lnTo>
                    <a:pt x="1893" y="1624"/>
                  </a:lnTo>
                  <a:lnTo>
                    <a:pt x="1869" y="1634"/>
                  </a:lnTo>
                  <a:lnTo>
                    <a:pt x="1859" y="1625"/>
                  </a:lnTo>
                  <a:lnTo>
                    <a:pt x="1834" y="1578"/>
                  </a:lnTo>
                  <a:lnTo>
                    <a:pt x="1823" y="1526"/>
                  </a:lnTo>
                  <a:lnTo>
                    <a:pt x="1767" y="1430"/>
                  </a:lnTo>
                  <a:lnTo>
                    <a:pt x="1773" y="1414"/>
                  </a:lnTo>
                  <a:lnTo>
                    <a:pt x="1785" y="1406"/>
                  </a:lnTo>
                  <a:lnTo>
                    <a:pt x="1813" y="1379"/>
                  </a:lnTo>
                  <a:lnTo>
                    <a:pt x="1818" y="1370"/>
                  </a:lnTo>
                  <a:lnTo>
                    <a:pt x="1820" y="1333"/>
                  </a:lnTo>
                  <a:lnTo>
                    <a:pt x="1799" y="1268"/>
                  </a:lnTo>
                  <a:lnTo>
                    <a:pt x="1814" y="1205"/>
                  </a:lnTo>
                  <a:lnTo>
                    <a:pt x="1810" y="1162"/>
                  </a:lnTo>
                  <a:lnTo>
                    <a:pt x="1814" y="1113"/>
                  </a:lnTo>
                  <a:lnTo>
                    <a:pt x="1806" y="1026"/>
                  </a:lnTo>
                  <a:lnTo>
                    <a:pt x="1767" y="935"/>
                  </a:lnTo>
                  <a:lnTo>
                    <a:pt x="1777" y="912"/>
                  </a:lnTo>
                  <a:lnTo>
                    <a:pt x="1786" y="903"/>
                  </a:lnTo>
                  <a:lnTo>
                    <a:pt x="1730" y="683"/>
                  </a:lnTo>
                  <a:lnTo>
                    <a:pt x="1717" y="657"/>
                  </a:lnTo>
                  <a:lnTo>
                    <a:pt x="1700" y="641"/>
                  </a:lnTo>
                  <a:lnTo>
                    <a:pt x="1681" y="630"/>
                  </a:lnTo>
                  <a:lnTo>
                    <a:pt x="1659" y="583"/>
                  </a:lnTo>
                  <a:lnTo>
                    <a:pt x="1650" y="554"/>
                  </a:lnTo>
                  <a:lnTo>
                    <a:pt x="1634" y="539"/>
                  </a:lnTo>
                  <a:lnTo>
                    <a:pt x="1614" y="533"/>
                  </a:lnTo>
                  <a:lnTo>
                    <a:pt x="1586" y="436"/>
                  </a:lnTo>
                  <a:lnTo>
                    <a:pt x="1590" y="404"/>
                  </a:lnTo>
                  <a:lnTo>
                    <a:pt x="1652" y="334"/>
                  </a:lnTo>
                  <a:lnTo>
                    <a:pt x="1660" y="309"/>
                  </a:lnTo>
                  <a:lnTo>
                    <a:pt x="1661" y="277"/>
                  </a:lnTo>
                  <a:lnTo>
                    <a:pt x="1659" y="102"/>
                  </a:lnTo>
                  <a:lnTo>
                    <a:pt x="1663" y="75"/>
                  </a:lnTo>
                  <a:lnTo>
                    <a:pt x="1693" y="38"/>
                  </a:lnTo>
                  <a:lnTo>
                    <a:pt x="1694" y="28"/>
                  </a:lnTo>
                  <a:lnTo>
                    <a:pt x="1623" y="42"/>
                  </a:lnTo>
                  <a:lnTo>
                    <a:pt x="1611" y="35"/>
                  </a:lnTo>
                  <a:lnTo>
                    <a:pt x="1603" y="17"/>
                  </a:lnTo>
                  <a:lnTo>
                    <a:pt x="1587" y="7"/>
                  </a:lnTo>
                  <a:lnTo>
                    <a:pt x="1563" y="3"/>
                  </a:lnTo>
                  <a:lnTo>
                    <a:pt x="1540" y="28"/>
                  </a:lnTo>
                  <a:lnTo>
                    <a:pt x="1525" y="37"/>
                  </a:lnTo>
                  <a:lnTo>
                    <a:pt x="1510" y="30"/>
                  </a:lnTo>
                  <a:lnTo>
                    <a:pt x="1467" y="0"/>
                  </a:lnTo>
                  <a:lnTo>
                    <a:pt x="1439" y="33"/>
                  </a:lnTo>
                  <a:lnTo>
                    <a:pt x="1375" y="56"/>
                  </a:lnTo>
                  <a:lnTo>
                    <a:pt x="1351" y="56"/>
                  </a:lnTo>
                  <a:lnTo>
                    <a:pt x="1277" y="33"/>
                  </a:lnTo>
                  <a:lnTo>
                    <a:pt x="1255" y="35"/>
                  </a:lnTo>
                  <a:lnTo>
                    <a:pt x="1214" y="33"/>
                  </a:lnTo>
                  <a:lnTo>
                    <a:pt x="1199" y="40"/>
                  </a:lnTo>
                  <a:lnTo>
                    <a:pt x="1171" y="58"/>
                  </a:lnTo>
                  <a:lnTo>
                    <a:pt x="1149" y="63"/>
                  </a:lnTo>
                  <a:lnTo>
                    <a:pt x="1121" y="51"/>
                  </a:lnTo>
                  <a:lnTo>
                    <a:pt x="1093" y="68"/>
                  </a:lnTo>
                  <a:lnTo>
                    <a:pt x="1071" y="74"/>
                  </a:lnTo>
                  <a:lnTo>
                    <a:pt x="949" y="84"/>
                  </a:lnTo>
                  <a:lnTo>
                    <a:pt x="922" y="95"/>
                  </a:lnTo>
                  <a:lnTo>
                    <a:pt x="867" y="142"/>
                  </a:lnTo>
                  <a:lnTo>
                    <a:pt x="847" y="173"/>
                  </a:lnTo>
                  <a:lnTo>
                    <a:pt x="836" y="180"/>
                  </a:lnTo>
                  <a:lnTo>
                    <a:pt x="827" y="179"/>
                  </a:lnTo>
                  <a:lnTo>
                    <a:pt x="819" y="179"/>
                  </a:lnTo>
                  <a:lnTo>
                    <a:pt x="804" y="165"/>
                  </a:lnTo>
                  <a:lnTo>
                    <a:pt x="757" y="191"/>
                  </a:lnTo>
                  <a:lnTo>
                    <a:pt x="734" y="196"/>
                  </a:lnTo>
                  <a:lnTo>
                    <a:pt x="717" y="214"/>
                  </a:lnTo>
                  <a:lnTo>
                    <a:pt x="700" y="247"/>
                  </a:lnTo>
                  <a:lnTo>
                    <a:pt x="676" y="263"/>
                  </a:lnTo>
                  <a:lnTo>
                    <a:pt x="647" y="272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63" name="Freeform 100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2502" y="2130"/>
              <a:ext cx="179" cy="159"/>
            </a:xfrm>
            <a:custGeom>
              <a:avLst/>
              <a:gdLst>
                <a:gd name="T0" fmla="*/ 951 w 1183"/>
                <a:gd name="T1" fmla="*/ 91 h 1075"/>
                <a:gd name="T2" fmla="*/ 780 w 1183"/>
                <a:gd name="T3" fmla="*/ 58 h 1075"/>
                <a:gd name="T4" fmla="*/ 742 w 1183"/>
                <a:gd name="T5" fmla="*/ 0 h 1075"/>
                <a:gd name="T6" fmla="*/ 706 w 1183"/>
                <a:gd name="T7" fmla="*/ 17 h 1075"/>
                <a:gd name="T8" fmla="*/ 625 w 1183"/>
                <a:gd name="T9" fmla="*/ 229 h 1075"/>
                <a:gd name="T10" fmla="*/ 568 w 1183"/>
                <a:gd name="T11" fmla="*/ 285 h 1075"/>
                <a:gd name="T12" fmla="*/ 440 w 1183"/>
                <a:gd name="T13" fmla="*/ 361 h 1075"/>
                <a:gd name="T14" fmla="*/ 381 w 1183"/>
                <a:gd name="T15" fmla="*/ 451 h 1075"/>
                <a:gd name="T16" fmla="*/ 373 w 1183"/>
                <a:gd name="T17" fmla="*/ 511 h 1075"/>
                <a:gd name="T18" fmla="*/ 324 w 1183"/>
                <a:gd name="T19" fmla="*/ 598 h 1075"/>
                <a:gd name="T20" fmla="*/ 324 w 1183"/>
                <a:gd name="T21" fmla="*/ 666 h 1075"/>
                <a:gd name="T22" fmla="*/ 346 w 1183"/>
                <a:gd name="T23" fmla="*/ 741 h 1075"/>
                <a:gd name="T24" fmla="*/ 320 w 1183"/>
                <a:gd name="T25" fmla="*/ 810 h 1075"/>
                <a:gd name="T26" fmla="*/ 152 w 1183"/>
                <a:gd name="T27" fmla="*/ 990 h 1075"/>
                <a:gd name="T28" fmla="*/ 25 w 1183"/>
                <a:gd name="T29" fmla="*/ 1036 h 1075"/>
                <a:gd name="T30" fmla="*/ 0 w 1183"/>
                <a:gd name="T31" fmla="*/ 1075 h 1075"/>
                <a:gd name="T32" fmla="*/ 445 w 1183"/>
                <a:gd name="T33" fmla="*/ 937 h 1075"/>
                <a:gd name="T34" fmla="*/ 584 w 1183"/>
                <a:gd name="T35" fmla="*/ 831 h 1075"/>
                <a:gd name="T36" fmla="*/ 658 w 1183"/>
                <a:gd name="T37" fmla="*/ 831 h 1075"/>
                <a:gd name="T38" fmla="*/ 705 w 1183"/>
                <a:gd name="T39" fmla="*/ 791 h 1075"/>
                <a:gd name="T40" fmla="*/ 763 w 1183"/>
                <a:gd name="T41" fmla="*/ 768 h 1075"/>
                <a:gd name="T42" fmla="*/ 807 w 1183"/>
                <a:gd name="T43" fmla="*/ 710 h 1075"/>
                <a:gd name="T44" fmla="*/ 923 w 1183"/>
                <a:gd name="T45" fmla="*/ 649 h 1075"/>
                <a:gd name="T46" fmla="*/ 915 w 1183"/>
                <a:gd name="T47" fmla="*/ 599 h 1075"/>
                <a:gd name="T48" fmla="*/ 917 w 1183"/>
                <a:gd name="T49" fmla="*/ 564 h 1075"/>
                <a:gd name="T50" fmla="*/ 982 w 1183"/>
                <a:gd name="T51" fmla="*/ 550 h 1075"/>
                <a:gd name="T52" fmla="*/ 1012 w 1183"/>
                <a:gd name="T53" fmla="*/ 508 h 1075"/>
                <a:gd name="T54" fmla="*/ 1183 w 1183"/>
                <a:gd name="T55" fmla="*/ 448 h 1075"/>
                <a:gd name="T56" fmla="*/ 1156 w 1183"/>
                <a:gd name="T57" fmla="*/ 416 h 1075"/>
                <a:gd name="T58" fmla="*/ 1123 w 1183"/>
                <a:gd name="T59" fmla="*/ 344 h 1075"/>
                <a:gd name="T60" fmla="*/ 1118 w 1183"/>
                <a:gd name="T61" fmla="*/ 165 h 1075"/>
                <a:gd name="T62" fmla="*/ 1085 w 1183"/>
                <a:gd name="T63" fmla="*/ 137 h 1075"/>
                <a:gd name="T64" fmla="*/ 1057 w 1183"/>
                <a:gd name="T65" fmla="*/ 107 h 1075"/>
                <a:gd name="T66" fmla="*/ 1010 w 1183"/>
                <a:gd name="T67" fmla="*/ 95 h 1075"/>
                <a:gd name="T68" fmla="*/ 973 w 1183"/>
                <a:gd name="T69" fmla="*/ 79 h 107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183"/>
                <a:gd name="T106" fmla="*/ 0 h 1075"/>
                <a:gd name="T107" fmla="*/ 1183 w 1183"/>
                <a:gd name="T108" fmla="*/ 1075 h 1075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183" h="1075">
                  <a:moveTo>
                    <a:pt x="973" y="79"/>
                  </a:moveTo>
                  <a:lnTo>
                    <a:pt x="951" y="91"/>
                  </a:lnTo>
                  <a:lnTo>
                    <a:pt x="838" y="95"/>
                  </a:lnTo>
                  <a:lnTo>
                    <a:pt x="780" y="58"/>
                  </a:lnTo>
                  <a:lnTo>
                    <a:pt x="751" y="7"/>
                  </a:lnTo>
                  <a:lnTo>
                    <a:pt x="742" y="0"/>
                  </a:lnTo>
                  <a:lnTo>
                    <a:pt x="718" y="10"/>
                  </a:lnTo>
                  <a:lnTo>
                    <a:pt x="706" y="17"/>
                  </a:lnTo>
                  <a:lnTo>
                    <a:pt x="649" y="187"/>
                  </a:lnTo>
                  <a:lnTo>
                    <a:pt x="625" y="229"/>
                  </a:lnTo>
                  <a:lnTo>
                    <a:pt x="600" y="262"/>
                  </a:lnTo>
                  <a:lnTo>
                    <a:pt x="568" y="285"/>
                  </a:lnTo>
                  <a:lnTo>
                    <a:pt x="473" y="333"/>
                  </a:lnTo>
                  <a:lnTo>
                    <a:pt x="440" y="361"/>
                  </a:lnTo>
                  <a:lnTo>
                    <a:pt x="384" y="432"/>
                  </a:lnTo>
                  <a:lnTo>
                    <a:pt x="381" y="451"/>
                  </a:lnTo>
                  <a:lnTo>
                    <a:pt x="384" y="472"/>
                  </a:lnTo>
                  <a:lnTo>
                    <a:pt x="373" y="511"/>
                  </a:lnTo>
                  <a:lnTo>
                    <a:pt x="343" y="560"/>
                  </a:lnTo>
                  <a:lnTo>
                    <a:pt x="324" y="598"/>
                  </a:lnTo>
                  <a:lnTo>
                    <a:pt x="320" y="628"/>
                  </a:lnTo>
                  <a:lnTo>
                    <a:pt x="324" y="666"/>
                  </a:lnTo>
                  <a:lnTo>
                    <a:pt x="344" y="713"/>
                  </a:lnTo>
                  <a:lnTo>
                    <a:pt x="346" y="741"/>
                  </a:lnTo>
                  <a:lnTo>
                    <a:pt x="339" y="770"/>
                  </a:lnTo>
                  <a:lnTo>
                    <a:pt x="320" y="810"/>
                  </a:lnTo>
                  <a:lnTo>
                    <a:pt x="274" y="874"/>
                  </a:lnTo>
                  <a:lnTo>
                    <a:pt x="152" y="990"/>
                  </a:lnTo>
                  <a:lnTo>
                    <a:pt x="102" y="1015"/>
                  </a:lnTo>
                  <a:lnTo>
                    <a:pt x="25" y="1036"/>
                  </a:lnTo>
                  <a:lnTo>
                    <a:pt x="7" y="1059"/>
                  </a:lnTo>
                  <a:lnTo>
                    <a:pt x="0" y="1075"/>
                  </a:lnTo>
                  <a:lnTo>
                    <a:pt x="440" y="1073"/>
                  </a:lnTo>
                  <a:lnTo>
                    <a:pt x="445" y="937"/>
                  </a:lnTo>
                  <a:lnTo>
                    <a:pt x="476" y="920"/>
                  </a:lnTo>
                  <a:lnTo>
                    <a:pt x="584" y="831"/>
                  </a:lnTo>
                  <a:lnTo>
                    <a:pt x="641" y="835"/>
                  </a:lnTo>
                  <a:lnTo>
                    <a:pt x="658" y="831"/>
                  </a:lnTo>
                  <a:lnTo>
                    <a:pt x="666" y="793"/>
                  </a:lnTo>
                  <a:lnTo>
                    <a:pt x="705" y="791"/>
                  </a:lnTo>
                  <a:lnTo>
                    <a:pt x="739" y="780"/>
                  </a:lnTo>
                  <a:lnTo>
                    <a:pt x="763" y="768"/>
                  </a:lnTo>
                  <a:lnTo>
                    <a:pt x="784" y="747"/>
                  </a:lnTo>
                  <a:lnTo>
                    <a:pt x="807" y="710"/>
                  </a:lnTo>
                  <a:lnTo>
                    <a:pt x="856" y="690"/>
                  </a:lnTo>
                  <a:lnTo>
                    <a:pt x="923" y="649"/>
                  </a:lnTo>
                  <a:lnTo>
                    <a:pt x="928" y="636"/>
                  </a:lnTo>
                  <a:lnTo>
                    <a:pt x="915" y="599"/>
                  </a:lnTo>
                  <a:lnTo>
                    <a:pt x="914" y="576"/>
                  </a:lnTo>
                  <a:lnTo>
                    <a:pt x="917" y="564"/>
                  </a:lnTo>
                  <a:lnTo>
                    <a:pt x="928" y="557"/>
                  </a:lnTo>
                  <a:lnTo>
                    <a:pt x="982" y="550"/>
                  </a:lnTo>
                  <a:lnTo>
                    <a:pt x="999" y="539"/>
                  </a:lnTo>
                  <a:lnTo>
                    <a:pt x="1012" y="508"/>
                  </a:lnTo>
                  <a:lnTo>
                    <a:pt x="1167" y="508"/>
                  </a:lnTo>
                  <a:lnTo>
                    <a:pt x="1183" y="448"/>
                  </a:lnTo>
                  <a:lnTo>
                    <a:pt x="1179" y="435"/>
                  </a:lnTo>
                  <a:lnTo>
                    <a:pt x="1156" y="416"/>
                  </a:lnTo>
                  <a:lnTo>
                    <a:pt x="1130" y="370"/>
                  </a:lnTo>
                  <a:lnTo>
                    <a:pt x="1123" y="344"/>
                  </a:lnTo>
                  <a:lnTo>
                    <a:pt x="1124" y="218"/>
                  </a:lnTo>
                  <a:lnTo>
                    <a:pt x="1118" y="165"/>
                  </a:lnTo>
                  <a:lnTo>
                    <a:pt x="1110" y="153"/>
                  </a:lnTo>
                  <a:lnTo>
                    <a:pt x="1085" y="137"/>
                  </a:lnTo>
                  <a:lnTo>
                    <a:pt x="1073" y="107"/>
                  </a:lnTo>
                  <a:lnTo>
                    <a:pt x="1057" y="107"/>
                  </a:lnTo>
                  <a:lnTo>
                    <a:pt x="1022" y="102"/>
                  </a:lnTo>
                  <a:lnTo>
                    <a:pt x="1010" y="95"/>
                  </a:lnTo>
                  <a:lnTo>
                    <a:pt x="992" y="63"/>
                  </a:lnTo>
                  <a:lnTo>
                    <a:pt x="973" y="79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64" name="Freeform 101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2709" y="2561"/>
              <a:ext cx="43" cy="108"/>
            </a:xfrm>
            <a:custGeom>
              <a:avLst/>
              <a:gdLst>
                <a:gd name="T0" fmla="*/ 56 w 294"/>
                <a:gd name="T1" fmla="*/ 111 h 717"/>
                <a:gd name="T2" fmla="*/ 38 w 294"/>
                <a:gd name="T3" fmla="*/ 125 h 717"/>
                <a:gd name="T4" fmla="*/ 22 w 294"/>
                <a:gd name="T5" fmla="*/ 154 h 717"/>
                <a:gd name="T6" fmla="*/ 12 w 294"/>
                <a:gd name="T7" fmla="*/ 162 h 717"/>
                <a:gd name="T8" fmla="*/ 8 w 294"/>
                <a:gd name="T9" fmla="*/ 169 h 717"/>
                <a:gd name="T10" fmla="*/ 0 w 294"/>
                <a:gd name="T11" fmla="*/ 224 h 717"/>
                <a:gd name="T12" fmla="*/ 7 w 294"/>
                <a:gd name="T13" fmla="*/ 245 h 717"/>
                <a:gd name="T14" fmla="*/ 45 w 294"/>
                <a:gd name="T15" fmla="*/ 277 h 717"/>
                <a:gd name="T16" fmla="*/ 73 w 294"/>
                <a:gd name="T17" fmla="*/ 385 h 717"/>
                <a:gd name="T18" fmla="*/ 81 w 294"/>
                <a:gd name="T19" fmla="*/ 613 h 717"/>
                <a:gd name="T20" fmla="*/ 73 w 294"/>
                <a:gd name="T21" fmla="*/ 650 h 717"/>
                <a:gd name="T22" fmla="*/ 86 w 294"/>
                <a:gd name="T23" fmla="*/ 707 h 717"/>
                <a:gd name="T24" fmla="*/ 90 w 294"/>
                <a:gd name="T25" fmla="*/ 717 h 717"/>
                <a:gd name="T26" fmla="*/ 175 w 294"/>
                <a:gd name="T27" fmla="*/ 707 h 717"/>
                <a:gd name="T28" fmla="*/ 188 w 294"/>
                <a:gd name="T29" fmla="*/ 707 h 717"/>
                <a:gd name="T30" fmla="*/ 188 w 294"/>
                <a:gd name="T31" fmla="*/ 694 h 717"/>
                <a:gd name="T32" fmla="*/ 193 w 294"/>
                <a:gd name="T33" fmla="*/ 631 h 717"/>
                <a:gd name="T34" fmla="*/ 184 w 294"/>
                <a:gd name="T35" fmla="*/ 554 h 717"/>
                <a:gd name="T36" fmla="*/ 188 w 294"/>
                <a:gd name="T37" fmla="*/ 501 h 717"/>
                <a:gd name="T38" fmla="*/ 188 w 294"/>
                <a:gd name="T39" fmla="*/ 409 h 717"/>
                <a:gd name="T40" fmla="*/ 199 w 294"/>
                <a:gd name="T41" fmla="*/ 388 h 717"/>
                <a:gd name="T42" fmla="*/ 210 w 294"/>
                <a:gd name="T43" fmla="*/ 388 h 717"/>
                <a:gd name="T44" fmla="*/ 229 w 294"/>
                <a:gd name="T45" fmla="*/ 381 h 717"/>
                <a:gd name="T46" fmla="*/ 233 w 294"/>
                <a:gd name="T47" fmla="*/ 362 h 717"/>
                <a:gd name="T48" fmla="*/ 228 w 294"/>
                <a:gd name="T49" fmla="*/ 330 h 717"/>
                <a:gd name="T50" fmla="*/ 233 w 294"/>
                <a:gd name="T51" fmla="*/ 312 h 717"/>
                <a:gd name="T52" fmla="*/ 261 w 294"/>
                <a:gd name="T53" fmla="*/ 289 h 717"/>
                <a:gd name="T54" fmla="*/ 271 w 294"/>
                <a:gd name="T55" fmla="*/ 273 h 717"/>
                <a:gd name="T56" fmla="*/ 294 w 294"/>
                <a:gd name="T57" fmla="*/ 192 h 717"/>
                <a:gd name="T58" fmla="*/ 275 w 294"/>
                <a:gd name="T59" fmla="*/ 155 h 717"/>
                <a:gd name="T60" fmla="*/ 269 w 294"/>
                <a:gd name="T61" fmla="*/ 115 h 717"/>
                <a:gd name="T62" fmla="*/ 271 w 294"/>
                <a:gd name="T63" fmla="*/ 72 h 717"/>
                <a:gd name="T64" fmla="*/ 232 w 294"/>
                <a:gd name="T65" fmla="*/ 46 h 717"/>
                <a:gd name="T66" fmla="*/ 185 w 294"/>
                <a:gd name="T67" fmla="*/ 0 h 717"/>
                <a:gd name="T68" fmla="*/ 171 w 294"/>
                <a:gd name="T69" fmla="*/ 4 h 717"/>
                <a:gd name="T70" fmla="*/ 144 w 294"/>
                <a:gd name="T71" fmla="*/ 19 h 717"/>
                <a:gd name="T72" fmla="*/ 151 w 294"/>
                <a:gd name="T73" fmla="*/ 39 h 717"/>
                <a:gd name="T74" fmla="*/ 140 w 294"/>
                <a:gd name="T75" fmla="*/ 79 h 717"/>
                <a:gd name="T76" fmla="*/ 122 w 294"/>
                <a:gd name="T77" fmla="*/ 104 h 717"/>
                <a:gd name="T78" fmla="*/ 106 w 294"/>
                <a:gd name="T79" fmla="*/ 113 h 717"/>
                <a:gd name="T80" fmla="*/ 74 w 294"/>
                <a:gd name="T81" fmla="*/ 108 h 717"/>
                <a:gd name="T82" fmla="*/ 56 w 294"/>
                <a:gd name="T83" fmla="*/ 111 h 717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717"/>
                <a:gd name="T128" fmla="*/ 294 w 294"/>
                <a:gd name="T129" fmla="*/ 717 h 717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717">
                  <a:moveTo>
                    <a:pt x="56" y="111"/>
                  </a:moveTo>
                  <a:lnTo>
                    <a:pt x="38" y="125"/>
                  </a:lnTo>
                  <a:lnTo>
                    <a:pt x="22" y="154"/>
                  </a:lnTo>
                  <a:lnTo>
                    <a:pt x="12" y="162"/>
                  </a:lnTo>
                  <a:lnTo>
                    <a:pt x="8" y="169"/>
                  </a:lnTo>
                  <a:lnTo>
                    <a:pt x="0" y="224"/>
                  </a:lnTo>
                  <a:lnTo>
                    <a:pt x="7" y="245"/>
                  </a:lnTo>
                  <a:lnTo>
                    <a:pt x="45" y="277"/>
                  </a:lnTo>
                  <a:lnTo>
                    <a:pt x="73" y="385"/>
                  </a:lnTo>
                  <a:lnTo>
                    <a:pt x="81" y="613"/>
                  </a:lnTo>
                  <a:lnTo>
                    <a:pt x="73" y="650"/>
                  </a:lnTo>
                  <a:lnTo>
                    <a:pt x="86" y="707"/>
                  </a:lnTo>
                  <a:lnTo>
                    <a:pt x="90" y="717"/>
                  </a:lnTo>
                  <a:lnTo>
                    <a:pt x="175" y="707"/>
                  </a:lnTo>
                  <a:lnTo>
                    <a:pt x="188" y="707"/>
                  </a:lnTo>
                  <a:lnTo>
                    <a:pt x="188" y="694"/>
                  </a:lnTo>
                  <a:lnTo>
                    <a:pt x="193" y="631"/>
                  </a:lnTo>
                  <a:lnTo>
                    <a:pt x="184" y="554"/>
                  </a:lnTo>
                  <a:lnTo>
                    <a:pt x="188" y="501"/>
                  </a:lnTo>
                  <a:lnTo>
                    <a:pt x="188" y="409"/>
                  </a:lnTo>
                  <a:lnTo>
                    <a:pt x="199" y="388"/>
                  </a:lnTo>
                  <a:lnTo>
                    <a:pt x="210" y="388"/>
                  </a:lnTo>
                  <a:lnTo>
                    <a:pt x="229" y="381"/>
                  </a:lnTo>
                  <a:lnTo>
                    <a:pt x="233" y="362"/>
                  </a:lnTo>
                  <a:lnTo>
                    <a:pt x="228" y="330"/>
                  </a:lnTo>
                  <a:lnTo>
                    <a:pt x="233" y="312"/>
                  </a:lnTo>
                  <a:lnTo>
                    <a:pt x="261" y="289"/>
                  </a:lnTo>
                  <a:lnTo>
                    <a:pt x="271" y="273"/>
                  </a:lnTo>
                  <a:lnTo>
                    <a:pt x="294" y="192"/>
                  </a:lnTo>
                  <a:lnTo>
                    <a:pt x="275" y="155"/>
                  </a:lnTo>
                  <a:lnTo>
                    <a:pt x="269" y="115"/>
                  </a:lnTo>
                  <a:lnTo>
                    <a:pt x="271" y="72"/>
                  </a:lnTo>
                  <a:lnTo>
                    <a:pt x="232" y="46"/>
                  </a:lnTo>
                  <a:lnTo>
                    <a:pt x="185" y="0"/>
                  </a:lnTo>
                  <a:lnTo>
                    <a:pt x="171" y="4"/>
                  </a:lnTo>
                  <a:lnTo>
                    <a:pt x="144" y="19"/>
                  </a:lnTo>
                  <a:lnTo>
                    <a:pt x="151" y="39"/>
                  </a:lnTo>
                  <a:lnTo>
                    <a:pt x="140" y="79"/>
                  </a:lnTo>
                  <a:lnTo>
                    <a:pt x="122" y="104"/>
                  </a:lnTo>
                  <a:lnTo>
                    <a:pt x="106" y="113"/>
                  </a:lnTo>
                  <a:lnTo>
                    <a:pt x="74" y="108"/>
                  </a:lnTo>
                  <a:lnTo>
                    <a:pt x="56" y="111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65" name="Freeform 102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2650" y="2583"/>
              <a:ext cx="63" cy="113"/>
            </a:xfrm>
            <a:custGeom>
              <a:avLst/>
              <a:gdLst>
                <a:gd name="T0" fmla="*/ 320 w 428"/>
                <a:gd name="T1" fmla="*/ 7 h 756"/>
                <a:gd name="T2" fmla="*/ 286 w 428"/>
                <a:gd name="T3" fmla="*/ 0 h 756"/>
                <a:gd name="T4" fmla="*/ 242 w 428"/>
                <a:gd name="T5" fmla="*/ 25 h 756"/>
                <a:gd name="T6" fmla="*/ 49 w 428"/>
                <a:gd name="T7" fmla="*/ 23 h 756"/>
                <a:gd name="T8" fmla="*/ 37 w 428"/>
                <a:gd name="T9" fmla="*/ 32 h 756"/>
                <a:gd name="T10" fmla="*/ 30 w 428"/>
                <a:gd name="T11" fmla="*/ 49 h 756"/>
                <a:gd name="T12" fmla="*/ 42 w 428"/>
                <a:gd name="T13" fmla="*/ 153 h 756"/>
                <a:gd name="T14" fmla="*/ 42 w 428"/>
                <a:gd name="T15" fmla="*/ 175 h 756"/>
                <a:gd name="T16" fmla="*/ 35 w 428"/>
                <a:gd name="T17" fmla="*/ 183 h 756"/>
                <a:gd name="T18" fmla="*/ 42 w 428"/>
                <a:gd name="T19" fmla="*/ 192 h 756"/>
                <a:gd name="T20" fmla="*/ 65 w 428"/>
                <a:gd name="T21" fmla="*/ 335 h 756"/>
                <a:gd name="T22" fmla="*/ 56 w 428"/>
                <a:gd name="T23" fmla="*/ 367 h 756"/>
                <a:gd name="T24" fmla="*/ 33 w 428"/>
                <a:gd name="T25" fmla="*/ 413 h 756"/>
                <a:gd name="T26" fmla="*/ 0 w 428"/>
                <a:gd name="T27" fmla="*/ 534 h 756"/>
                <a:gd name="T28" fmla="*/ 4 w 428"/>
                <a:gd name="T29" fmla="*/ 571 h 756"/>
                <a:gd name="T30" fmla="*/ 16 w 428"/>
                <a:gd name="T31" fmla="*/ 609 h 756"/>
                <a:gd name="T32" fmla="*/ 41 w 428"/>
                <a:gd name="T33" fmla="*/ 671 h 756"/>
                <a:gd name="T34" fmla="*/ 44 w 428"/>
                <a:gd name="T35" fmla="*/ 710 h 756"/>
                <a:gd name="T36" fmla="*/ 47 w 428"/>
                <a:gd name="T37" fmla="*/ 715 h 756"/>
                <a:gd name="T38" fmla="*/ 114 w 428"/>
                <a:gd name="T39" fmla="*/ 756 h 756"/>
                <a:gd name="T40" fmla="*/ 156 w 428"/>
                <a:gd name="T41" fmla="*/ 726 h 756"/>
                <a:gd name="T42" fmla="*/ 253 w 428"/>
                <a:gd name="T43" fmla="*/ 684 h 756"/>
                <a:gd name="T44" fmla="*/ 302 w 428"/>
                <a:gd name="T45" fmla="*/ 654 h 756"/>
                <a:gd name="T46" fmla="*/ 322 w 428"/>
                <a:gd name="T47" fmla="*/ 645 h 756"/>
                <a:gd name="T48" fmla="*/ 366 w 428"/>
                <a:gd name="T49" fmla="*/ 636 h 756"/>
                <a:gd name="T50" fmla="*/ 393 w 428"/>
                <a:gd name="T51" fmla="*/ 638 h 756"/>
                <a:gd name="T52" fmla="*/ 406 w 428"/>
                <a:gd name="T53" fmla="*/ 632 h 756"/>
                <a:gd name="T54" fmla="*/ 428 w 428"/>
                <a:gd name="T55" fmla="*/ 595 h 756"/>
                <a:gd name="T56" fmla="*/ 394 w 428"/>
                <a:gd name="T57" fmla="*/ 564 h 756"/>
                <a:gd name="T58" fmla="*/ 373 w 428"/>
                <a:gd name="T59" fmla="*/ 534 h 756"/>
                <a:gd name="T60" fmla="*/ 366 w 428"/>
                <a:gd name="T61" fmla="*/ 509 h 756"/>
                <a:gd name="T62" fmla="*/ 364 w 428"/>
                <a:gd name="T63" fmla="*/ 370 h 756"/>
                <a:gd name="T64" fmla="*/ 373 w 428"/>
                <a:gd name="T65" fmla="*/ 351 h 756"/>
                <a:gd name="T66" fmla="*/ 385 w 428"/>
                <a:gd name="T67" fmla="*/ 339 h 756"/>
                <a:gd name="T68" fmla="*/ 384 w 428"/>
                <a:gd name="T69" fmla="*/ 330 h 756"/>
                <a:gd name="T70" fmla="*/ 361 w 428"/>
                <a:gd name="T71" fmla="*/ 287 h 756"/>
                <a:gd name="T72" fmla="*/ 342 w 428"/>
                <a:gd name="T73" fmla="*/ 198 h 756"/>
                <a:gd name="T74" fmla="*/ 340 w 428"/>
                <a:gd name="T75" fmla="*/ 176 h 756"/>
                <a:gd name="T76" fmla="*/ 350 w 428"/>
                <a:gd name="T77" fmla="*/ 139 h 756"/>
                <a:gd name="T78" fmla="*/ 339 w 428"/>
                <a:gd name="T79" fmla="*/ 115 h 756"/>
                <a:gd name="T80" fmla="*/ 311 w 428"/>
                <a:gd name="T81" fmla="*/ 65 h 756"/>
                <a:gd name="T82" fmla="*/ 308 w 428"/>
                <a:gd name="T83" fmla="*/ 53 h 756"/>
                <a:gd name="T84" fmla="*/ 320 w 428"/>
                <a:gd name="T85" fmla="*/ 7 h 75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28"/>
                <a:gd name="T130" fmla="*/ 0 h 756"/>
                <a:gd name="T131" fmla="*/ 428 w 428"/>
                <a:gd name="T132" fmla="*/ 756 h 75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28" h="756">
                  <a:moveTo>
                    <a:pt x="320" y="7"/>
                  </a:moveTo>
                  <a:lnTo>
                    <a:pt x="286" y="0"/>
                  </a:lnTo>
                  <a:lnTo>
                    <a:pt x="242" y="25"/>
                  </a:lnTo>
                  <a:lnTo>
                    <a:pt x="49" y="23"/>
                  </a:lnTo>
                  <a:lnTo>
                    <a:pt x="37" y="32"/>
                  </a:lnTo>
                  <a:lnTo>
                    <a:pt x="30" y="49"/>
                  </a:lnTo>
                  <a:lnTo>
                    <a:pt x="42" y="153"/>
                  </a:lnTo>
                  <a:lnTo>
                    <a:pt x="42" y="175"/>
                  </a:lnTo>
                  <a:lnTo>
                    <a:pt x="35" y="183"/>
                  </a:lnTo>
                  <a:lnTo>
                    <a:pt x="42" y="192"/>
                  </a:lnTo>
                  <a:lnTo>
                    <a:pt x="65" y="335"/>
                  </a:lnTo>
                  <a:lnTo>
                    <a:pt x="56" y="367"/>
                  </a:lnTo>
                  <a:lnTo>
                    <a:pt x="33" y="413"/>
                  </a:lnTo>
                  <a:lnTo>
                    <a:pt x="0" y="534"/>
                  </a:lnTo>
                  <a:lnTo>
                    <a:pt x="4" y="571"/>
                  </a:lnTo>
                  <a:lnTo>
                    <a:pt x="16" y="609"/>
                  </a:lnTo>
                  <a:lnTo>
                    <a:pt x="41" y="671"/>
                  </a:lnTo>
                  <a:lnTo>
                    <a:pt x="44" y="710"/>
                  </a:lnTo>
                  <a:lnTo>
                    <a:pt x="47" y="715"/>
                  </a:lnTo>
                  <a:lnTo>
                    <a:pt x="114" y="756"/>
                  </a:lnTo>
                  <a:lnTo>
                    <a:pt x="156" y="726"/>
                  </a:lnTo>
                  <a:lnTo>
                    <a:pt x="253" y="684"/>
                  </a:lnTo>
                  <a:lnTo>
                    <a:pt x="302" y="654"/>
                  </a:lnTo>
                  <a:lnTo>
                    <a:pt x="322" y="645"/>
                  </a:lnTo>
                  <a:lnTo>
                    <a:pt x="366" y="636"/>
                  </a:lnTo>
                  <a:lnTo>
                    <a:pt x="393" y="638"/>
                  </a:lnTo>
                  <a:lnTo>
                    <a:pt x="406" y="632"/>
                  </a:lnTo>
                  <a:lnTo>
                    <a:pt x="428" y="595"/>
                  </a:lnTo>
                  <a:lnTo>
                    <a:pt x="394" y="564"/>
                  </a:lnTo>
                  <a:lnTo>
                    <a:pt x="373" y="534"/>
                  </a:lnTo>
                  <a:lnTo>
                    <a:pt x="366" y="509"/>
                  </a:lnTo>
                  <a:lnTo>
                    <a:pt x="364" y="370"/>
                  </a:lnTo>
                  <a:lnTo>
                    <a:pt x="373" y="351"/>
                  </a:lnTo>
                  <a:lnTo>
                    <a:pt x="385" y="339"/>
                  </a:lnTo>
                  <a:lnTo>
                    <a:pt x="384" y="330"/>
                  </a:lnTo>
                  <a:lnTo>
                    <a:pt x="361" y="287"/>
                  </a:lnTo>
                  <a:lnTo>
                    <a:pt x="342" y="198"/>
                  </a:lnTo>
                  <a:lnTo>
                    <a:pt x="340" y="176"/>
                  </a:lnTo>
                  <a:lnTo>
                    <a:pt x="350" y="139"/>
                  </a:lnTo>
                  <a:lnTo>
                    <a:pt x="339" y="115"/>
                  </a:lnTo>
                  <a:lnTo>
                    <a:pt x="311" y="65"/>
                  </a:lnTo>
                  <a:lnTo>
                    <a:pt x="308" y="53"/>
                  </a:lnTo>
                  <a:lnTo>
                    <a:pt x="320" y="7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66" name="Freeform 103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2695" y="2585"/>
              <a:ext cx="27" cy="88"/>
            </a:xfrm>
            <a:custGeom>
              <a:avLst/>
              <a:gdLst>
                <a:gd name="T0" fmla="*/ 96 w 178"/>
                <a:gd name="T1" fmla="*/ 19 h 588"/>
                <a:gd name="T2" fmla="*/ 83 w 178"/>
                <a:gd name="T3" fmla="*/ 18 h 588"/>
                <a:gd name="T4" fmla="*/ 56 w 178"/>
                <a:gd name="T5" fmla="*/ 9 h 588"/>
                <a:gd name="T6" fmla="*/ 12 w 178"/>
                <a:gd name="T7" fmla="*/ 0 h 588"/>
                <a:gd name="T8" fmla="*/ 0 w 178"/>
                <a:gd name="T9" fmla="*/ 46 h 588"/>
                <a:gd name="T10" fmla="*/ 3 w 178"/>
                <a:gd name="T11" fmla="*/ 58 h 588"/>
                <a:gd name="T12" fmla="*/ 31 w 178"/>
                <a:gd name="T13" fmla="*/ 108 h 588"/>
                <a:gd name="T14" fmla="*/ 42 w 178"/>
                <a:gd name="T15" fmla="*/ 132 h 588"/>
                <a:gd name="T16" fmla="*/ 32 w 178"/>
                <a:gd name="T17" fmla="*/ 169 h 588"/>
                <a:gd name="T18" fmla="*/ 34 w 178"/>
                <a:gd name="T19" fmla="*/ 191 h 588"/>
                <a:gd name="T20" fmla="*/ 53 w 178"/>
                <a:gd name="T21" fmla="*/ 280 h 588"/>
                <a:gd name="T22" fmla="*/ 76 w 178"/>
                <a:gd name="T23" fmla="*/ 323 h 588"/>
                <a:gd name="T24" fmla="*/ 77 w 178"/>
                <a:gd name="T25" fmla="*/ 332 h 588"/>
                <a:gd name="T26" fmla="*/ 65 w 178"/>
                <a:gd name="T27" fmla="*/ 344 h 588"/>
                <a:gd name="T28" fmla="*/ 56 w 178"/>
                <a:gd name="T29" fmla="*/ 363 h 588"/>
                <a:gd name="T30" fmla="*/ 58 w 178"/>
                <a:gd name="T31" fmla="*/ 502 h 588"/>
                <a:gd name="T32" fmla="*/ 65 w 178"/>
                <a:gd name="T33" fmla="*/ 527 h 588"/>
                <a:gd name="T34" fmla="*/ 86 w 178"/>
                <a:gd name="T35" fmla="*/ 557 h 588"/>
                <a:gd name="T36" fmla="*/ 120 w 178"/>
                <a:gd name="T37" fmla="*/ 588 h 588"/>
                <a:gd name="T38" fmla="*/ 120 w 178"/>
                <a:gd name="T39" fmla="*/ 587 h 588"/>
                <a:gd name="T40" fmla="*/ 137 w 178"/>
                <a:gd name="T41" fmla="*/ 576 h 588"/>
                <a:gd name="T42" fmla="*/ 159 w 178"/>
                <a:gd name="T43" fmla="*/ 569 h 588"/>
                <a:gd name="T44" fmla="*/ 178 w 178"/>
                <a:gd name="T45" fmla="*/ 567 h 588"/>
                <a:gd name="T46" fmla="*/ 174 w 178"/>
                <a:gd name="T47" fmla="*/ 557 h 588"/>
                <a:gd name="T48" fmla="*/ 161 w 178"/>
                <a:gd name="T49" fmla="*/ 500 h 588"/>
                <a:gd name="T50" fmla="*/ 169 w 178"/>
                <a:gd name="T51" fmla="*/ 463 h 588"/>
                <a:gd name="T52" fmla="*/ 161 w 178"/>
                <a:gd name="T53" fmla="*/ 235 h 588"/>
                <a:gd name="T54" fmla="*/ 133 w 178"/>
                <a:gd name="T55" fmla="*/ 127 h 588"/>
                <a:gd name="T56" fmla="*/ 95 w 178"/>
                <a:gd name="T57" fmla="*/ 95 h 588"/>
                <a:gd name="T58" fmla="*/ 88 w 178"/>
                <a:gd name="T59" fmla="*/ 74 h 588"/>
                <a:gd name="T60" fmla="*/ 96 w 178"/>
                <a:gd name="T61" fmla="*/ 19 h 58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78"/>
                <a:gd name="T94" fmla="*/ 0 h 588"/>
                <a:gd name="T95" fmla="*/ 178 w 178"/>
                <a:gd name="T96" fmla="*/ 588 h 588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78" h="588">
                  <a:moveTo>
                    <a:pt x="96" y="19"/>
                  </a:moveTo>
                  <a:lnTo>
                    <a:pt x="83" y="18"/>
                  </a:lnTo>
                  <a:lnTo>
                    <a:pt x="56" y="9"/>
                  </a:lnTo>
                  <a:lnTo>
                    <a:pt x="12" y="0"/>
                  </a:lnTo>
                  <a:lnTo>
                    <a:pt x="0" y="46"/>
                  </a:lnTo>
                  <a:lnTo>
                    <a:pt x="3" y="58"/>
                  </a:lnTo>
                  <a:lnTo>
                    <a:pt x="31" y="108"/>
                  </a:lnTo>
                  <a:lnTo>
                    <a:pt x="42" y="132"/>
                  </a:lnTo>
                  <a:lnTo>
                    <a:pt x="32" y="169"/>
                  </a:lnTo>
                  <a:lnTo>
                    <a:pt x="34" y="191"/>
                  </a:lnTo>
                  <a:lnTo>
                    <a:pt x="53" y="280"/>
                  </a:lnTo>
                  <a:lnTo>
                    <a:pt x="76" y="323"/>
                  </a:lnTo>
                  <a:lnTo>
                    <a:pt x="77" y="332"/>
                  </a:lnTo>
                  <a:lnTo>
                    <a:pt x="65" y="344"/>
                  </a:lnTo>
                  <a:lnTo>
                    <a:pt x="56" y="363"/>
                  </a:lnTo>
                  <a:lnTo>
                    <a:pt x="58" y="502"/>
                  </a:lnTo>
                  <a:lnTo>
                    <a:pt x="65" y="527"/>
                  </a:lnTo>
                  <a:lnTo>
                    <a:pt x="86" y="557"/>
                  </a:lnTo>
                  <a:lnTo>
                    <a:pt x="120" y="588"/>
                  </a:lnTo>
                  <a:lnTo>
                    <a:pt x="120" y="587"/>
                  </a:lnTo>
                  <a:lnTo>
                    <a:pt x="137" y="576"/>
                  </a:lnTo>
                  <a:lnTo>
                    <a:pt x="159" y="569"/>
                  </a:lnTo>
                  <a:lnTo>
                    <a:pt x="178" y="567"/>
                  </a:lnTo>
                  <a:lnTo>
                    <a:pt x="174" y="557"/>
                  </a:lnTo>
                  <a:lnTo>
                    <a:pt x="161" y="500"/>
                  </a:lnTo>
                  <a:lnTo>
                    <a:pt x="169" y="463"/>
                  </a:lnTo>
                  <a:lnTo>
                    <a:pt x="161" y="235"/>
                  </a:lnTo>
                  <a:lnTo>
                    <a:pt x="133" y="127"/>
                  </a:lnTo>
                  <a:lnTo>
                    <a:pt x="95" y="95"/>
                  </a:lnTo>
                  <a:lnTo>
                    <a:pt x="88" y="74"/>
                  </a:lnTo>
                  <a:lnTo>
                    <a:pt x="96" y="19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67" name="Freeform 104"/>
            <p:cNvSpPr>
              <a:spLocks/>
            </p:cNvSpPr>
            <p:nvPr>
              <p:custDataLst>
                <p:tags r:id="rId95"/>
              </p:custDataLst>
            </p:nvPr>
          </p:nvSpPr>
          <p:spPr bwMode="auto">
            <a:xfrm>
              <a:off x="2570" y="2592"/>
              <a:ext cx="89" cy="109"/>
            </a:xfrm>
            <a:custGeom>
              <a:avLst/>
              <a:gdLst>
                <a:gd name="T0" fmla="*/ 33 w 590"/>
                <a:gd name="T1" fmla="*/ 115 h 740"/>
                <a:gd name="T2" fmla="*/ 73 w 590"/>
                <a:gd name="T3" fmla="*/ 157 h 740"/>
                <a:gd name="T4" fmla="*/ 78 w 590"/>
                <a:gd name="T5" fmla="*/ 189 h 740"/>
                <a:gd name="T6" fmla="*/ 76 w 590"/>
                <a:gd name="T7" fmla="*/ 228 h 740"/>
                <a:gd name="T8" fmla="*/ 108 w 590"/>
                <a:gd name="T9" fmla="*/ 268 h 740"/>
                <a:gd name="T10" fmla="*/ 85 w 590"/>
                <a:gd name="T11" fmla="*/ 275 h 740"/>
                <a:gd name="T12" fmla="*/ 48 w 590"/>
                <a:gd name="T13" fmla="*/ 267 h 740"/>
                <a:gd name="T14" fmla="*/ 39 w 590"/>
                <a:gd name="T15" fmla="*/ 282 h 740"/>
                <a:gd name="T16" fmla="*/ 60 w 590"/>
                <a:gd name="T17" fmla="*/ 323 h 740"/>
                <a:gd name="T18" fmla="*/ 26 w 590"/>
                <a:gd name="T19" fmla="*/ 372 h 740"/>
                <a:gd name="T20" fmla="*/ 20 w 590"/>
                <a:gd name="T21" fmla="*/ 386 h 740"/>
                <a:gd name="T22" fmla="*/ 23 w 590"/>
                <a:gd name="T23" fmla="*/ 439 h 740"/>
                <a:gd name="T24" fmla="*/ 4 w 590"/>
                <a:gd name="T25" fmla="*/ 493 h 740"/>
                <a:gd name="T26" fmla="*/ 29 w 590"/>
                <a:gd name="T27" fmla="*/ 509 h 740"/>
                <a:gd name="T28" fmla="*/ 110 w 590"/>
                <a:gd name="T29" fmla="*/ 578 h 740"/>
                <a:gd name="T30" fmla="*/ 113 w 590"/>
                <a:gd name="T31" fmla="*/ 615 h 740"/>
                <a:gd name="T32" fmla="*/ 96 w 590"/>
                <a:gd name="T33" fmla="*/ 738 h 740"/>
                <a:gd name="T34" fmla="*/ 110 w 590"/>
                <a:gd name="T35" fmla="*/ 740 h 740"/>
                <a:gd name="T36" fmla="*/ 347 w 590"/>
                <a:gd name="T37" fmla="*/ 634 h 740"/>
                <a:gd name="T38" fmla="*/ 509 w 590"/>
                <a:gd name="T39" fmla="*/ 645 h 740"/>
                <a:gd name="T40" fmla="*/ 535 w 590"/>
                <a:gd name="T41" fmla="*/ 643 h 740"/>
                <a:gd name="T42" fmla="*/ 550 w 590"/>
                <a:gd name="T43" fmla="*/ 631 h 740"/>
                <a:gd name="T44" fmla="*/ 569 w 590"/>
                <a:gd name="T45" fmla="*/ 652 h 740"/>
                <a:gd name="T46" fmla="*/ 541 w 590"/>
                <a:gd name="T47" fmla="*/ 551 h 740"/>
                <a:gd name="T48" fmla="*/ 525 w 590"/>
                <a:gd name="T49" fmla="*/ 476 h 740"/>
                <a:gd name="T50" fmla="*/ 581 w 590"/>
                <a:gd name="T51" fmla="*/ 309 h 740"/>
                <a:gd name="T52" fmla="*/ 567 w 590"/>
                <a:gd name="T53" fmla="*/ 134 h 740"/>
                <a:gd name="T54" fmla="*/ 532 w 590"/>
                <a:gd name="T55" fmla="*/ 102 h 740"/>
                <a:gd name="T56" fmla="*/ 469 w 590"/>
                <a:gd name="T57" fmla="*/ 97 h 740"/>
                <a:gd name="T58" fmla="*/ 422 w 590"/>
                <a:gd name="T59" fmla="*/ 120 h 740"/>
                <a:gd name="T60" fmla="*/ 391 w 590"/>
                <a:gd name="T61" fmla="*/ 122 h 740"/>
                <a:gd name="T62" fmla="*/ 347 w 590"/>
                <a:gd name="T63" fmla="*/ 80 h 740"/>
                <a:gd name="T64" fmla="*/ 327 w 590"/>
                <a:gd name="T65" fmla="*/ 42 h 740"/>
                <a:gd name="T66" fmla="*/ 292 w 590"/>
                <a:gd name="T67" fmla="*/ 34 h 740"/>
                <a:gd name="T68" fmla="*/ 243 w 590"/>
                <a:gd name="T69" fmla="*/ 62 h 740"/>
                <a:gd name="T70" fmla="*/ 231 w 590"/>
                <a:gd name="T71" fmla="*/ 30 h 740"/>
                <a:gd name="T72" fmla="*/ 224 w 590"/>
                <a:gd name="T73" fmla="*/ 2 h 740"/>
                <a:gd name="T74" fmla="*/ 203 w 590"/>
                <a:gd name="T75" fmla="*/ 7 h 740"/>
                <a:gd name="T76" fmla="*/ 161 w 590"/>
                <a:gd name="T77" fmla="*/ 57 h 740"/>
                <a:gd name="T78" fmla="*/ 125 w 590"/>
                <a:gd name="T79" fmla="*/ 46 h 740"/>
                <a:gd name="T80" fmla="*/ 85 w 590"/>
                <a:gd name="T81" fmla="*/ 32 h 74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590"/>
                <a:gd name="T124" fmla="*/ 0 h 740"/>
                <a:gd name="T125" fmla="*/ 590 w 590"/>
                <a:gd name="T126" fmla="*/ 740 h 74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590" h="740">
                  <a:moveTo>
                    <a:pt x="45" y="81"/>
                  </a:moveTo>
                  <a:lnTo>
                    <a:pt x="33" y="115"/>
                  </a:lnTo>
                  <a:lnTo>
                    <a:pt x="44" y="136"/>
                  </a:lnTo>
                  <a:lnTo>
                    <a:pt x="73" y="157"/>
                  </a:lnTo>
                  <a:lnTo>
                    <a:pt x="82" y="175"/>
                  </a:lnTo>
                  <a:lnTo>
                    <a:pt x="78" y="189"/>
                  </a:lnTo>
                  <a:lnTo>
                    <a:pt x="63" y="208"/>
                  </a:lnTo>
                  <a:lnTo>
                    <a:pt x="76" y="228"/>
                  </a:lnTo>
                  <a:lnTo>
                    <a:pt x="105" y="258"/>
                  </a:lnTo>
                  <a:lnTo>
                    <a:pt x="108" y="268"/>
                  </a:lnTo>
                  <a:lnTo>
                    <a:pt x="98" y="277"/>
                  </a:lnTo>
                  <a:lnTo>
                    <a:pt x="85" y="275"/>
                  </a:lnTo>
                  <a:lnTo>
                    <a:pt x="61" y="265"/>
                  </a:lnTo>
                  <a:lnTo>
                    <a:pt x="48" y="267"/>
                  </a:lnTo>
                  <a:lnTo>
                    <a:pt x="41" y="277"/>
                  </a:lnTo>
                  <a:lnTo>
                    <a:pt x="39" y="282"/>
                  </a:lnTo>
                  <a:lnTo>
                    <a:pt x="53" y="312"/>
                  </a:lnTo>
                  <a:lnTo>
                    <a:pt x="60" y="323"/>
                  </a:lnTo>
                  <a:lnTo>
                    <a:pt x="53" y="342"/>
                  </a:lnTo>
                  <a:lnTo>
                    <a:pt x="26" y="372"/>
                  </a:lnTo>
                  <a:lnTo>
                    <a:pt x="23" y="377"/>
                  </a:lnTo>
                  <a:lnTo>
                    <a:pt x="20" y="386"/>
                  </a:lnTo>
                  <a:lnTo>
                    <a:pt x="26" y="416"/>
                  </a:lnTo>
                  <a:lnTo>
                    <a:pt x="23" y="439"/>
                  </a:lnTo>
                  <a:lnTo>
                    <a:pt x="0" y="484"/>
                  </a:lnTo>
                  <a:lnTo>
                    <a:pt x="4" y="493"/>
                  </a:lnTo>
                  <a:lnTo>
                    <a:pt x="12" y="504"/>
                  </a:lnTo>
                  <a:lnTo>
                    <a:pt x="29" y="509"/>
                  </a:lnTo>
                  <a:lnTo>
                    <a:pt x="54" y="507"/>
                  </a:lnTo>
                  <a:lnTo>
                    <a:pt x="110" y="578"/>
                  </a:lnTo>
                  <a:lnTo>
                    <a:pt x="117" y="592"/>
                  </a:lnTo>
                  <a:lnTo>
                    <a:pt x="113" y="615"/>
                  </a:lnTo>
                  <a:lnTo>
                    <a:pt x="97" y="691"/>
                  </a:lnTo>
                  <a:lnTo>
                    <a:pt x="96" y="738"/>
                  </a:lnTo>
                  <a:lnTo>
                    <a:pt x="100" y="740"/>
                  </a:lnTo>
                  <a:lnTo>
                    <a:pt x="110" y="740"/>
                  </a:lnTo>
                  <a:lnTo>
                    <a:pt x="219" y="677"/>
                  </a:lnTo>
                  <a:lnTo>
                    <a:pt x="347" y="634"/>
                  </a:lnTo>
                  <a:lnTo>
                    <a:pt x="452" y="631"/>
                  </a:lnTo>
                  <a:lnTo>
                    <a:pt x="509" y="645"/>
                  </a:lnTo>
                  <a:lnTo>
                    <a:pt x="530" y="647"/>
                  </a:lnTo>
                  <a:lnTo>
                    <a:pt x="535" y="643"/>
                  </a:lnTo>
                  <a:lnTo>
                    <a:pt x="541" y="631"/>
                  </a:lnTo>
                  <a:lnTo>
                    <a:pt x="550" y="631"/>
                  </a:lnTo>
                  <a:lnTo>
                    <a:pt x="563" y="641"/>
                  </a:lnTo>
                  <a:lnTo>
                    <a:pt x="569" y="652"/>
                  </a:lnTo>
                  <a:lnTo>
                    <a:pt x="566" y="613"/>
                  </a:lnTo>
                  <a:lnTo>
                    <a:pt x="541" y="551"/>
                  </a:lnTo>
                  <a:lnTo>
                    <a:pt x="529" y="513"/>
                  </a:lnTo>
                  <a:lnTo>
                    <a:pt x="525" y="476"/>
                  </a:lnTo>
                  <a:lnTo>
                    <a:pt x="558" y="355"/>
                  </a:lnTo>
                  <a:lnTo>
                    <a:pt x="581" y="309"/>
                  </a:lnTo>
                  <a:lnTo>
                    <a:pt x="590" y="277"/>
                  </a:lnTo>
                  <a:lnTo>
                    <a:pt x="567" y="134"/>
                  </a:lnTo>
                  <a:lnTo>
                    <a:pt x="560" y="125"/>
                  </a:lnTo>
                  <a:lnTo>
                    <a:pt x="532" y="102"/>
                  </a:lnTo>
                  <a:lnTo>
                    <a:pt x="504" y="94"/>
                  </a:lnTo>
                  <a:lnTo>
                    <a:pt x="469" y="97"/>
                  </a:lnTo>
                  <a:lnTo>
                    <a:pt x="443" y="106"/>
                  </a:lnTo>
                  <a:lnTo>
                    <a:pt x="422" y="120"/>
                  </a:lnTo>
                  <a:lnTo>
                    <a:pt x="407" y="125"/>
                  </a:lnTo>
                  <a:lnTo>
                    <a:pt x="391" y="122"/>
                  </a:lnTo>
                  <a:lnTo>
                    <a:pt x="371" y="110"/>
                  </a:lnTo>
                  <a:lnTo>
                    <a:pt x="347" y="80"/>
                  </a:lnTo>
                  <a:lnTo>
                    <a:pt x="342" y="55"/>
                  </a:lnTo>
                  <a:lnTo>
                    <a:pt x="327" y="42"/>
                  </a:lnTo>
                  <a:lnTo>
                    <a:pt x="304" y="42"/>
                  </a:lnTo>
                  <a:lnTo>
                    <a:pt x="292" y="34"/>
                  </a:lnTo>
                  <a:lnTo>
                    <a:pt x="259" y="60"/>
                  </a:lnTo>
                  <a:lnTo>
                    <a:pt x="243" y="62"/>
                  </a:lnTo>
                  <a:lnTo>
                    <a:pt x="236" y="50"/>
                  </a:lnTo>
                  <a:lnTo>
                    <a:pt x="231" y="30"/>
                  </a:lnTo>
                  <a:lnTo>
                    <a:pt x="231" y="14"/>
                  </a:lnTo>
                  <a:lnTo>
                    <a:pt x="224" y="2"/>
                  </a:lnTo>
                  <a:lnTo>
                    <a:pt x="212" y="0"/>
                  </a:lnTo>
                  <a:lnTo>
                    <a:pt x="203" y="7"/>
                  </a:lnTo>
                  <a:lnTo>
                    <a:pt x="178" y="32"/>
                  </a:lnTo>
                  <a:lnTo>
                    <a:pt x="161" y="57"/>
                  </a:lnTo>
                  <a:lnTo>
                    <a:pt x="146" y="69"/>
                  </a:lnTo>
                  <a:lnTo>
                    <a:pt x="125" y="46"/>
                  </a:lnTo>
                  <a:lnTo>
                    <a:pt x="100" y="28"/>
                  </a:lnTo>
                  <a:lnTo>
                    <a:pt x="85" y="32"/>
                  </a:lnTo>
                  <a:lnTo>
                    <a:pt x="45" y="81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68" name="Freeform 105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2860" y="2716"/>
              <a:ext cx="109" cy="148"/>
            </a:xfrm>
            <a:custGeom>
              <a:avLst/>
              <a:gdLst>
                <a:gd name="T0" fmla="*/ 683 w 727"/>
                <a:gd name="T1" fmla="*/ 125 h 998"/>
                <a:gd name="T2" fmla="*/ 725 w 727"/>
                <a:gd name="T3" fmla="*/ 19 h 998"/>
                <a:gd name="T4" fmla="*/ 721 w 727"/>
                <a:gd name="T5" fmla="*/ 0 h 998"/>
                <a:gd name="T6" fmla="*/ 605 w 727"/>
                <a:gd name="T7" fmla="*/ 0 h 998"/>
                <a:gd name="T8" fmla="*/ 542 w 727"/>
                <a:gd name="T9" fmla="*/ 16 h 998"/>
                <a:gd name="T10" fmla="*/ 513 w 727"/>
                <a:gd name="T11" fmla="*/ 121 h 998"/>
                <a:gd name="T12" fmla="*/ 481 w 727"/>
                <a:gd name="T13" fmla="*/ 218 h 998"/>
                <a:gd name="T14" fmla="*/ 342 w 727"/>
                <a:gd name="T15" fmla="*/ 174 h 998"/>
                <a:gd name="T16" fmla="*/ 308 w 727"/>
                <a:gd name="T17" fmla="*/ 169 h 998"/>
                <a:gd name="T18" fmla="*/ 208 w 727"/>
                <a:gd name="T19" fmla="*/ 166 h 998"/>
                <a:gd name="T20" fmla="*/ 187 w 727"/>
                <a:gd name="T21" fmla="*/ 227 h 998"/>
                <a:gd name="T22" fmla="*/ 196 w 727"/>
                <a:gd name="T23" fmla="*/ 279 h 998"/>
                <a:gd name="T24" fmla="*/ 258 w 727"/>
                <a:gd name="T25" fmla="*/ 255 h 998"/>
                <a:gd name="T26" fmla="*/ 301 w 727"/>
                <a:gd name="T27" fmla="*/ 274 h 998"/>
                <a:gd name="T28" fmla="*/ 313 w 727"/>
                <a:gd name="T29" fmla="*/ 341 h 998"/>
                <a:gd name="T30" fmla="*/ 259 w 727"/>
                <a:gd name="T31" fmla="*/ 399 h 998"/>
                <a:gd name="T32" fmla="*/ 264 w 727"/>
                <a:gd name="T33" fmla="*/ 443 h 998"/>
                <a:gd name="T34" fmla="*/ 298 w 727"/>
                <a:gd name="T35" fmla="*/ 472 h 998"/>
                <a:gd name="T36" fmla="*/ 323 w 727"/>
                <a:gd name="T37" fmla="*/ 482 h 998"/>
                <a:gd name="T38" fmla="*/ 293 w 727"/>
                <a:gd name="T39" fmla="*/ 713 h 998"/>
                <a:gd name="T40" fmla="*/ 268 w 727"/>
                <a:gd name="T41" fmla="*/ 715 h 998"/>
                <a:gd name="T42" fmla="*/ 254 w 727"/>
                <a:gd name="T43" fmla="*/ 678 h 998"/>
                <a:gd name="T44" fmla="*/ 217 w 727"/>
                <a:gd name="T45" fmla="*/ 703 h 998"/>
                <a:gd name="T46" fmla="*/ 188 w 727"/>
                <a:gd name="T47" fmla="*/ 694 h 998"/>
                <a:gd name="T48" fmla="*/ 147 w 727"/>
                <a:gd name="T49" fmla="*/ 634 h 998"/>
                <a:gd name="T50" fmla="*/ 127 w 727"/>
                <a:gd name="T51" fmla="*/ 645 h 998"/>
                <a:gd name="T52" fmla="*/ 115 w 727"/>
                <a:gd name="T53" fmla="*/ 697 h 998"/>
                <a:gd name="T54" fmla="*/ 49 w 727"/>
                <a:gd name="T55" fmla="*/ 719 h 998"/>
                <a:gd name="T56" fmla="*/ 40 w 727"/>
                <a:gd name="T57" fmla="*/ 750 h 998"/>
                <a:gd name="T58" fmla="*/ 62 w 727"/>
                <a:gd name="T59" fmla="*/ 796 h 998"/>
                <a:gd name="T60" fmla="*/ 77 w 727"/>
                <a:gd name="T61" fmla="*/ 826 h 998"/>
                <a:gd name="T62" fmla="*/ 26 w 727"/>
                <a:gd name="T63" fmla="*/ 846 h 998"/>
                <a:gd name="T64" fmla="*/ 0 w 727"/>
                <a:gd name="T65" fmla="*/ 872 h 998"/>
                <a:gd name="T66" fmla="*/ 78 w 727"/>
                <a:gd name="T67" fmla="*/ 989 h 998"/>
                <a:gd name="T68" fmla="*/ 136 w 727"/>
                <a:gd name="T69" fmla="*/ 951 h 998"/>
                <a:gd name="T70" fmla="*/ 204 w 727"/>
                <a:gd name="T71" fmla="*/ 989 h 998"/>
                <a:gd name="T72" fmla="*/ 231 w 727"/>
                <a:gd name="T73" fmla="*/ 975 h 998"/>
                <a:gd name="T74" fmla="*/ 313 w 727"/>
                <a:gd name="T75" fmla="*/ 916 h 998"/>
                <a:gd name="T76" fmla="*/ 323 w 727"/>
                <a:gd name="T77" fmla="*/ 986 h 998"/>
                <a:gd name="T78" fmla="*/ 413 w 727"/>
                <a:gd name="T79" fmla="*/ 904 h 998"/>
                <a:gd name="T80" fmla="*/ 474 w 727"/>
                <a:gd name="T81" fmla="*/ 842 h 998"/>
                <a:gd name="T82" fmla="*/ 473 w 727"/>
                <a:gd name="T83" fmla="*/ 766 h 998"/>
                <a:gd name="T84" fmla="*/ 520 w 727"/>
                <a:gd name="T85" fmla="*/ 602 h 998"/>
                <a:gd name="T86" fmla="*/ 575 w 727"/>
                <a:gd name="T87" fmla="*/ 546 h 998"/>
                <a:gd name="T88" fmla="*/ 618 w 727"/>
                <a:gd name="T89" fmla="*/ 512 h 99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727"/>
                <a:gd name="T136" fmla="*/ 0 h 998"/>
                <a:gd name="T137" fmla="*/ 727 w 727"/>
                <a:gd name="T138" fmla="*/ 998 h 99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727" h="998">
                  <a:moveTo>
                    <a:pt x="667" y="169"/>
                  </a:moveTo>
                  <a:lnTo>
                    <a:pt x="683" y="125"/>
                  </a:lnTo>
                  <a:lnTo>
                    <a:pt x="707" y="83"/>
                  </a:lnTo>
                  <a:lnTo>
                    <a:pt x="725" y="19"/>
                  </a:lnTo>
                  <a:lnTo>
                    <a:pt x="727" y="10"/>
                  </a:lnTo>
                  <a:lnTo>
                    <a:pt x="721" y="0"/>
                  </a:lnTo>
                  <a:lnTo>
                    <a:pt x="688" y="16"/>
                  </a:lnTo>
                  <a:lnTo>
                    <a:pt x="605" y="0"/>
                  </a:lnTo>
                  <a:lnTo>
                    <a:pt x="562" y="9"/>
                  </a:lnTo>
                  <a:lnTo>
                    <a:pt x="542" y="16"/>
                  </a:lnTo>
                  <a:lnTo>
                    <a:pt x="530" y="26"/>
                  </a:lnTo>
                  <a:lnTo>
                    <a:pt x="513" y="121"/>
                  </a:lnTo>
                  <a:lnTo>
                    <a:pt x="476" y="174"/>
                  </a:lnTo>
                  <a:lnTo>
                    <a:pt x="481" y="218"/>
                  </a:lnTo>
                  <a:lnTo>
                    <a:pt x="469" y="224"/>
                  </a:lnTo>
                  <a:lnTo>
                    <a:pt x="342" y="174"/>
                  </a:lnTo>
                  <a:lnTo>
                    <a:pt x="320" y="173"/>
                  </a:lnTo>
                  <a:lnTo>
                    <a:pt x="308" y="169"/>
                  </a:lnTo>
                  <a:lnTo>
                    <a:pt x="233" y="173"/>
                  </a:lnTo>
                  <a:lnTo>
                    <a:pt x="208" y="166"/>
                  </a:lnTo>
                  <a:lnTo>
                    <a:pt x="189" y="190"/>
                  </a:lnTo>
                  <a:lnTo>
                    <a:pt x="187" y="227"/>
                  </a:lnTo>
                  <a:lnTo>
                    <a:pt x="189" y="265"/>
                  </a:lnTo>
                  <a:lnTo>
                    <a:pt x="196" y="279"/>
                  </a:lnTo>
                  <a:lnTo>
                    <a:pt x="216" y="281"/>
                  </a:lnTo>
                  <a:lnTo>
                    <a:pt x="258" y="255"/>
                  </a:lnTo>
                  <a:lnTo>
                    <a:pt x="285" y="258"/>
                  </a:lnTo>
                  <a:lnTo>
                    <a:pt x="301" y="274"/>
                  </a:lnTo>
                  <a:lnTo>
                    <a:pt x="317" y="322"/>
                  </a:lnTo>
                  <a:lnTo>
                    <a:pt x="313" y="341"/>
                  </a:lnTo>
                  <a:lnTo>
                    <a:pt x="266" y="385"/>
                  </a:lnTo>
                  <a:lnTo>
                    <a:pt x="259" y="399"/>
                  </a:lnTo>
                  <a:lnTo>
                    <a:pt x="259" y="421"/>
                  </a:lnTo>
                  <a:lnTo>
                    <a:pt x="264" y="443"/>
                  </a:lnTo>
                  <a:lnTo>
                    <a:pt x="275" y="461"/>
                  </a:lnTo>
                  <a:lnTo>
                    <a:pt x="298" y="472"/>
                  </a:lnTo>
                  <a:lnTo>
                    <a:pt x="315" y="475"/>
                  </a:lnTo>
                  <a:lnTo>
                    <a:pt x="323" y="482"/>
                  </a:lnTo>
                  <a:lnTo>
                    <a:pt x="327" y="500"/>
                  </a:lnTo>
                  <a:lnTo>
                    <a:pt x="293" y="713"/>
                  </a:lnTo>
                  <a:lnTo>
                    <a:pt x="281" y="719"/>
                  </a:lnTo>
                  <a:lnTo>
                    <a:pt x="268" y="715"/>
                  </a:lnTo>
                  <a:lnTo>
                    <a:pt x="262" y="710"/>
                  </a:lnTo>
                  <a:lnTo>
                    <a:pt x="254" y="678"/>
                  </a:lnTo>
                  <a:lnTo>
                    <a:pt x="241" y="666"/>
                  </a:lnTo>
                  <a:lnTo>
                    <a:pt x="217" y="703"/>
                  </a:lnTo>
                  <a:lnTo>
                    <a:pt x="204" y="703"/>
                  </a:lnTo>
                  <a:lnTo>
                    <a:pt x="188" y="694"/>
                  </a:lnTo>
                  <a:lnTo>
                    <a:pt x="154" y="641"/>
                  </a:lnTo>
                  <a:lnTo>
                    <a:pt x="147" y="634"/>
                  </a:lnTo>
                  <a:lnTo>
                    <a:pt x="136" y="636"/>
                  </a:lnTo>
                  <a:lnTo>
                    <a:pt x="127" y="645"/>
                  </a:lnTo>
                  <a:lnTo>
                    <a:pt x="119" y="687"/>
                  </a:lnTo>
                  <a:lnTo>
                    <a:pt x="115" y="697"/>
                  </a:lnTo>
                  <a:lnTo>
                    <a:pt x="89" y="712"/>
                  </a:lnTo>
                  <a:lnTo>
                    <a:pt x="49" y="719"/>
                  </a:lnTo>
                  <a:lnTo>
                    <a:pt x="42" y="724"/>
                  </a:lnTo>
                  <a:lnTo>
                    <a:pt x="40" y="750"/>
                  </a:lnTo>
                  <a:lnTo>
                    <a:pt x="45" y="770"/>
                  </a:lnTo>
                  <a:lnTo>
                    <a:pt x="62" y="796"/>
                  </a:lnTo>
                  <a:lnTo>
                    <a:pt x="74" y="810"/>
                  </a:lnTo>
                  <a:lnTo>
                    <a:pt x="77" y="826"/>
                  </a:lnTo>
                  <a:lnTo>
                    <a:pt x="62" y="861"/>
                  </a:lnTo>
                  <a:lnTo>
                    <a:pt x="26" y="846"/>
                  </a:lnTo>
                  <a:lnTo>
                    <a:pt x="8" y="858"/>
                  </a:lnTo>
                  <a:lnTo>
                    <a:pt x="0" y="872"/>
                  </a:lnTo>
                  <a:lnTo>
                    <a:pt x="61" y="944"/>
                  </a:lnTo>
                  <a:lnTo>
                    <a:pt x="78" y="989"/>
                  </a:lnTo>
                  <a:lnTo>
                    <a:pt x="82" y="998"/>
                  </a:lnTo>
                  <a:lnTo>
                    <a:pt x="136" y="951"/>
                  </a:lnTo>
                  <a:lnTo>
                    <a:pt x="152" y="944"/>
                  </a:lnTo>
                  <a:lnTo>
                    <a:pt x="204" y="989"/>
                  </a:lnTo>
                  <a:lnTo>
                    <a:pt x="212" y="989"/>
                  </a:lnTo>
                  <a:lnTo>
                    <a:pt x="231" y="975"/>
                  </a:lnTo>
                  <a:lnTo>
                    <a:pt x="246" y="945"/>
                  </a:lnTo>
                  <a:lnTo>
                    <a:pt x="313" y="916"/>
                  </a:lnTo>
                  <a:lnTo>
                    <a:pt x="315" y="974"/>
                  </a:lnTo>
                  <a:lnTo>
                    <a:pt x="323" y="986"/>
                  </a:lnTo>
                  <a:lnTo>
                    <a:pt x="348" y="968"/>
                  </a:lnTo>
                  <a:lnTo>
                    <a:pt x="413" y="904"/>
                  </a:lnTo>
                  <a:lnTo>
                    <a:pt x="429" y="891"/>
                  </a:lnTo>
                  <a:lnTo>
                    <a:pt x="474" y="842"/>
                  </a:lnTo>
                  <a:lnTo>
                    <a:pt x="478" y="805"/>
                  </a:lnTo>
                  <a:lnTo>
                    <a:pt x="473" y="766"/>
                  </a:lnTo>
                  <a:lnTo>
                    <a:pt x="485" y="685"/>
                  </a:lnTo>
                  <a:lnTo>
                    <a:pt x="520" y="602"/>
                  </a:lnTo>
                  <a:lnTo>
                    <a:pt x="539" y="577"/>
                  </a:lnTo>
                  <a:lnTo>
                    <a:pt x="575" y="546"/>
                  </a:lnTo>
                  <a:lnTo>
                    <a:pt x="597" y="535"/>
                  </a:lnTo>
                  <a:lnTo>
                    <a:pt x="618" y="512"/>
                  </a:lnTo>
                  <a:lnTo>
                    <a:pt x="667" y="169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69" name="Freeform 106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2825" y="2737"/>
              <a:ext cx="83" cy="107"/>
            </a:xfrm>
            <a:custGeom>
              <a:avLst/>
              <a:gdLst>
                <a:gd name="T0" fmla="*/ 437 w 556"/>
                <a:gd name="T1" fmla="*/ 20 h 726"/>
                <a:gd name="T2" fmla="*/ 234 w 556"/>
                <a:gd name="T3" fmla="*/ 27 h 726"/>
                <a:gd name="T4" fmla="*/ 79 w 556"/>
                <a:gd name="T5" fmla="*/ 163 h 726"/>
                <a:gd name="T6" fmla="*/ 52 w 556"/>
                <a:gd name="T7" fmla="*/ 206 h 726"/>
                <a:gd name="T8" fmla="*/ 104 w 556"/>
                <a:gd name="T9" fmla="*/ 259 h 726"/>
                <a:gd name="T10" fmla="*/ 47 w 556"/>
                <a:gd name="T11" fmla="*/ 320 h 726"/>
                <a:gd name="T12" fmla="*/ 13 w 556"/>
                <a:gd name="T13" fmla="*/ 363 h 726"/>
                <a:gd name="T14" fmla="*/ 17 w 556"/>
                <a:gd name="T15" fmla="*/ 396 h 726"/>
                <a:gd name="T16" fmla="*/ 49 w 556"/>
                <a:gd name="T17" fmla="*/ 433 h 726"/>
                <a:gd name="T18" fmla="*/ 42 w 556"/>
                <a:gd name="T19" fmla="*/ 474 h 726"/>
                <a:gd name="T20" fmla="*/ 106 w 556"/>
                <a:gd name="T21" fmla="*/ 553 h 726"/>
                <a:gd name="T22" fmla="*/ 108 w 556"/>
                <a:gd name="T23" fmla="*/ 583 h 726"/>
                <a:gd name="T24" fmla="*/ 178 w 556"/>
                <a:gd name="T25" fmla="*/ 670 h 726"/>
                <a:gd name="T26" fmla="*/ 237 w 556"/>
                <a:gd name="T27" fmla="*/ 712 h 726"/>
                <a:gd name="T28" fmla="*/ 291 w 556"/>
                <a:gd name="T29" fmla="*/ 715 h 726"/>
                <a:gd name="T30" fmla="*/ 303 w 556"/>
                <a:gd name="T31" fmla="*/ 664 h 726"/>
                <a:gd name="T32" fmla="*/ 274 w 556"/>
                <a:gd name="T33" fmla="*/ 624 h 726"/>
                <a:gd name="T34" fmla="*/ 271 w 556"/>
                <a:gd name="T35" fmla="*/ 578 h 726"/>
                <a:gd name="T36" fmla="*/ 318 w 556"/>
                <a:gd name="T37" fmla="*/ 566 h 726"/>
                <a:gd name="T38" fmla="*/ 348 w 556"/>
                <a:gd name="T39" fmla="*/ 541 h 726"/>
                <a:gd name="T40" fmla="*/ 365 w 556"/>
                <a:gd name="T41" fmla="*/ 490 h 726"/>
                <a:gd name="T42" fmla="*/ 383 w 556"/>
                <a:gd name="T43" fmla="*/ 495 h 726"/>
                <a:gd name="T44" fmla="*/ 433 w 556"/>
                <a:gd name="T45" fmla="*/ 557 h 726"/>
                <a:gd name="T46" fmla="*/ 470 w 556"/>
                <a:gd name="T47" fmla="*/ 520 h 726"/>
                <a:gd name="T48" fmla="*/ 491 w 556"/>
                <a:gd name="T49" fmla="*/ 564 h 726"/>
                <a:gd name="T50" fmla="*/ 510 w 556"/>
                <a:gd name="T51" fmla="*/ 573 h 726"/>
                <a:gd name="T52" fmla="*/ 556 w 556"/>
                <a:gd name="T53" fmla="*/ 354 h 726"/>
                <a:gd name="T54" fmla="*/ 544 w 556"/>
                <a:gd name="T55" fmla="*/ 329 h 726"/>
                <a:gd name="T56" fmla="*/ 504 w 556"/>
                <a:gd name="T57" fmla="*/ 315 h 726"/>
                <a:gd name="T58" fmla="*/ 488 w 556"/>
                <a:gd name="T59" fmla="*/ 275 h 726"/>
                <a:gd name="T60" fmla="*/ 495 w 556"/>
                <a:gd name="T61" fmla="*/ 239 h 726"/>
                <a:gd name="T62" fmla="*/ 546 w 556"/>
                <a:gd name="T63" fmla="*/ 176 h 726"/>
                <a:gd name="T64" fmla="*/ 514 w 556"/>
                <a:gd name="T65" fmla="*/ 112 h 726"/>
                <a:gd name="T66" fmla="*/ 445 w 556"/>
                <a:gd name="T67" fmla="*/ 135 h 726"/>
                <a:gd name="T68" fmla="*/ 418 w 556"/>
                <a:gd name="T69" fmla="*/ 119 h 726"/>
                <a:gd name="T70" fmla="*/ 418 w 556"/>
                <a:gd name="T71" fmla="*/ 44 h 72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556"/>
                <a:gd name="T109" fmla="*/ 0 h 726"/>
                <a:gd name="T110" fmla="*/ 556 w 556"/>
                <a:gd name="T111" fmla="*/ 726 h 72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556" h="726">
                  <a:moveTo>
                    <a:pt x="418" y="44"/>
                  </a:moveTo>
                  <a:lnTo>
                    <a:pt x="437" y="20"/>
                  </a:lnTo>
                  <a:lnTo>
                    <a:pt x="237" y="0"/>
                  </a:lnTo>
                  <a:lnTo>
                    <a:pt x="234" y="27"/>
                  </a:lnTo>
                  <a:lnTo>
                    <a:pt x="237" y="162"/>
                  </a:lnTo>
                  <a:lnTo>
                    <a:pt x="79" y="163"/>
                  </a:lnTo>
                  <a:lnTo>
                    <a:pt x="73" y="197"/>
                  </a:lnTo>
                  <a:lnTo>
                    <a:pt x="52" y="206"/>
                  </a:lnTo>
                  <a:lnTo>
                    <a:pt x="101" y="248"/>
                  </a:lnTo>
                  <a:lnTo>
                    <a:pt x="104" y="259"/>
                  </a:lnTo>
                  <a:lnTo>
                    <a:pt x="63" y="253"/>
                  </a:lnTo>
                  <a:lnTo>
                    <a:pt x="47" y="320"/>
                  </a:lnTo>
                  <a:lnTo>
                    <a:pt x="37" y="342"/>
                  </a:lnTo>
                  <a:lnTo>
                    <a:pt x="13" y="363"/>
                  </a:lnTo>
                  <a:lnTo>
                    <a:pt x="0" y="372"/>
                  </a:lnTo>
                  <a:lnTo>
                    <a:pt x="17" y="396"/>
                  </a:lnTo>
                  <a:lnTo>
                    <a:pt x="28" y="426"/>
                  </a:lnTo>
                  <a:lnTo>
                    <a:pt x="49" y="433"/>
                  </a:lnTo>
                  <a:lnTo>
                    <a:pt x="63" y="453"/>
                  </a:lnTo>
                  <a:lnTo>
                    <a:pt x="42" y="474"/>
                  </a:lnTo>
                  <a:lnTo>
                    <a:pt x="82" y="550"/>
                  </a:lnTo>
                  <a:lnTo>
                    <a:pt x="106" y="553"/>
                  </a:lnTo>
                  <a:lnTo>
                    <a:pt x="122" y="567"/>
                  </a:lnTo>
                  <a:lnTo>
                    <a:pt x="108" y="583"/>
                  </a:lnTo>
                  <a:lnTo>
                    <a:pt x="168" y="645"/>
                  </a:lnTo>
                  <a:lnTo>
                    <a:pt x="178" y="670"/>
                  </a:lnTo>
                  <a:lnTo>
                    <a:pt x="229" y="726"/>
                  </a:lnTo>
                  <a:lnTo>
                    <a:pt x="237" y="712"/>
                  </a:lnTo>
                  <a:lnTo>
                    <a:pt x="255" y="700"/>
                  </a:lnTo>
                  <a:lnTo>
                    <a:pt x="291" y="715"/>
                  </a:lnTo>
                  <a:lnTo>
                    <a:pt x="306" y="680"/>
                  </a:lnTo>
                  <a:lnTo>
                    <a:pt x="303" y="664"/>
                  </a:lnTo>
                  <a:lnTo>
                    <a:pt x="291" y="650"/>
                  </a:lnTo>
                  <a:lnTo>
                    <a:pt x="274" y="624"/>
                  </a:lnTo>
                  <a:lnTo>
                    <a:pt x="269" y="604"/>
                  </a:lnTo>
                  <a:lnTo>
                    <a:pt x="271" y="578"/>
                  </a:lnTo>
                  <a:lnTo>
                    <a:pt x="278" y="573"/>
                  </a:lnTo>
                  <a:lnTo>
                    <a:pt x="318" y="566"/>
                  </a:lnTo>
                  <a:lnTo>
                    <a:pt x="344" y="551"/>
                  </a:lnTo>
                  <a:lnTo>
                    <a:pt x="348" y="541"/>
                  </a:lnTo>
                  <a:lnTo>
                    <a:pt x="356" y="499"/>
                  </a:lnTo>
                  <a:lnTo>
                    <a:pt x="365" y="490"/>
                  </a:lnTo>
                  <a:lnTo>
                    <a:pt x="376" y="488"/>
                  </a:lnTo>
                  <a:lnTo>
                    <a:pt x="383" y="495"/>
                  </a:lnTo>
                  <a:lnTo>
                    <a:pt x="417" y="548"/>
                  </a:lnTo>
                  <a:lnTo>
                    <a:pt x="433" y="557"/>
                  </a:lnTo>
                  <a:lnTo>
                    <a:pt x="446" y="557"/>
                  </a:lnTo>
                  <a:lnTo>
                    <a:pt x="470" y="520"/>
                  </a:lnTo>
                  <a:lnTo>
                    <a:pt x="483" y="532"/>
                  </a:lnTo>
                  <a:lnTo>
                    <a:pt x="491" y="564"/>
                  </a:lnTo>
                  <a:lnTo>
                    <a:pt x="497" y="569"/>
                  </a:lnTo>
                  <a:lnTo>
                    <a:pt x="510" y="573"/>
                  </a:lnTo>
                  <a:lnTo>
                    <a:pt x="522" y="567"/>
                  </a:lnTo>
                  <a:lnTo>
                    <a:pt x="556" y="354"/>
                  </a:lnTo>
                  <a:lnTo>
                    <a:pt x="552" y="336"/>
                  </a:lnTo>
                  <a:lnTo>
                    <a:pt x="544" y="329"/>
                  </a:lnTo>
                  <a:lnTo>
                    <a:pt x="527" y="326"/>
                  </a:lnTo>
                  <a:lnTo>
                    <a:pt x="504" y="315"/>
                  </a:lnTo>
                  <a:lnTo>
                    <a:pt x="493" y="297"/>
                  </a:lnTo>
                  <a:lnTo>
                    <a:pt x="488" y="275"/>
                  </a:lnTo>
                  <a:lnTo>
                    <a:pt x="488" y="253"/>
                  </a:lnTo>
                  <a:lnTo>
                    <a:pt x="495" y="239"/>
                  </a:lnTo>
                  <a:lnTo>
                    <a:pt x="542" y="195"/>
                  </a:lnTo>
                  <a:lnTo>
                    <a:pt x="546" y="176"/>
                  </a:lnTo>
                  <a:lnTo>
                    <a:pt x="530" y="128"/>
                  </a:lnTo>
                  <a:lnTo>
                    <a:pt x="514" y="112"/>
                  </a:lnTo>
                  <a:lnTo>
                    <a:pt x="487" y="109"/>
                  </a:lnTo>
                  <a:lnTo>
                    <a:pt x="445" y="135"/>
                  </a:lnTo>
                  <a:lnTo>
                    <a:pt x="425" y="133"/>
                  </a:lnTo>
                  <a:lnTo>
                    <a:pt x="418" y="119"/>
                  </a:lnTo>
                  <a:lnTo>
                    <a:pt x="416" y="81"/>
                  </a:lnTo>
                  <a:lnTo>
                    <a:pt x="418" y="44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70" name="Freeform 107"/>
            <p:cNvSpPr>
              <a:spLocks/>
            </p:cNvSpPr>
            <p:nvPr>
              <p:custDataLst>
                <p:tags r:id="rId98"/>
              </p:custDataLst>
            </p:nvPr>
          </p:nvSpPr>
          <p:spPr bwMode="auto">
            <a:xfrm>
              <a:off x="2819" y="2715"/>
              <a:ext cx="8" cy="9"/>
            </a:xfrm>
            <a:custGeom>
              <a:avLst/>
              <a:gdLst>
                <a:gd name="T0" fmla="*/ 13 w 53"/>
                <a:gd name="T1" fmla="*/ 12 h 68"/>
                <a:gd name="T2" fmla="*/ 13 w 53"/>
                <a:gd name="T3" fmla="*/ 35 h 68"/>
                <a:gd name="T4" fmla="*/ 2 w 53"/>
                <a:gd name="T5" fmla="*/ 40 h 68"/>
                <a:gd name="T6" fmla="*/ 0 w 53"/>
                <a:gd name="T7" fmla="*/ 54 h 68"/>
                <a:gd name="T8" fmla="*/ 2 w 53"/>
                <a:gd name="T9" fmla="*/ 67 h 68"/>
                <a:gd name="T10" fmla="*/ 24 w 53"/>
                <a:gd name="T11" fmla="*/ 68 h 68"/>
                <a:gd name="T12" fmla="*/ 44 w 53"/>
                <a:gd name="T13" fmla="*/ 24 h 68"/>
                <a:gd name="T14" fmla="*/ 53 w 53"/>
                <a:gd name="T15" fmla="*/ 15 h 68"/>
                <a:gd name="T16" fmla="*/ 48 w 53"/>
                <a:gd name="T17" fmla="*/ 5 h 68"/>
                <a:gd name="T18" fmla="*/ 39 w 53"/>
                <a:gd name="T19" fmla="*/ 3 h 68"/>
                <a:gd name="T20" fmla="*/ 29 w 53"/>
                <a:gd name="T21" fmla="*/ 0 h 68"/>
                <a:gd name="T22" fmla="*/ 21 w 53"/>
                <a:gd name="T23" fmla="*/ 7 h 68"/>
                <a:gd name="T24" fmla="*/ 13 w 53"/>
                <a:gd name="T25" fmla="*/ 12 h 6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3"/>
                <a:gd name="T40" fmla="*/ 0 h 68"/>
                <a:gd name="T41" fmla="*/ 53 w 53"/>
                <a:gd name="T42" fmla="*/ 68 h 6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3" h="68">
                  <a:moveTo>
                    <a:pt x="13" y="12"/>
                  </a:moveTo>
                  <a:lnTo>
                    <a:pt x="13" y="35"/>
                  </a:lnTo>
                  <a:lnTo>
                    <a:pt x="2" y="40"/>
                  </a:lnTo>
                  <a:lnTo>
                    <a:pt x="0" y="54"/>
                  </a:lnTo>
                  <a:lnTo>
                    <a:pt x="2" y="67"/>
                  </a:lnTo>
                  <a:lnTo>
                    <a:pt x="24" y="68"/>
                  </a:lnTo>
                  <a:lnTo>
                    <a:pt x="44" y="24"/>
                  </a:lnTo>
                  <a:lnTo>
                    <a:pt x="53" y="15"/>
                  </a:lnTo>
                  <a:lnTo>
                    <a:pt x="48" y="5"/>
                  </a:lnTo>
                  <a:lnTo>
                    <a:pt x="39" y="3"/>
                  </a:lnTo>
                  <a:lnTo>
                    <a:pt x="29" y="0"/>
                  </a:lnTo>
                  <a:lnTo>
                    <a:pt x="21" y="7"/>
                  </a:lnTo>
                  <a:lnTo>
                    <a:pt x="13" y="12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71" name="Freeform 108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2835" y="2742"/>
              <a:ext cx="27" cy="20"/>
            </a:xfrm>
            <a:custGeom>
              <a:avLst/>
              <a:gdLst>
                <a:gd name="T0" fmla="*/ 47 w 183"/>
                <a:gd name="T1" fmla="*/ 21 h 136"/>
                <a:gd name="T2" fmla="*/ 32 w 183"/>
                <a:gd name="T3" fmla="*/ 51 h 136"/>
                <a:gd name="T4" fmla="*/ 0 w 183"/>
                <a:gd name="T5" fmla="*/ 105 h 136"/>
                <a:gd name="T6" fmla="*/ 19 w 183"/>
                <a:gd name="T7" fmla="*/ 110 h 136"/>
                <a:gd name="T8" fmla="*/ 25 w 183"/>
                <a:gd name="T9" fmla="*/ 113 h 136"/>
                <a:gd name="T10" fmla="*/ 26 w 183"/>
                <a:gd name="T11" fmla="*/ 129 h 136"/>
                <a:gd name="T12" fmla="*/ 25 w 183"/>
                <a:gd name="T13" fmla="*/ 136 h 136"/>
                <a:gd name="T14" fmla="*/ 183 w 183"/>
                <a:gd name="T15" fmla="*/ 135 h 136"/>
                <a:gd name="T16" fmla="*/ 180 w 183"/>
                <a:gd name="T17" fmla="*/ 0 h 136"/>
                <a:gd name="T18" fmla="*/ 50 w 183"/>
                <a:gd name="T19" fmla="*/ 0 h 136"/>
                <a:gd name="T20" fmla="*/ 47 w 183"/>
                <a:gd name="T21" fmla="*/ 21 h 1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83"/>
                <a:gd name="T34" fmla="*/ 0 h 136"/>
                <a:gd name="T35" fmla="*/ 183 w 183"/>
                <a:gd name="T36" fmla="*/ 136 h 1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83" h="136">
                  <a:moveTo>
                    <a:pt x="47" y="21"/>
                  </a:moveTo>
                  <a:lnTo>
                    <a:pt x="32" y="51"/>
                  </a:lnTo>
                  <a:lnTo>
                    <a:pt x="0" y="105"/>
                  </a:lnTo>
                  <a:lnTo>
                    <a:pt x="19" y="110"/>
                  </a:lnTo>
                  <a:lnTo>
                    <a:pt x="25" y="113"/>
                  </a:lnTo>
                  <a:lnTo>
                    <a:pt x="26" y="129"/>
                  </a:lnTo>
                  <a:lnTo>
                    <a:pt x="25" y="136"/>
                  </a:lnTo>
                  <a:lnTo>
                    <a:pt x="183" y="135"/>
                  </a:lnTo>
                  <a:lnTo>
                    <a:pt x="180" y="0"/>
                  </a:lnTo>
                  <a:lnTo>
                    <a:pt x="50" y="0"/>
                  </a:lnTo>
                  <a:lnTo>
                    <a:pt x="47" y="21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72" name="Freeform 109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2736" y="2537"/>
              <a:ext cx="174" cy="165"/>
            </a:xfrm>
            <a:custGeom>
              <a:avLst/>
              <a:gdLst>
                <a:gd name="T0" fmla="*/ 145 w 1162"/>
                <a:gd name="T1" fmla="*/ 38 h 1121"/>
                <a:gd name="T2" fmla="*/ 99 w 1162"/>
                <a:gd name="T3" fmla="*/ 151 h 1121"/>
                <a:gd name="T4" fmla="*/ 91 w 1162"/>
                <a:gd name="T5" fmla="*/ 329 h 1121"/>
                <a:gd name="T6" fmla="*/ 87 w 1162"/>
                <a:gd name="T7" fmla="*/ 447 h 1121"/>
                <a:gd name="T8" fmla="*/ 49 w 1162"/>
                <a:gd name="T9" fmla="*/ 486 h 1121"/>
                <a:gd name="T10" fmla="*/ 49 w 1162"/>
                <a:gd name="T11" fmla="*/ 536 h 1121"/>
                <a:gd name="T12" fmla="*/ 26 w 1162"/>
                <a:gd name="T13" fmla="*/ 562 h 1121"/>
                <a:gd name="T14" fmla="*/ 4 w 1162"/>
                <a:gd name="T15" fmla="*/ 583 h 1121"/>
                <a:gd name="T16" fmla="*/ 0 w 1162"/>
                <a:gd name="T17" fmla="*/ 728 h 1121"/>
                <a:gd name="T18" fmla="*/ 4 w 1162"/>
                <a:gd name="T19" fmla="*/ 868 h 1121"/>
                <a:gd name="T20" fmla="*/ 73 w 1162"/>
                <a:gd name="T21" fmla="*/ 875 h 1121"/>
                <a:gd name="T22" fmla="*/ 98 w 1162"/>
                <a:gd name="T23" fmla="*/ 856 h 1121"/>
                <a:gd name="T24" fmla="*/ 133 w 1162"/>
                <a:gd name="T25" fmla="*/ 870 h 1121"/>
                <a:gd name="T26" fmla="*/ 213 w 1162"/>
                <a:gd name="T27" fmla="*/ 921 h 1121"/>
                <a:gd name="T28" fmla="*/ 238 w 1162"/>
                <a:gd name="T29" fmla="*/ 964 h 1121"/>
                <a:gd name="T30" fmla="*/ 268 w 1162"/>
                <a:gd name="T31" fmla="*/ 981 h 1121"/>
                <a:gd name="T32" fmla="*/ 256 w 1162"/>
                <a:gd name="T33" fmla="*/ 1009 h 1121"/>
                <a:gd name="T34" fmla="*/ 283 w 1162"/>
                <a:gd name="T35" fmla="*/ 1080 h 1121"/>
                <a:gd name="T36" fmla="*/ 330 w 1162"/>
                <a:gd name="T37" fmla="*/ 1117 h 1121"/>
                <a:gd name="T38" fmla="*/ 404 w 1162"/>
                <a:gd name="T39" fmla="*/ 1121 h 1121"/>
                <a:gd name="T40" fmla="*/ 425 w 1162"/>
                <a:gd name="T41" fmla="*/ 1096 h 1121"/>
                <a:gd name="T42" fmla="*/ 464 w 1162"/>
                <a:gd name="T43" fmla="*/ 1106 h 1121"/>
                <a:gd name="T44" fmla="*/ 547 w 1162"/>
                <a:gd name="T45" fmla="*/ 1091 h 1121"/>
                <a:gd name="T46" fmla="*/ 544 w 1162"/>
                <a:gd name="T47" fmla="*/ 1068 h 1121"/>
                <a:gd name="T48" fmla="*/ 559 w 1162"/>
                <a:gd name="T49" fmla="*/ 1062 h 1121"/>
                <a:gd name="T50" fmla="*/ 576 w 1162"/>
                <a:gd name="T51" fmla="*/ 1071 h 1121"/>
                <a:gd name="T52" fmla="*/ 602 w 1162"/>
                <a:gd name="T53" fmla="*/ 1006 h 1121"/>
                <a:gd name="T54" fmla="*/ 722 w 1162"/>
                <a:gd name="T55" fmla="*/ 817 h 1121"/>
                <a:gd name="T56" fmla="*/ 783 w 1162"/>
                <a:gd name="T57" fmla="*/ 817 h 1121"/>
                <a:gd name="T58" fmla="*/ 821 w 1162"/>
                <a:gd name="T59" fmla="*/ 875 h 1121"/>
                <a:gd name="T60" fmla="*/ 837 w 1162"/>
                <a:gd name="T61" fmla="*/ 874 h 1121"/>
                <a:gd name="T62" fmla="*/ 869 w 1162"/>
                <a:gd name="T63" fmla="*/ 828 h 1121"/>
                <a:gd name="T64" fmla="*/ 955 w 1162"/>
                <a:gd name="T65" fmla="*/ 617 h 1121"/>
                <a:gd name="T66" fmla="*/ 980 w 1162"/>
                <a:gd name="T67" fmla="*/ 599 h 1121"/>
                <a:gd name="T68" fmla="*/ 992 w 1162"/>
                <a:gd name="T69" fmla="*/ 515 h 1121"/>
                <a:gd name="T70" fmla="*/ 1024 w 1162"/>
                <a:gd name="T71" fmla="*/ 506 h 1121"/>
                <a:gd name="T72" fmla="*/ 1086 w 1162"/>
                <a:gd name="T73" fmla="*/ 322 h 1121"/>
                <a:gd name="T74" fmla="*/ 1138 w 1162"/>
                <a:gd name="T75" fmla="*/ 296 h 1121"/>
                <a:gd name="T76" fmla="*/ 1157 w 1162"/>
                <a:gd name="T77" fmla="*/ 275 h 1121"/>
                <a:gd name="T78" fmla="*/ 1157 w 1162"/>
                <a:gd name="T79" fmla="*/ 197 h 1121"/>
                <a:gd name="T80" fmla="*/ 1126 w 1162"/>
                <a:gd name="T81" fmla="*/ 181 h 1121"/>
                <a:gd name="T82" fmla="*/ 1111 w 1162"/>
                <a:gd name="T83" fmla="*/ 146 h 1121"/>
                <a:gd name="T84" fmla="*/ 1111 w 1162"/>
                <a:gd name="T85" fmla="*/ 88 h 1121"/>
                <a:gd name="T86" fmla="*/ 1062 w 1162"/>
                <a:gd name="T87" fmla="*/ 16 h 1121"/>
                <a:gd name="T88" fmla="*/ 1001 w 1162"/>
                <a:gd name="T89" fmla="*/ 28 h 1121"/>
                <a:gd name="T90" fmla="*/ 947 w 1162"/>
                <a:gd name="T91" fmla="*/ 84 h 1121"/>
                <a:gd name="T92" fmla="*/ 837 w 1162"/>
                <a:gd name="T93" fmla="*/ 54 h 1121"/>
                <a:gd name="T94" fmla="*/ 755 w 1162"/>
                <a:gd name="T95" fmla="*/ 59 h 1121"/>
                <a:gd name="T96" fmla="*/ 674 w 1162"/>
                <a:gd name="T97" fmla="*/ 114 h 1121"/>
                <a:gd name="T98" fmla="*/ 623 w 1162"/>
                <a:gd name="T99" fmla="*/ 116 h 1121"/>
                <a:gd name="T100" fmla="*/ 527 w 1162"/>
                <a:gd name="T101" fmla="*/ 63 h 1121"/>
                <a:gd name="T102" fmla="*/ 490 w 1162"/>
                <a:gd name="T103" fmla="*/ 65 h 1121"/>
                <a:gd name="T104" fmla="*/ 416 w 1162"/>
                <a:gd name="T105" fmla="*/ 93 h 1121"/>
                <a:gd name="T106" fmla="*/ 359 w 1162"/>
                <a:gd name="T107" fmla="*/ 21 h 1121"/>
                <a:gd name="T108" fmla="*/ 273 w 1162"/>
                <a:gd name="T109" fmla="*/ 0 h 112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162"/>
                <a:gd name="T166" fmla="*/ 0 h 1121"/>
                <a:gd name="T167" fmla="*/ 1162 w 1162"/>
                <a:gd name="T168" fmla="*/ 1121 h 1121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162" h="1121">
                  <a:moveTo>
                    <a:pt x="175" y="16"/>
                  </a:moveTo>
                  <a:lnTo>
                    <a:pt x="145" y="38"/>
                  </a:lnTo>
                  <a:lnTo>
                    <a:pt x="114" y="125"/>
                  </a:lnTo>
                  <a:lnTo>
                    <a:pt x="99" y="151"/>
                  </a:lnTo>
                  <a:lnTo>
                    <a:pt x="85" y="289"/>
                  </a:lnTo>
                  <a:lnTo>
                    <a:pt x="91" y="329"/>
                  </a:lnTo>
                  <a:lnTo>
                    <a:pt x="110" y="366"/>
                  </a:lnTo>
                  <a:lnTo>
                    <a:pt x="87" y="447"/>
                  </a:lnTo>
                  <a:lnTo>
                    <a:pt x="77" y="463"/>
                  </a:lnTo>
                  <a:lnTo>
                    <a:pt x="49" y="486"/>
                  </a:lnTo>
                  <a:lnTo>
                    <a:pt x="44" y="504"/>
                  </a:lnTo>
                  <a:lnTo>
                    <a:pt x="49" y="536"/>
                  </a:lnTo>
                  <a:lnTo>
                    <a:pt x="45" y="555"/>
                  </a:lnTo>
                  <a:lnTo>
                    <a:pt x="26" y="562"/>
                  </a:lnTo>
                  <a:lnTo>
                    <a:pt x="15" y="562"/>
                  </a:lnTo>
                  <a:lnTo>
                    <a:pt x="4" y="583"/>
                  </a:lnTo>
                  <a:lnTo>
                    <a:pt x="4" y="675"/>
                  </a:lnTo>
                  <a:lnTo>
                    <a:pt x="0" y="728"/>
                  </a:lnTo>
                  <a:lnTo>
                    <a:pt x="9" y="805"/>
                  </a:lnTo>
                  <a:lnTo>
                    <a:pt x="4" y="868"/>
                  </a:lnTo>
                  <a:lnTo>
                    <a:pt x="4" y="881"/>
                  </a:lnTo>
                  <a:lnTo>
                    <a:pt x="73" y="875"/>
                  </a:lnTo>
                  <a:lnTo>
                    <a:pt x="87" y="872"/>
                  </a:lnTo>
                  <a:lnTo>
                    <a:pt x="98" y="856"/>
                  </a:lnTo>
                  <a:lnTo>
                    <a:pt x="122" y="852"/>
                  </a:lnTo>
                  <a:lnTo>
                    <a:pt x="133" y="870"/>
                  </a:lnTo>
                  <a:lnTo>
                    <a:pt x="188" y="897"/>
                  </a:lnTo>
                  <a:lnTo>
                    <a:pt x="213" y="921"/>
                  </a:lnTo>
                  <a:lnTo>
                    <a:pt x="233" y="949"/>
                  </a:lnTo>
                  <a:lnTo>
                    <a:pt x="238" y="964"/>
                  </a:lnTo>
                  <a:lnTo>
                    <a:pt x="262" y="967"/>
                  </a:lnTo>
                  <a:lnTo>
                    <a:pt x="268" y="981"/>
                  </a:lnTo>
                  <a:lnTo>
                    <a:pt x="260" y="995"/>
                  </a:lnTo>
                  <a:lnTo>
                    <a:pt x="256" y="1009"/>
                  </a:lnTo>
                  <a:lnTo>
                    <a:pt x="265" y="1043"/>
                  </a:lnTo>
                  <a:lnTo>
                    <a:pt x="283" y="1080"/>
                  </a:lnTo>
                  <a:lnTo>
                    <a:pt x="307" y="1105"/>
                  </a:lnTo>
                  <a:lnTo>
                    <a:pt x="330" y="1117"/>
                  </a:lnTo>
                  <a:lnTo>
                    <a:pt x="385" y="1117"/>
                  </a:lnTo>
                  <a:lnTo>
                    <a:pt x="404" y="1121"/>
                  </a:lnTo>
                  <a:lnTo>
                    <a:pt x="412" y="1115"/>
                  </a:lnTo>
                  <a:lnTo>
                    <a:pt x="425" y="1096"/>
                  </a:lnTo>
                  <a:lnTo>
                    <a:pt x="437" y="1092"/>
                  </a:lnTo>
                  <a:lnTo>
                    <a:pt x="464" y="1106"/>
                  </a:lnTo>
                  <a:lnTo>
                    <a:pt x="532" y="1099"/>
                  </a:lnTo>
                  <a:lnTo>
                    <a:pt x="547" y="1091"/>
                  </a:lnTo>
                  <a:lnTo>
                    <a:pt x="550" y="1083"/>
                  </a:lnTo>
                  <a:lnTo>
                    <a:pt x="544" y="1068"/>
                  </a:lnTo>
                  <a:lnTo>
                    <a:pt x="550" y="1057"/>
                  </a:lnTo>
                  <a:lnTo>
                    <a:pt x="559" y="1062"/>
                  </a:lnTo>
                  <a:lnTo>
                    <a:pt x="568" y="1066"/>
                  </a:lnTo>
                  <a:lnTo>
                    <a:pt x="576" y="1071"/>
                  </a:lnTo>
                  <a:lnTo>
                    <a:pt x="593" y="1036"/>
                  </a:lnTo>
                  <a:lnTo>
                    <a:pt x="602" y="1006"/>
                  </a:lnTo>
                  <a:lnTo>
                    <a:pt x="600" y="955"/>
                  </a:lnTo>
                  <a:lnTo>
                    <a:pt x="722" y="817"/>
                  </a:lnTo>
                  <a:lnTo>
                    <a:pt x="734" y="815"/>
                  </a:lnTo>
                  <a:lnTo>
                    <a:pt x="783" y="817"/>
                  </a:lnTo>
                  <a:lnTo>
                    <a:pt x="789" y="824"/>
                  </a:lnTo>
                  <a:lnTo>
                    <a:pt x="821" y="875"/>
                  </a:lnTo>
                  <a:lnTo>
                    <a:pt x="828" y="879"/>
                  </a:lnTo>
                  <a:lnTo>
                    <a:pt x="837" y="874"/>
                  </a:lnTo>
                  <a:lnTo>
                    <a:pt x="854" y="854"/>
                  </a:lnTo>
                  <a:lnTo>
                    <a:pt x="869" y="828"/>
                  </a:lnTo>
                  <a:lnTo>
                    <a:pt x="943" y="633"/>
                  </a:lnTo>
                  <a:lnTo>
                    <a:pt x="955" y="617"/>
                  </a:lnTo>
                  <a:lnTo>
                    <a:pt x="971" y="615"/>
                  </a:lnTo>
                  <a:lnTo>
                    <a:pt x="980" y="599"/>
                  </a:lnTo>
                  <a:lnTo>
                    <a:pt x="987" y="534"/>
                  </a:lnTo>
                  <a:lnTo>
                    <a:pt x="992" y="515"/>
                  </a:lnTo>
                  <a:lnTo>
                    <a:pt x="1008" y="513"/>
                  </a:lnTo>
                  <a:lnTo>
                    <a:pt x="1024" y="506"/>
                  </a:lnTo>
                  <a:lnTo>
                    <a:pt x="1036" y="453"/>
                  </a:lnTo>
                  <a:lnTo>
                    <a:pt x="1086" y="322"/>
                  </a:lnTo>
                  <a:lnTo>
                    <a:pt x="1099" y="308"/>
                  </a:lnTo>
                  <a:lnTo>
                    <a:pt x="1138" y="296"/>
                  </a:lnTo>
                  <a:lnTo>
                    <a:pt x="1151" y="287"/>
                  </a:lnTo>
                  <a:lnTo>
                    <a:pt x="1157" y="275"/>
                  </a:lnTo>
                  <a:lnTo>
                    <a:pt x="1162" y="216"/>
                  </a:lnTo>
                  <a:lnTo>
                    <a:pt x="1157" y="197"/>
                  </a:lnTo>
                  <a:lnTo>
                    <a:pt x="1151" y="188"/>
                  </a:lnTo>
                  <a:lnTo>
                    <a:pt x="1126" y="181"/>
                  </a:lnTo>
                  <a:lnTo>
                    <a:pt x="1117" y="172"/>
                  </a:lnTo>
                  <a:lnTo>
                    <a:pt x="1111" y="146"/>
                  </a:lnTo>
                  <a:lnTo>
                    <a:pt x="1108" y="107"/>
                  </a:lnTo>
                  <a:lnTo>
                    <a:pt x="1111" y="88"/>
                  </a:lnTo>
                  <a:lnTo>
                    <a:pt x="1069" y="38"/>
                  </a:lnTo>
                  <a:lnTo>
                    <a:pt x="1062" y="16"/>
                  </a:lnTo>
                  <a:lnTo>
                    <a:pt x="1020" y="18"/>
                  </a:lnTo>
                  <a:lnTo>
                    <a:pt x="1001" y="28"/>
                  </a:lnTo>
                  <a:lnTo>
                    <a:pt x="980" y="47"/>
                  </a:lnTo>
                  <a:lnTo>
                    <a:pt x="947" y="84"/>
                  </a:lnTo>
                  <a:lnTo>
                    <a:pt x="935" y="86"/>
                  </a:lnTo>
                  <a:lnTo>
                    <a:pt x="837" y="54"/>
                  </a:lnTo>
                  <a:lnTo>
                    <a:pt x="815" y="51"/>
                  </a:lnTo>
                  <a:lnTo>
                    <a:pt x="755" y="59"/>
                  </a:lnTo>
                  <a:lnTo>
                    <a:pt x="721" y="75"/>
                  </a:lnTo>
                  <a:lnTo>
                    <a:pt x="674" y="114"/>
                  </a:lnTo>
                  <a:lnTo>
                    <a:pt x="662" y="116"/>
                  </a:lnTo>
                  <a:lnTo>
                    <a:pt x="623" y="116"/>
                  </a:lnTo>
                  <a:lnTo>
                    <a:pt x="580" y="102"/>
                  </a:lnTo>
                  <a:lnTo>
                    <a:pt x="527" y="63"/>
                  </a:lnTo>
                  <a:lnTo>
                    <a:pt x="511" y="58"/>
                  </a:lnTo>
                  <a:lnTo>
                    <a:pt x="490" y="65"/>
                  </a:lnTo>
                  <a:lnTo>
                    <a:pt x="433" y="93"/>
                  </a:lnTo>
                  <a:lnTo>
                    <a:pt x="416" y="93"/>
                  </a:lnTo>
                  <a:lnTo>
                    <a:pt x="407" y="88"/>
                  </a:lnTo>
                  <a:lnTo>
                    <a:pt x="359" y="21"/>
                  </a:lnTo>
                  <a:lnTo>
                    <a:pt x="322" y="7"/>
                  </a:lnTo>
                  <a:lnTo>
                    <a:pt x="273" y="0"/>
                  </a:lnTo>
                  <a:lnTo>
                    <a:pt x="175" y="16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73" name="Freeform 110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2823" y="2550"/>
              <a:ext cx="110" cy="200"/>
            </a:xfrm>
            <a:custGeom>
              <a:avLst/>
              <a:gdLst>
                <a:gd name="T0" fmla="*/ 532 w 735"/>
                <a:gd name="T1" fmla="*/ 19 h 1345"/>
                <a:gd name="T2" fmla="*/ 541 w 735"/>
                <a:gd name="T3" fmla="*/ 84 h 1345"/>
                <a:gd name="T4" fmla="*/ 575 w 735"/>
                <a:gd name="T5" fmla="*/ 100 h 1345"/>
                <a:gd name="T6" fmla="*/ 586 w 735"/>
                <a:gd name="T7" fmla="*/ 128 h 1345"/>
                <a:gd name="T8" fmla="*/ 575 w 735"/>
                <a:gd name="T9" fmla="*/ 199 h 1345"/>
                <a:gd name="T10" fmla="*/ 523 w 735"/>
                <a:gd name="T11" fmla="*/ 220 h 1345"/>
                <a:gd name="T12" fmla="*/ 460 w 735"/>
                <a:gd name="T13" fmla="*/ 365 h 1345"/>
                <a:gd name="T14" fmla="*/ 432 w 735"/>
                <a:gd name="T15" fmla="*/ 425 h 1345"/>
                <a:gd name="T16" fmla="*/ 411 w 735"/>
                <a:gd name="T17" fmla="*/ 446 h 1345"/>
                <a:gd name="T18" fmla="*/ 395 w 735"/>
                <a:gd name="T19" fmla="*/ 527 h 1345"/>
                <a:gd name="T20" fmla="*/ 367 w 735"/>
                <a:gd name="T21" fmla="*/ 545 h 1345"/>
                <a:gd name="T22" fmla="*/ 278 w 735"/>
                <a:gd name="T23" fmla="*/ 766 h 1345"/>
                <a:gd name="T24" fmla="*/ 252 w 735"/>
                <a:gd name="T25" fmla="*/ 791 h 1345"/>
                <a:gd name="T26" fmla="*/ 213 w 735"/>
                <a:gd name="T27" fmla="*/ 736 h 1345"/>
                <a:gd name="T28" fmla="*/ 158 w 735"/>
                <a:gd name="T29" fmla="*/ 727 h 1345"/>
                <a:gd name="T30" fmla="*/ 24 w 735"/>
                <a:gd name="T31" fmla="*/ 867 h 1345"/>
                <a:gd name="T32" fmla="*/ 17 w 735"/>
                <a:gd name="T33" fmla="*/ 948 h 1345"/>
                <a:gd name="T34" fmla="*/ 5 w 735"/>
                <a:gd name="T35" fmla="*/ 987 h 1345"/>
                <a:gd name="T36" fmla="*/ 33 w 735"/>
                <a:gd name="T37" fmla="*/ 1006 h 1345"/>
                <a:gd name="T38" fmla="*/ 44 w 735"/>
                <a:gd name="T39" fmla="*/ 1050 h 1345"/>
                <a:gd name="T40" fmla="*/ 94 w 735"/>
                <a:gd name="T41" fmla="*/ 1061 h 1345"/>
                <a:gd name="T42" fmla="*/ 117 w 735"/>
                <a:gd name="T43" fmla="*/ 1084 h 1345"/>
                <a:gd name="T44" fmla="*/ 115 w 735"/>
                <a:gd name="T45" fmla="*/ 1138 h 1345"/>
                <a:gd name="T46" fmla="*/ 131 w 735"/>
                <a:gd name="T47" fmla="*/ 1204 h 1345"/>
                <a:gd name="T48" fmla="*/ 129 w 735"/>
                <a:gd name="T49" fmla="*/ 1285 h 1345"/>
                <a:gd name="T50" fmla="*/ 257 w 735"/>
                <a:gd name="T51" fmla="*/ 1294 h 1345"/>
                <a:gd name="T52" fmla="*/ 460 w 735"/>
                <a:gd name="T53" fmla="*/ 1287 h 1345"/>
                <a:gd name="T54" fmla="*/ 560 w 735"/>
                <a:gd name="T55" fmla="*/ 1290 h 1345"/>
                <a:gd name="T56" fmla="*/ 594 w 735"/>
                <a:gd name="T57" fmla="*/ 1295 h 1345"/>
                <a:gd name="T58" fmla="*/ 733 w 735"/>
                <a:gd name="T59" fmla="*/ 1339 h 1345"/>
                <a:gd name="T60" fmla="*/ 735 w 735"/>
                <a:gd name="T61" fmla="*/ 1285 h 1345"/>
                <a:gd name="T62" fmla="*/ 717 w 735"/>
                <a:gd name="T63" fmla="*/ 1219 h 1345"/>
                <a:gd name="T64" fmla="*/ 641 w 735"/>
                <a:gd name="T65" fmla="*/ 1112 h 1345"/>
                <a:gd name="T66" fmla="*/ 635 w 735"/>
                <a:gd name="T67" fmla="*/ 1054 h 1345"/>
                <a:gd name="T68" fmla="*/ 588 w 735"/>
                <a:gd name="T69" fmla="*/ 957 h 1345"/>
                <a:gd name="T70" fmla="*/ 570 w 735"/>
                <a:gd name="T71" fmla="*/ 853 h 1345"/>
                <a:gd name="T72" fmla="*/ 579 w 735"/>
                <a:gd name="T73" fmla="*/ 819 h 1345"/>
                <a:gd name="T74" fmla="*/ 621 w 735"/>
                <a:gd name="T75" fmla="*/ 771 h 1345"/>
                <a:gd name="T76" fmla="*/ 674 w 735"/>
                <a:gd name="T77" fmla="*/ 662 h 1345"/>
                <a:gd name="T78" fmla="*/ 674 w 735"/>
                <a:gd name="T79" fmla="*/ 648 h 1345"/>
                <a:gd name="T80" fmla="*/ 630 w 735"/>
                <a:gd name="T81" fmla="*/ 534 h 1345"/>
                <a:gd name="T82" fmla="*/ 537 w 735"/>
                <a:gd name="T83" fmla="*/ 386 h 1345"/>
                <a:gd name="T84" fmla="*/ 560 w 735"/>
                <a:gd name="T85" fmla="*/ 365 h 1345"/>
                <a:gd name="T86" fmla="*/ 664 w 735"/>
                <a:gd name="T87" fmla="*/ 377 h 1345"/>
                <a:gd name="T88" fmla="*/ 672 w 735"/>
                <a:gd name="T89" fmla="*/ 363 h 1345"/>
                <a:gd name="T90" fmla="*/ 644 w 735"/>
                <a:gd name="T91" fmla="*/ 319 h 1345"/>
                <a:gd name="T92" fmla="*/ 628 w 735"/>
                <a:gd name="T93" fmla="*/ 222 h 1345"/>
                <a:gd name="T94" fmla="*/ 630 w 735"/>
                <a:gd name="T95" fmla="*/ 123 h 1345"/>
                <a:gd name="T96" fmla="*/ 572 w 735"/>
                <a:gd name="T97" fmla="*/ 10 h 134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735"/>
                <a:gd name="T148" fmla="*/ 0 h 1345"/>
                <a:gd name="T149" fmla="*/ 735 w 735"/>
                <a:gd name="T150" fmla="*/ 1345 h 134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735" h="1345">
                  <a:moveTo>
                    <a:pt x="535" y="0"/>
                  </a:moveTo>
                  <a:lnTo>
                    <a:pt x="532" y="19"/>
                  </a:lnTo>
                  <a:lnTo>
                    <a:pt x="535" y="58"/>
                  </a:lnTo>
                  <a:lnTo>
                    <a:pt x="541" y="84"/>
                  </a:lnTo>
                  <a:lnTo>
                    <a:pt x="550" y="93"/>
                  </a:lnTo>
                  <a:lnTo>
                    <a:pt x="575" y="100"/>
                  </a:lnTo>
                  <a:lnTo>
                    <a:pt x="581" y="109"/>
                  </a:lnTo>
                  <a:lnTo>
                    <a:pt x="586" y="128"/>
                  </a:lnTo>
                  <a:lnTo>
                    <a:pt x="581" y="187"/>
                  </a:lnTo>
                  <a:lnTo>
                    <a:pt x="575" y="199"/>
                  </a:lnTo>
                  <a:lnTo>
                    <a:pt x="562" y="208"/>
                  </a:lnTo>
                  <a:lnTo>
                    <a:pt x="523" y="220"/>
                  </a:lnTo>
                  <a:lnTo>
                    <a:pt x="510" y="234"/>
                  </a:lnTo>
                  <a:lnTo>
                    <a:pt x="460" y="365"/>
                  </a:lnTo>
                  <a:lnTo>
                    <a:pt x="448" y="418"/>
                  </a:lnTo>
                  <a:lnTo>
                    <a:pt x="432" y="425"/>
                  </a:lnTo>
                  <a:lnTo>
                    <a:pt x="416" y="427"/>
                  </a:lnTo>
                  <a:lnTo>
                    <a:pt x="411" y="446"/>
                  </a:lnTo>
                  <a:lnTo>
                    <a:pt x="404" y="511"/>
                  </a:lnTo>
                  <a:lnTo>
                    <a:pt x="395" y="527"/>
                  </a:lnTo>
                  <a:lnTo>
                    <a:pt x="379" y="529"/>
                  </a:lnTo>
                  <a:lnTo>
                    <a:pt x="367" y="545"/>
                  </a:lnTo>
                  <a:lnTo>
                    <a:pt x="293" y="740"/>
                  </a:lnTo>
                  <a:lnTo>
                    <a:pt x="278" y="766"/>
                  </a:lnTo>
                  <a:lnTo>
                    <a:pt x="261" y="786"/>
                  </a:lnTo>
                  <a:lnTo>
                    <a:pt x="252" y="791"/>
                  </a:lnTo>
                  <a:lnTo>
                    <a:pt x="245" y="787"/>
                  </a:lnTo>
                  <a:lnTo>
                    <a:pt x="213" y="736"/>
                  </a:lnTo>
                  <a:lnTo>
                    <a:pt x="207" y="729"/>
                  </a:lnTo>
                  <a:lnTo>
                    <a:pt x="158" y="727"/>
                  </a:lnTo>
                  <a:lnTo>
                    <a:pt x="146" y="729"/>
                  </a:lnTo>
                  <a:lnTo>
                    <a:pt x="24" y="867"/>
                  </a:lnTo>
                  <a:lnTo>
                    <a:pt x="26" y="918"/>
                  </a:lnTo>
                  <a:lnTo>
                    <a:pt x="17" y="948"/>
                  </a:lnTo>
                  <a:lnTo>
                    <a:pt x="0" y="983"/>
                  </a:lnTo>
                  <a:lnTo>
                    <a:pt x="5" y="987"/>
                  </a:lnTo>
                  <a:lnTo>
                    <a:pt x="28" y="994"/>
                  </a:lnTo>
                  <a:lnTo>
                    <a:pt x="33" y="1006"/>
                  </a:lnTo>
                  <a:lnTo>
                    <a:pt x="36" y="1034"/>
                  </a:lnTo>
                  <a:lnTo>
                    <a:pt x="44" y="1050"/>
                  </a:lnTo>
                  <a:lnTo>
                    <a:pt x="69" y="1064"/>
                  </a:lnTo>
                  <a:lnTo>
                    <a:pt x="94" y="1061"/>
                  </a:lnTo>
                  <a:lnTo>
                    <a:pt x="105" y="1064"/>
                  </a:lnTo>
                  <a:lnTo>
                    <a:pt x="117" y="1084"/>
                  </a:lnTo>
                  <a:lnTo>
                    <a:pt x="97" y="1105"/>
                  </a:lnTo>
                  <a:lnTo>
                    <a:pt x="115" y="1138"/>
                  </a:lnTo>
                  <a:lnTo>
                    <a:pt x="124" y="1167"/>
                  </a:lnTo>
                  <a:lnTo>
                    <a:pt x="131" y="1204"/>
                  </a:lnTo>
                  <a:lnTo>
                    <a:pt x="119" y="1257"/>
                  </a:lnTo>
                  <a:lnTo>
                    <a:pt x="129" y="1285"/>
                  </a:lnTo>
                  <a:lnTo>
                    <a:pt x="127" y="1294"/>
                  </a:lnTo>
                  <a:lnTo>
                    <a:pt x="257" y="1294"/>
                  </a:lnTo>
                  <a:lnTo>
                    <a:pt x="260" y="1267"/>
                  </a:lnTo>
                  <a:lnTo>
                    <a:pt x="460" y="1287"/>
                  </a:lnTo>
                  <a:lnTo>
                    <a:pt x="485" y="1294"/>
                  </a:lnTo>
                  <a:lnTo>
                    <a:pt x="560" y="1290"/>
                  </a:lnTo>
                  <a:lnTo>
                    <a:pt x="572" y="1294"/>
                  </a:lnTo>
                  <a:lnTo>
                    <a:pt x="594" y="1295"/>
                  </a:lnTo>
                  <a:lnTo>
                    <a:pt x="721" y="1345"/>
                  </a:lnTo>
                  <a:lnTo>
                    <a:pt x="733" y="1339"/>
                  </a:lnTo>
                  <a:lnTo>
                    <a:pt x="728" y="1295"/>
                  </a:lnTo>
                  <a:lnTo>
                    <a:pt x="735" y="1285"/>
                  </a:lnTo>
                  <a:lnTo>
                    <a:pt x="726" y="1262"/>
                  </a:lnTo>
                  <a:lnTo>
                    <a:pt x="717" y="1219"/>
                  </a:lnTo>
                  <a:lnTo>
                    <a:pt x="696" y="1177"/>
                  </a:lnTo>
                  <a:lnTo>
                    <a:pt x="641" y="1112"/>
                  </a:lnTo>
                  <a:lnTo>
                    <a:pt x="636" y="1096"/>
                  </a:lnTo>
                  <a:lnTo>
                    <a:pt x="635" y="1054"/>
                  </a:lnTo>
                  <a:lnTo>
                    <a:pt x="598" y="987"/>
                  </a:lnTo>
                  <a:lnTo>
                    <a:pt x="588" y="957"/>
                  </a:lnTo>
                  <a:lnTo>
                    <a:pt x="575" y="893"/>
                  </a:lnTo>
                  <a:lnTo>
                    <a:pt x="570" y="853"/>
                  </a:lnTo>
                  <a:lnTo>
                    <a:pt x="574" y="830"/>
                  </a:lnTo>
                  <a:lnTo>
                    <a:pt x="579" y="819"/>
                  </a:lnTo>
                  <a:lnTo>
                    <a:pt x="603" y="800"/>
                  </a:lnTo>
                  <a:lnTo>
                    <a:pt x="621" y="771"/>
                  </a:lnTo>
                  <a:lnTo>
                    <a:pt x="660" y="680"/>
                  </a:lnTo>
                  <a:lnTo>
                    <a:pt x="674" y="662"/>
                  </a:lnTo>
                  <a:lnTo>
                    <a:pt x="684" y="657"/>
                  </a:lnTo>
                  <a:lnTo>
                    <a:pt x="674" y="648"/>
                  </a:lnTo>
                  <a:lnTo>
                    <a:pt x="658" y="591"/>
                  </a:lnTo>
                  <a:lnTo>
                    <a:pt x="630" y="534"/>
                  </a:lnTo>
                  <a:lnTo>
                    <a:pt x="523" y="414"/>
                  </a:lnTo>
                  <a:lnTo>
                    <a:pt x="537" y="386"/>
                  </a:lnTo>
                  <a:lnTo>
                    <a:pt x="550" y="370"/>
                  </a:lnTo>
                  <a:lnTo>
                    <a:pt x="560" y="365"/>
                  </a:lnTo>
                  <a:lnTo>
                    <a:pt x="635" y="379"/>
                  </a:lnTo>
                  <a:lnTo>
                    <a:pt x="664" y="377"/>
                  </a:lnTo>
                  <a:lnTo>
                    <a:pt x="673" y="370"/>
                  </a:lnTo>
                  <a:lnTo>
                    <a:pt x="672" y="363"/>
                  </a:lnTo>
                  <a:lnTo>
                    <a:pt x="663" y="352"/>
                  </a:lnTo>
                  <a:lnTo>
                    <a:pt x="644" y="319"/>
                  </a:lnTo>
                  <a:lnTo>
                    <a:pt x="636" y="287"/>
                  </a:lnTo>
                  <a:lnTo>
                    <a:pt x="628" y="222"/>
                  </a:lnTo>
                  <a:lnTo>
                    <a:pt x="635" y="188"/>
                  </a:lnTo>
                  <a:lnTo>
                    <a:pt x="630" y="123"/>
                  </a:lnTo>
                  <a:lnTo>
                    <a:pt x="612" y="77"/>
                  </a:lnTo>
                  <a:lnTo>
                    <a:pt x="572" y="10"/>
                  </a:lnTo>
                  <a:lnTo>
                    <a:pt x="535" y="0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74" name="Freeform 111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2835" y="2183"/>
              <a:ext cx="230" cy="254"/>
            </a:xfrm>
            <a:custGeom>
              <a:avLst/>
              <a:gdLst>
                <a:gd name="T0" fmla="*/ 746 w 1542"/>
                <a:gd name="T1" fmla="*/ 264 h 1714"/>
                <a:gd name="T2" fmla="*/ 634 w 1542"/>
                <a:gd name="T3" fmla="*/ 241 h 1714"/>
                <a:gd name="T4" fmla="*/ 586 w 1542"/>
                <a:gd name="T5" fmla="*/ 174 h 1714"/>
                <a:gd name="T6" fmla="*/ 566 w 1542"/>
                <a:gd name="T7" fmla="*/ 113 h 1714"/>
                <a:gd name="T8" fmla="*/ 531 w 1542"/>
                <a:gd name="T9" fmla="*/ 102 h 1714"/>
                <a:gd name="T10" fmla="*/ 469 w 1542"/>
                <a:gd name="T11" fmla="*/ 60 h 1714"/>
                <a:gd name="T12" fmla="*/ 374 w 1542"/>
                <a:gd name="T13" fmla="*/ 46 h 1714"/>
                <a:gd name="T14" fmla="*/ 313 w 1542"/>
                <a:gd name="T15" fmla="*/ 53 h 1714"/>
                <a:gd name="T16" fmla="*/ 204 w 1542"/>
                <a:gd name="T17" fmla="*/ 0 h 1714"/>
                <a:gd name="T18" fmla="*/ 203 w 1542"/>
                <a:gd name="T19" fmla="*/ 90 h 1714"/>
                <a:gd name="T20" fmla="*/ 138 w 1542"/>
                <a:gd name="T21" fmla="*/ 150 h 1714"/>
                <a:gd name="T22" fmla="*/ 68 w 1542"/>
                <a:gd name="T23" fmla="*/ 236 h 1714"/>
                <a:gd name="T24" fmla="*/ 74 w 1542"/>
                <a:gd name="T25" fmla="*/ 323 h 1714"/>
                <a:gd name="T26" fmla="*/ 10 w 1542"/>
                <a:gd name="T27" fmla="*/ 389 h 1714"/>
                <a:gd name="T28" fmla="*/ 39 w 1542"/>
                <a:gd name="T29" fmla="*/ 503 h 1714"/>
                <a:gd name="T30" fmla="*/ 43 w 1542"/>
                <a:gd name="T31" fmla="*/ 639 h 1714"/>
                <a:gd name="T32" fmla="*/ 32 w 1542"/>
                <a:gd name="T33" fmla="*/ 745 h 1714"/>
                <a:gd name="T34" fmla="*/ 51 w 1542"/>
                <a:gd name="T35" fmla="*/ 847 h 1714"/>
                <a:gd name="T36" fmla="*/ 18 w 1542"/>
                <a:gd name="T37" fmla="*/ 883 h 1714"/>
                <a:gd name="T38" fmla="*/ 0 w 1542"/>
                <a:gd name="T39" fmla="*/ 907 h 1714"/>
                <a:gd name="T40" fmla="*/ 67 w 1542"/>
                <a:gd name="T41" fmla="*/ 1055 h 1714"/>
                <a:gd name="T42" fmla="*/ 102 w 1542"/>
                <a:gd name="T43" fmla="*/ 1111 h 1714"/>
                <a:gd name="T44" fmla="*/ 157 w 1542"/>
                <a:gd name="T45" fmla="*/ 1109 h 1714"/>
                <a:gd name="T46" fmla="*/ 211 w 1542"/>
                <a:gd name="T47" fmla="*/ 1138 h 1714"/>
                <a:gd name="T48" fmla="*/ 252 w 1542"/>
                <a:gd name="T49" fmla="*/ 1226 h 1714"/>
                <a:gd name="T50" fmla="*/ 407 w 1542"/>
                <a:gd name="T51" fmla="*/ 1277 h 1714"/>
                <a:gd name="T52" fmla="*/ 471 w 1542"/>
                <a:gd name="T53" fmla="*/ 1337 h 1714"/>
                <a:gd name="T54" fmla="*/ 628 w 1542"/>
                <a:gd name="T55" fmla="*/ 1240 h 1714"/>
                <a:gd name="T56" fmla="*/ 1430 w 1542"/>
                <a:gd name="T57" fmla="*/ 1714 h 1714"/>
                <a:gd name="T58" fmla="*/ 1525 w 1542"/>
                <a:gd name="T59" fmla="*/ 1654 h 1714"/>
                <a:gd name="T60" fmla="*/ 1529 w 1542"/>
                <a:gd name="T61" fmla="*/ 533 h 1714"/>
                <a:gd name="T62" fmla="*/ 1510 w 1542"/>
                <a:gd name="T63" fmla="*/ 459 h 1714"/>
                <a:gd name="T64" fmla="*/ 1504 w 1542"/>
                <a:gd name="T65" fmla="*/ 387 h 1714"/>
                <a:gd name="T66" fmla="*/ 1513 w 1542"/>
                <a:gd name="T67" fmla="*/ 255 h 1714"/>
                <a:gd name="T68" fmla="*/ 1538 w 1542"/>
                <a:gd name="T69" fmla="*/ 224 h 1714"/>
                <a:gd name="T70" fmla="*/ 1532 w 1542"/>
                <a:gd name="T71" fmla="*/ 194 h 1714"/>
                <a:gd name="T72" fmla="*/ 1515 w 1542"/>
                <a:gd name="T73" fmla="*/ 160 h 1714"/>
                <a:gd name="T74" fmla="*/ 1406 w 1542"/>
                <a:gd name="T75" fmla="*/ 139 h 1714"/>
                <a:gd name="T76" fmla="*/ 1340 w 1542"/>
                <a:gd name="T77" fmla="*/ 116 h 1714"/>
                <a:gd name="T78" fmla="*/ 1329 w 1542"/>
                <a:gd name="T79" fmla="*/ 75 h 1714"/>
                <a:gd name="T80" fmla="*/ 1260 w 1542"/>
                <a:gd name="T81" fmla="*/ 46 h 1714"/>
                <a:gd name="T82" fmla="*/ 1145 w 1542"/>
                <a:gd name="T83" fmla="*/ 67 h 1714"/>
                <a:gd name="T84" fmla="*/ 1079 w 1542"/>
                <a:gd name="T85" fmla="*/ 109 h 1714"/>
                <a:gd name="T86" fmla="*/ 1039 w 1542"/>
                <a:gd name="T87" fmla="*/ 174 h 1714"/>
                <a:gd name="T88" fmla="*/ 1042 w 1542"/>
                <a:gd name="T89" fmla="*/ 232 h 1714"/>
                <a:gd name="T90" fmla="*/ 1053 w 1542"/>
                <a:gd name="T91" fmla="*/ 282 h 1714"/>
                <a:gd name="T92" fmla="*/ 1009 w 1542"/>
                <a:gd name="T93" fmla="*/ 350 h 1714"/>
                <a:gd name="T94" fmla="*/ 955 w 1542"/>
                <a:gd name="T95" fmla="*/ 382 h 1714"/>
                <a:gd name="T96" fmla="*/ 818 w 1542"/>
                <a:gd name="T97" fmla="*/ 291 h 17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542"/>
                <a:gd name="T148" fmla="*/ 0 h 1714"/>
                <a:gd name="T149" fmla="*/ 1542 w 1542"/>
                <a:gd name="T150" fmla="*/ 1714 h 17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542" h="1714">
                  <a:moveTo>
                    <a:pt x="818" y="291"/>
                  </a:moveTo>
                  <a:lnTo>
                    <a:pt x="746" y="264"/>
                  </a:lnTo>
                  <a:lnTo>
                    <a:pt x="651" y="248"/>
                  </a:lnTo>
                  <a:lnTo>
                    <a:pt x="634" y="241"/>
                  </a:lnTo>
                  <a:lnTo>
                    <a:pt x="603" y="206"/>
                  </a:lnTo>
                  <a:lnTo>
                    <a:pt x="586" y="174"/>
                  </a:lnTo>
                  <a:lnTo>
                    <a:pt x="575" y="127"/>
                  </a:lnTo>
                  <a:lnTo>
                    <a:pt x="566" y="113"/>
                  </a:lnTo>
                  <a:lnTo>
                    <a:pt x="552" y="102"/>
                  </a:lnTo>
                  <a:lnTo>
                    <a:pt x="531" y="102"/>
                  </a:lnTo>
                  <a:lnTo>
                    <a:pt x="496" y="88"/>
                  </a:lnTo>
                  <a:lnTo>
                    <a:pt x="469" y="60"/>
                  </a:lnTo>
                  <a:lnTo>
                    <a:pt x="400" y="47"/>
                  </a:lnTo>
                  <a:lnTo>
                    <a:pt x="374" y="46"/>
                  </a:lnTo>
                  <a:lnTo>
                    <a:pt x="335" y="53"/>
                  </a:lnTo>
                  <a:lnTo>
                    <a:pt x="313" y="53"/>
                  </a:lnTo>
                  <a:lnTo>
                    <a:pt x="268" y="35"/>
                  </a:lnTo>
                  <a:lnTo>
                    <a:pt x="204" y="0"/>
                  </a:lnTo>
                  <a:lnTo>
                    <a:pt x="200" y="58"/>
                  </a:lnTo>
                  <a:lnTo>
                    <a:pt x="203" y="90"/>
                  </a:lnTo>
                  <a:lnTo>
                    <a:pt x="200" y="105"/>
                  </a:lnTo>
                  <a:lnTo>
                    <a:pt x="138" y="150"/>
                  </a:lnTo>
                  <a:lnTo>
                    <a:pt x="74" y="215"/>
                  </a:lnTo>
                  <a:lnTo>
                    <a:pt x="68" y="236"/>
                  </a:lnTo>
                  <a:lnTo>
                    <a:pt x="80" y="292"/>
                  </a:lnTo>
                  <a:lnTo>
                    <a:pt x="74" y="323"/>
                  </a:lnTo>
                  <a:lnTo>
                    <a:pt x="67" y="338"/>
                  </a:lnTo>
                  <a:lnTo>
                    <a:pt x="10" y="389"/>
                  </a:lnTo>
                  <a:lnTo>
                    <a:pt x="0" y="412"/>
                  </a:lnTo>
                  <a:lnTo>
                    <a:pt x="39" y="503"/>
                  </a:lnTo>
                  <a:lnTo>
                    <a:pt x="47" y="590"/>
                  </a:lnTo>
                  <a:lnTo>
                    <a:pt x="43" y="639"/>
                  </a:lnTo>
                  <a:lnTo>
                    <a:pt x="47" y="682"/>
                  </a:lnTo>
                  <a:lnTo>
                    <a:pt x="32" y="745"/>
                  </a:lnTo>
                  <a:lnTo>
                    <a:pt x="53" y="810"/>
                  </a:lnTo>
                  <a:lnTo>
                    <a:pt x="51" y="847"/>
                  </a:lnTo>
                  <a:lnTo>
                    <a:pt x="46" y="856"/>
                  </a:lnTo>
                  <a:lnTo>
                    <a:pt x="18" y="883"/>
                  </a:lnTo>
                  <a:lnTo>
                    <a:pt x="6" y="891"/>
                  </a:lnTo>
                  <a:lnTo>
                    <a:pt x="0" y="907"/>
                  </a:lnTo>
                  <a:lnTo>
                    <a:pt x="56" y="1003"/>
                  </a:lnTo>
                  <a:lnTo>
                    <a:pt x="67" y="1055"/>
                  </a:lnTo>
                  <a:lnTo>
                    <a:pt x="92" y="1102"/>
                  </a:lnTo>
                  <a:lnTo>
                    <a:pt x="102" y="1111"/>
                  </a:lnTo>
                  <a:lnTo>
                    <a:pt x="126" y="1101"/>
                  </a:lnTo>
                  <a:lnTo>
                    <a:pt x="157" y="1109"/>
                  </a:lnTo>
                  <a:lnTo>
                    <a:pt x="203" y="1129"/>
                  </a:lnTo>
                  <a:lnTo>
                    <a:pt x="211" y="1138"/>
                  </a:lnTo>
                  <a:lnTo>
                    <a:pt x="249" y="1222"/>
                  </a:lnTo>
                  <a:lnTo>
                    <a:pt x="252" y="1226"/>
                  </a:lnTo>
                  <a:lnTo>
                    <a:pt x="289" y="1233"/>
                  </a:lnTo>
                  <a:lnTo>
                    <a:pt x="407" y="1277"/>
                  </a:lnTo>
                  <a:lnTo>
                    <a:pt x="418" y="1286"/>
                  </a:lnTo>
                  <a:lnTo>
                    <a:pt x="471" y="1337"/>
                  </a:lnTo>
                  <a:lnTo>
                    <a:pt x="481" y="1328"/>
                  </a:lnTo>
                  <a:lnTo>
                    <a:pt x="628" y="1240"/>
                  </a:lnTo>
                  <a:lnTo>
                    <a:pt x="647" y="1236"/>
                  </a:lnTo>
                  <a:lnTo>
                    <a:pt x="1430" y="1714"/>
                  </a:lnTo>
                  <a:lnTo>
                    <a:pt x="1434" y="1653"/>
                  </a:lnTo>
                  <a:lnTo>
                    <a:pt x="1525" y="1654"/>
                  </a:lnTo>
                  <a:lnTo>
                    <a:pt x="1528" y="1644"/>
                  </a:lnTo>
                  <a:lnTo>
                    <a:pt x="1529" y="533"/>
                  </a:lnTo>
                  <a:lnTo>
                    <a:pt x="1526" y="512"/>
                  </a:lnTo>
                  <a:lnTo>
                    <a:pt x="1510" y="459"/>
                  </a:lnTo>
                  <a:lnTo>
                    <a:pt x="1501" y="405"/>
                  </a:lnTo>
                  <a:lnTo>
                    <a:pt x="1504" y="387"/>
                  </a:lnTo>
                  <a:lnTo>
                    <a:pt x="1528" y="330"/>
                  </a:lnTo>
                  <a:lnTo>
                    <a:pt x="1513" y="255"/>
                  </a:lnTo>
                  <a:lnTo>
                    <a:pt x="1522" y="236"/>
                  </a:lnTo>
                  <a:lnTo>
                    <a:pt x="1538" y="224"/>
                  </a:lnTo>
                  <a:lnTo>
                    <a:pt x="1542" y="211"/>
                  </a:lnTo>
                  <a:lnTo>
                    <a:pt x="1532" y="194"/>
                  </a:lnTo>
                  <a:lnTo>
                    <a:pt x="1528" y="173"/>
                  </a:lnTo>
                  <a:lnTo>
                    <a:pt x="1515" y="160"/>
                  </a:lnTo>
                  <a:lnTo>
                    <a:pt x="1438" y="157"/>
                  </a:lnTo>
                  <a:lnTo>
                    <a:pt x="1406" y="139"/>
                  </a:lnTo>
                  <a:lnTo>
                    <a:pt x="1352" y="130"/>
                  </a:lnTo>
                  <a:lnTo>
                    <a:pt x="1340" y="116"/>
                  </a:lnTo>
                  <a:lnTo>
                    <a:pt x="1337" y="86"/>
                  </a:lnTo>
                  <a:lnTo>
                    <a:pt x="1329" y="75"/>
                  </a:lnTo>
                  <a:lnTo>
                    <a:pt x="1292" y="54"/>
                  </a:lnTo>
                  <a:lnTo>
                    <a:pt x="1260" y="46"/>
                  </a:lnTo>
                  <a:lnTo>
                    <a:pt x="1206" y="42"/>
                  </a:lnTo>
                  <a:lnTo>
                    <a:pt x="1145" y="67"/>
                  </a:lnTo>
                  <a:lnTo>
                    <a:pt x="1092" y="98"/>
                  </a:lnTo>
                  <a:lnTo>
                    <a:pt x="1079" y="109"/>
                  </a:lnTo>
                  <a:lnTo>
                    <a:pt x="1048" y="144"/>
                  </a:lnTo>
                  <a:lnTo>
                    <a:pt x="1039" y="174"/>
                  </a:lnTo>
                  <a:lnTo>
                    <a:pt x="1035" y="199"/>
                  </a:lnTo>
                  <a:lnTo>
                    <a:pt x="1042" y="232"/>
                  </a:lnTo>
                  <a:lnTo>
                    <a:pt x="1053" y="268"/>
                  </a:lnTo>
                  <a:lnTo>
                    <a:pt x="1053" y="282"/>
                  </a:lnTo>
                  <a:lnTo>
                    <a:pt x="1040" y="315"/>
                  </a:lnTo>
                  <a:lnTo>
                    <a:pt x="1009" y="350"/>
                  </a:lnTo>
                  <a:lnTo>
                    <a:pt x="977" y="373"/>
                  </a:lnTo>
                  <a:lnTo>
                    <a:pt x="955" y="382"/>
                  </a:lnTo>
                  <a:lnTo>
                    <a:pt x="936" y="380"/>
                  </a:lnTo>
                  <a:lnTo>
                    <a:pt x="818" y="291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75" name="Freeform 112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3058" y="2214"/>
              <a:ext cx="180" cy="178"/>
            </a:xfrm>
            <a:custGeom>
              <a:avLst/>
              <a:gdLst>
                <a:gd name="T0" fmla="*/ 82 w 1190"/>
                <a:gd name="T1" fmla="*/ 9 h 1211"/>
                <a:gd name="T2" fmla="*/ 41 w 1190"/>
                <a:gd name="T3" fmla="*/ 0 h 1211"/>
                <a:gd name="T4" fmla="*/ 21 w 1190"/>
                <a:gd name="T5" fmla="*/ 25 h 1211"/>
                <a:gd name="T6" fmla="*/ 27 w 1190"/>
                <a:gd name="T7" fmla="*/ 119 h 1211"/>
                <a:gd name="T8" fmla="*/ 0 w 1190"/>
                <a:gd name="T9" fmla="*/ 194 h 1211"/>
                <a:gd name="T10" fmla="*/ 25 w 1190"/>
                <a:gd name="T11" fmla="*/ 301 h 1211"/>
                <a:gd name="T12" fmla="*/ 27 w 1190"/>
                <a:gd name="T13" fmla="*/ 1211 h 1211"/>
                <a:gd name="T14" fmla="*/ 1190 w 1190"/>
                <a:gd name="T15" fmla="*/ 1205 h 1211"/>
                <a:gd name="T16" fmla="*/ 1158 w 1190"/>
                <a:gd name="T17" fmla="*/ 1154 h 1211"/>
                <a:gd name="T18" fmla="*/ 1122 w 1190"/>
                <a:gd name="T19" fmla="*/ 1115 h 1211"/>
                <a:gd name="T20" fmla="*/ 1070 w 1190"/>
                <a:gd name="T21" fmla="*/ 1045 h 1211"/>
                <a:gd name="T22" fmla="*/ 1061 w 1190"/>
                <a:gd name="T23" fmla="*/ 976 h 1211"/>
                <a:gd name="T24" fmla="*/ 1084 w 1190"/>
                <a:gd name="T25" fmla="*/ 960 h 1211"/>
                <a:gd name="T26" fmla="*/ 1057 w 1190"/>
                <a:gd name="T27" fmla="*/ 930 h 1211"/>
                <a:gd name="T28" fmla="*/ 925 w 1190"/>
                <a:gd name="T29" fmla="*/ 656 h 1211"/>
                <a:gd name="T30" fmla="*/ 852 w 1190"/>
                <a:gd name="T31" fmla="*/ 460 h 1211"/>
                <a:gd name="T32" fmla="*/ 750 w 1190"/>
                <a:gd name="T33" fmla="*/ 254 h 1211"/>
                <a:gd name="T34" fmla="*/ 782 w 1190"/>
                <a:gd name="T35" fmla="*/ 215 h 1211"/>
                <a:gd name="T36" fmla="*/ 811 w 1190"/>
                <a:gd name="T37" fmla="*/ 298 h 1211"/>
                <a:gd name="T38" fmla="*/ 849 w 1190"/>
                <a:gd name="T39" fmla="*/ 379 h 1211"/>
                <a:gd name="T40" fmla="*/ 901 w 1190"/>
                <a:gd name="T41" fmla="*/ 446 h 1211"/>
                <a:gd name="T42" fmla="*/ 938 w 1190"/>
                <a:gd name="T43" fmla="*/ 479 h 1211"/>
                <a:gd name="T44" fmla="*/ 970 w 1190"/>
                <a:gd name="T45" fmla="*/ 356 h 1211"/>
                <a:gd name="T46" fmla="*/ 1007 w 1190"/>
                <a:gd name="T47" fmla="*/ 269 h 1211"/>
                <a:gd name="T48" fmla="*/ 906 w 1190"/>
                <a:gd name="T49" fmla="*/ 57 h 1211"/>
                <a:gd name="T50" fmla="*/ 872 w 1190"/>
                <a:gd name="T51" fmla="*/ 71 h 1211"/>
                <a:gd name="T52" fmla="*/ 830 w 1190"/>
                <a:gd name="T53" fmla="*/ 60 h 1211"/>
                <a:gd name="T54" fmla="*/ 794 w 1190"/>
                <a:gd name="T55" fmla="*/ 73 h 1211"/>
                <a:gd name="T56" fmla="*/ 749 w 1190"/>
                <a:gd name="T57" fmla="*/ 55 h 1211"/>
                <a:gd name="T58" fmla="*/ 700 w 1190"/>
                <a:gd name="T59" fmla="*/ 43 h 1211"/>
                <a:gd name="T60" fmla="*/ 659 w 1190"/>
                <a:gd name="T61" fmla="*/ 9 h 1211"/>
                <a:gd name="T62" fmla="*/ 620 w 1190"/>
                <a:gd name="T63" fmla="*/ 6 h 1211"/>
                <a:gd name="T64" fmla="*/ 569 w 1190"/>
                <a:gd name="T65" fmla="*/ 25 h 1211"/>
                <a:gd name="T66" fmla="*/ 492 w 1190"/>
                <a:gd name="T67" fmla="*/ 59 h 1211"/>
                <a:gd name="T68" fmla="*/ 448 w 1190"/>
                <a:gd name="T69" fmla="*/ 97 h 1211"/>
                <a:gd name="T70" fmla="*/ 378 w 1190"/>
                <a:gd name="T71" fmla="*/ 71 h 1211"/>
                <a:gd name="T72" fmla="*/ 318 w 1190"/>
                <a:gd name="T73" fmla="*/ 66 h 1211"/>
                <a:gd name="T74" fmla="*/ 145 w 1190"/>
                <a:gd name="T75" fmla="*/ 4 h 121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190"/>
                <a:gd name="T115" fmla="*/ 0 h 1211"/>
                <a:gd name="T116" fmla="*/ 1190 w 1190"/>
                <a:gd name="T117" fmla="*/ 1211 h 1211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190" h="1211">
                  <a:moveTo>
                    <a:pt x="109" y="4"/>
                  </a:moveTo>
                  <a:lnTo>
                    <a:pt x="82" y="9"/>
                  </a:lnTo>
                  <a:lnTo>
                    <a:pt x="57" y="9"/>
                  </a:lnTo>
                  <a:lnTo>
                    <a:pt x="41" y="0"/>
                  </a:lnTo>
                  <a:lnTo>
                    <a:pt x="37" y="13"/>
                  </a:lnTo>
                  <a:lnTo>
                    <a:pt x="21" y="25"/>
                  </a:lnTo>
                  <a:lnTo>
                    <a:pt x="12" y="44"/>
                  </a:lnTo>
                  <a:lnTo>
                    <a:pt x="27" y="119"/>
                  </a:lnTo>
                  <a:lnTo>
                    <a:pt x="3" y="176"/>
                  </a:lnTo>
                  <a:lnTo>
                    <a:pt x="0" y="194"/>
                  </a:lnTo>
                  <a:lnTo>
                    <a:pt x="9" y="248"/>
                  </a:lnTo>
                  <a:lnTo>
                    <a:pt x="25" y="301"/>
                  </a:lnTo>
                  <a:lnTo>
                    <a:pt x="28" y="322"/>
                  </a:lnTo>
                  <a:lnTo>
                    <a:pt x="27" y="1211"/>
                  </a:lnTo>
                  <a:lnTo>
                    <a:pt x="63" y="1205"/>
                  </a:lnTo>
                  <a:lnTo>
                    <a:pt x="1190" y="1205"/>
                  </a:lnTo>
                  <a:lnTo>
                    <a:pt x="1175" y="1175"/>
                  </a:lnTo>
                  <a:lnTo>
                    <a:pt x="1158" y="1154"/>
                  </a:lnTo>
                  <a:lnTo>
                    <a:pt x="1140" y="1126"/>
                  </a:lnTo>
                  <a:lnTo>
                    <a:pt x="1122" y="1115"/>
                  </a:lnTo>
                  <a:lnTo>
                    <a:pt x="1086" y="1084"/>
                  </a:lnTo>
                  <a:lnTo>
                    <a:pt x="1070" y="1045"/>
                  </a:lnTo>
                  <a:lnTo>
                    <a:pt x="1059" y="985"/>
                  </a:lnTo>
                  <a:lnTo>
                    <a:pt x="1061" y="976"/>
                  </a:lnTo>
                  <a:lnTo>
                    <a:pt x="1073" y="971"/>
                  </a:lnTo>
                  <a:lnTo>
                    <a:pt x="1084" y="960"/>
                  </a:lnTo>
                  <a:lnTo>
                    <a:pt x="1077" y="950"/>
                  </a:lnTo>
                  <a:lnTo>
                    <a:pt x="1057" y="930"/>
                  </a:lnTo>
                  <a:lnTo>
                    <a:pt x="1032" y="900"/>
                  </a:lnTo>
                  <a:lnTo>
                    <a:pt x="925" y="656"/>
                  </a:lnTo>
                  <a:lnTo>
                    <a:pt x="909" y="629"/>
                  </a:lnTo>
                  <a:lnTo>
                    <a:pt x="852" y="460"/>
                  </a:lnTo>
                  <a:lnTo>
                    <a:pt x="782" y="352"/>
                  </a:lnTo>
                  <a:lnTo>
                    <a:pt x="750" y="254"/>
                  </a:lnTo>
                  <a:lnTo>
                    <a:pt x="762" y="224"/>
                  </a:lnTo>
                  <a:lnTo>
                    <a:pt x="782" y="215"/>
                  </a:lnTo>
                  <a:lnTo>
                    <a:pt x="791" y="234"/>
                  </a:lnTo>
                  <a:lnTo>
                    <a:pt x="811" y="298"/>
                  </a:lnTo>
                  <a:lnTo>
                    <a:pt x="835" y="322"/>
                  </a:lnTo>
                  <a:lnTo>
                    <a:pt x="849" y="379"/>
                  </a:lnTo>
                  <a:lnTo>
                    <a:pt x="865" y="407"/>
                  </a:lnTo>
                  <a:lnTo>
                    <a:pt x="901" y="446"/>
                  </a:lnTo>
                  <a:lnTo>
                    <a:pt x="921" y="476"/>
                  </a:lnTo>
                  <a:lnTo>
                    <a:pt x="938" y="479"/>
                  </a:lnTo>
                  <a:lnTo>
                    <a:pt x="947" y="471"/>
                  </a:lnTo>
                  <a:lnTo>
                    <a:pt x="970" y="356"/>
                  </a:lnTo>
                  <a:lnTo>
                    <a:pt x="990" y="291"/>
                  </a:lnTo>
                  <a:lnTo>
                    <a:pt x="1007" y="269"/>
                  </a:lnTo>
                  <a:lnTo>
                    <a:pt x="929" y="39"/>
                  </a:lnTo>
                  <a:lnTo>
                    <a:pt x="906" y="57"/>
                  </a:lnTo>
                  <a:lnTo>
                    <a:pt x="886" y="67"/>
                  </a:lnTo>
                  <a:lnTo>
                    <a:pt x="872" y="71"/>
                  </a:lnTo>
                  <a:lnTo>
                    <a:pt x="841" y="62"/>
                  </a:lnTo>
                  <a:lnTo>
                    <a:pt x="830" y="60"/>
                  </a:lnTo>
                  <a:lnTo>
                    <a:pt x="819" y="50"/>
                  </a:lnTo>
                  <a:lnTo>
                    <a:pt x="794" y="73"/>
                  </a:lnTo>
                  <a:lnTo>
                    <a:pt x="778" y="71"/>
                  </a:lnTo>
                  <a:lnTo>
                    <a:pt x="749" y="55"/>
                  </a:lnTo>
                  <a:lnTo>
                    <a:pt x="726" y="64"/>
                  </a:lnTo>
                  <a:lnTo>
                    <a:pt x="700" y="43"/>
                  </a:lnTo>
                  <a:lnTo>
                    <a:pt x="690" y="16"/>
                  </a:lnTo>
                  <a:lnTo>
                    <a:pt x="659" y="9"/>
                  </a:lnTo>
                  <a:lnTo>
                    <a:pt x="636" y="9"/>
                  </a:lnTo>
                  <a:lnTo>
                    <a:pt x="620" y="6"/>
                  </a:lnTo>
                  <a:lnTo>
                    <a:pt x="603" y="9"/>
                  </a:lnTo>
                  <a:lnTo>
                    <a:pt x="569" y="25"/>
                  </a:lnTo>
                  <a:lnTo>
                    <a:pt x="531" y="36"/>
                  </a:lnTo>
                  <a:lnTo>
                    <a:pt x="492" y="59"/>
                  </a:lnTo>
                  <a:lnTo>
                    <a:pt x="459" y="90"/>
                  </a:lnTo>
                  <a:lnTo>
                    <a:pt x="448" y="97"/>
                  </a:lnTo>
                  <a:lnTo>
                    <a:pt x="420" y="94"/>
                  </a:lnTo>
                  <a:lnTo>
                    <a:pt x="378" y="71"/>
                  </a:lnTo>
                  <a:lnTo>
                    <a:pt x="335" y="66"/>
                  </a:lnTo>
                  <a:lnTo>
                    <a:pt x="318" y="66"/>
                  </a:lnTo>
                  <a:lnTo>
                    <a:pt x="303" y="43"/>
                  </a:lnTo>
                  <a:lnTo>
                    <a:pt x="145" y="4"/>
                  </a:lnTo>
                  <a:lnTo>
                    <a:pt x="109" y="4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76" name="Freeform 113"/>
            <p:cNvSpPr>
              <a:spLocks/>
            </p:cNvSpPr>
            <p:nvPr>
              <p:custDataLst>
                <p:tags r:id="rId104"/>
              </p:custDataLst>
            </p:nvPr>
          </p:nvSpPr>
          <p:spPr bwMode="auto">
            <a:xfrm>
              <a:off x="2444" y="2295"/>
              <a:ext cx="181" cy="225"/>
            </a:xfrm>
            <a:custGeom>
              <a:avLst/>
              <a:gdLst>
                <a:gd name="T0" fmla="*/ 506 w 1196"/>
                <a:gd name="T1" fmla="*/ 161 h 1511"/>
                <a:gd name="T2" fmla="*/ 495 w 1196"/>
                <a:gd name="T3" fmla="*/ 460 h 1511"/>
                <a:gd name="T4" fmla="*/ 421 w 1196"/>
                <a:gd name="T5" fmla="*/ 501 h 1511"/>
                <a:gd name="T6" fmla="*/ 385 w 1196"/>
                <a:gd name="T7" fmla="*/ 546 h 1511"/>
                <a:gd name="T8" fmla="*/ 2 w 1196"/>
                <a:gd name="T9" fmla="*/ 726 h 1511"/>
                <a:gd name="T10" fmla="*/ 2 w 1196"/>
                <a:gd name="T11" fmla="*/ 795 h 1511"/>
                <a:gd name="T12" fmla="*/ 32 w 1196"/>
                <a:gd name="T13" fmla="*/ 778 h 1511"/>
                <a:gd name="T14" fmla="*/ 75 w 1196"/>
                <a:gd name="T15" fmla="*/ 843 h 1511"/>
                <a:gd name="T16" fmla="*/ 75 w 1196"/>
                <a:gd name="T17" fmla="*/ 924 h 1511"/>
                <a:gd name="T18" fmla="*/ 55 w 1196"/>
                <a:gd name="T19" fmla="*/ 964 h 1511"/>
                <a:gd name="T20" fmla="*/ 98 w 1196"/>
                <a:gd name="T21" fmla="*/ 1048 h 1511"/>
                <a:gd name="T22" fmla="*/ 90 w 1196"/>
                <a:gd name="T23" fmla="*/ 1212 h 1511"/>
                <a:gd name="T24" fmla="*/ 62 w 1196"/>
                <a:gd name="T25" fmla="*/ 1311 h 1511"/>
                <a:gd name="T26" fmla="*/ 218 w 1196"/>
                <a:gd name="T27" fmla="*/ 1271 h 1511"/>
                <a:gd name="T28" fmla="*/ 271 w 1196"/>
                <a:gd name="T29" fmla="*/ 1283 h 1511"/>
                <a:gd name="T30" fmla="*/ 331 w 1196"/>
                <a:gd name="T31" fmla="*/ 1329 h 1511"/>
                <a:gd name="T32" fmla="*/ 369 w 1196"/>
                <a:gd name="T33" fmla="*/ 1341 h 1511"/>
                <a:gd name="T34" fmla="*/ 389 w 1196"/>
                <a:gd name="T35" fmla="*/ 1387 h 1511"/>
                <a:gd name="T36" fmla="*/ 441 w 1196"/>
                <a:gd name="T37" fmla="*/ 1461 h 1511"/>
                <a:gd name="T38" fmla="*/ 519 w 1196"/>
                <a:gd name="T39" fmla="*/ 1495 h 1511"/>
                <a:gd name="T40" fmla="*/ 527 w 1196"/>
                <a:gd name="T41" fmla="*/ 1433 h 1511"/>
                <a:gd name="T42" fmla="*/ 556 w 1196"/>
                <a:gd name="T43" fmla="*/ 1415 h 1511"/>
                <a:gd name="T44" fmla="*/ 593 w 1196"/>
                <a:gd name="T45" fmla="*/ 1466 h 1511"/>
                <a:gd name="T46" fmla="*/ 622 w 1196"/>
                <a:gd name="T47" fmla="*/ 1479 h 1511"/>
                <a:gd name="T48" fmla="*/ 624 w 1196"/>
                <a:gd name="T49" fmla="*/ 1449 h 1511"/>
                <a:gd name="T50" fmla="*/ 682 w 1196"/>
                <a:gd name="T51" fmla="*/ 1452 h 1511"/>
                <a:gd name="T52" fmla="*/ 720 w 1196"/>
                <a:gd name="T53" fmla="*/ 1452 h 1511"/>
                <a:gd name="T54" fmla="*/ 1135 w 1196"/>
                <a:gd name="T55" fmla="*/ 1433 h 1511"/>
                <a:gd name="T56" fmla="*/ 1119 w 1196"/>
                <a:gd name="T57" fmla="*/ 1304 h 1511"/>
                <a:gd name="T58" fmla="*/ 1029 w 1196"/>
                <a:gd name="T59" fmla="*/ 285 h 1511"/>
                <a:gd name="T60" fmla="*/ 1196 w 1196"/>
                <a:gd name="T61" fmla="*/ 273 h 1511"/>
                <a:gd name="T62" fmla="*/ 824 w 1196"/>
                <a:gd name="T63" fmla="*/ 136 h 1511"/>
                <a:gd name="T64" fmla="*/ 529 w 1196"/>
                <a:gd name="T65" fmla="*/ 156 h 151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196"/>
                <a:gd name="T100" fmla="*/ 0 h 1511"/>
                <a:gd name="T101" fmla="*/ 1196 w 1196"/>
                <a:gd name="T102" fmla="*/ 1511 h 151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196" h="1511">
                  <a:moveTo>
                    <a:pt x="529" y="156"/>
                  </a:moveTo>
                  <a:lnTo>
                    <a:pt x="506" y="161"/>
                  </a:lnTo>
                  <a:lnTo>
                    <a:pt x="502" y="189"/>
                  </a:lnTo>
                  <a:lnTo>
                    <a:pt x="495" y="460"/>
                  </a:lnTo>
                  <a:lnTo>
                    <a:pt x="489" y="469"/>
                  </a:lnTo>
                  <a:lnTo>
                    <a:pt x="421" y="501"/>
                  </a:lnTo>
                  <a:lnTo>
                    <a:pt x="396" y="525"/>
                  </a:lnTo>
                  <a:lnTo>
                    <a:pt x="385" y="546"/>
                  </a:lnTo>
                  <a:lnTo>
                    <a:pt x="394" y="730"/>
                  </a:lnTo>
                  <a:lnTo>
                    <a:pt x="2" y="726"/>
                  </a:lnTo>
                  <a:lnTo>
                    <a:pt x="0" y="785"/>
                  </a:lnTo>
                  <a:lnTo>
                    <a:pt x="2" y="795"/>
                  </a:lnTo>
                  <a:lnTo>
                    <a:pt x="18" y="772"/>
                  </a:lnTo>
                  <a:lnTo>
                    <a:pt x="32" y="778"/>
                  </a:lnTo>
                  <a:lnTo>
                    <a:pt x="67" y="823"/>
                  </a:lnTo>
                  <a:lnTo>
                    <a:pt x="75" y="843"/>
                  </a:lnTo>
                  <a:lnTo>
                    <a:pt x="78" y="871"/>
                  </a:lnTo>
                  <a:lnTo>
                    <a:pt x="75" y="924"/>
                  </a:lnTo>
                  <a:lnTo>
                    <a:pt x="67" y="947"/>
                  </a:lnTo>
                  <a:lnTo>
                    <a:pt x="55" y="964"/>
                  </a:lnTo>
                  <a:lnTo>
                    <a:pt x="84" y="1004"/>
                  </a:lnTo>
                  <a:lnTo>
                    <a:pt x="98" y="1048"/>
                  </a:lnTo>
                  <a:lnTo>
                    <a:pt x="103" y="1108"/>
                  </a:lnTo>
                  <a:lnTo>
                    <a:pt x="90" y="1212"/>
                  </a:lnTo>
                  <a:lnTo>
                    <a:pt x="65" y="1283"/>
                  </a:lnTo>
                  <a:lnTo>
                    <a:pt x="62" y="1311"/>
                  </a:lnTo>
                  <a:lnTo>
                    <a:pt x="86" y="1288"/>
                  </a:lnTo>
                  <a:lnTo>
                    <a:pt x="218" y="1271"/>
                  </a:lnTo>
                  <a:lnTo>
                    <a:pt x="245" y="1272"/>
                  </a:lnTo>
                  <a:lnTo>
                    <a:pt x="271" y="1283"/>
                  </a:lnTo>
                  <a:lnTo>
                    <a:pt x="302" y="1313"/>
                  </a:lnTo>
                  <a:lnTo>
                    <a:pt x="331" y="1329"/>
                  </a:lnTo>
                  <a:lnTo>
                    <a:pt x="356" y="1332"/>
                  </a:lnTo>
                  <a:lnTo>
                    <a:pt x="369" y="1341"/>
                  </a:lnTo>
                  <a:lnTo>
                    <a:pt x="376" y="1350"/>
                  </a:lnTo>
                  <a:lnTo>
                    <a:pt x="389" y="1387"/>
                  </a:lnTo>
                  <a:lnTo>
                    <a:pt x="413" y="1429"/>
                  </a:lnTo>
                  <a:lnTo>
                    <a:pt x="441" y="1461"/>
                  </a:lnTo>
                  <a:lnTo>
                    <a:pt x="504" y="1511"/>
                  </a:lnTo>
                  <a:lnTo>
                    <a:pt x="519" y="1495"/>
                  </a:lnTo>
                  <a:lnTo>
                    <a:pt x="520" y="1463"/>
                  </a:lnTo>
                  <a:lnTo>
                    <a:pt x="527" y="1433"/>
                  </a:lnTo>
                  <a:lnTo>
                    <a:pt x="538" y="1419"/>
                  </a:lnTo>
                  <a:lnTo>
                    <a:pt x="556" y="1415"/>
                  </a:lnTo>
                  <a:lnTo>
                    <a:pt x="568" y="1422"/>
                  </a:lnTo>
                  <a:lnTo>
                    <a:pt x="593" y="1466"/>
                  </a:lnTo>
                  <a:lnTo>
                    <a:pt x="601" y="1475"/>
                  </a:lnTo>
                  <a:lnTo>
                    <a:pt x="622" y="1479"/>
                  </a:lnTo>
                  <a:lnTo>
                    <a:pt x="626" y="1465"/>
                  </a:lnTo>
                  <a:lnTo>
                    <a:pt x="624" y="1449"/>
                  </a:lnTo>
                  <a:lnTo>
                    <a:pt x="626" y="1438"/>
                  </a:lnTo>
                  <a:lnTo>
                    <a:pt x="682" y="1452"/>
                  </a:lnTo>
                  <a:lnTo>
                    <a:pt x="704" y="1454"/>
                  </a:lnTo>
                  <a:lnTo>
                    <a:pt x="720" y="1452"/>
                  </a:lnTo>
                  <a:lnTo>
                    <a:pt x="764" y="1435"/>
                  </a:lnTo>
                  <a:lnTo>
                    <a:pt x="1135" y="1433"/>
                  </a:lnTo>
                  <a:lnTo>
                    <a:pt x="1151" y="1346"/>
                  </a:lnTo>
                  <a:lnTo>
                    <a:pt x="1119" y="1304"/>
                  </a:lnTo>
                  <a:lnTo>
                    <a:pt x="1030" y="329"/>
                  </a:lnTo>
                  <a:lnTo>
                    <a:pt x="1029" y="285"/>
                  </a:lnTo>
                  <a:lnTo>
                    <a:pt x="1172" y="280"/>
                  </a:lnTo>
                  <a:lnTo>
                    <a:pt x="1196" y="273"/>
                  </a:lnTo>
                  <a:lnTo>
                    <a:pt x="826" y="0"/>
                  </a:lnTo>
                  <a:lnTo>
                    <a:pt x="824" y="136"/>
                  </a:lnTo>
                  <a:lnTo>
                    <a:pt x="820" y="157"/>
                  </a:lnTo>
                  <a:lnTo>
                    <a:pt x="529" y="156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77" name="Freeform 114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3017" y="2391"/>
              <a:ext cx="248" cy="325"/>
            </a:xfrm>
            <a:custGeom>
              <a:avLst/>
              <a:gdLst>
                <a:gd name="T0" fmla="*/ 348 w 1655"/>
                <a:gd name="T1" fmla="*/ 0 h 2192"/>
                <a:gd name="T2" fmla="*/ 309 w 1655"/>
                <a:gd name="T3" fmla="*/ 238 h 2192"/>
                <a:gd name="T4" fmla="*/ 214 w 1655"/>
                <a:gd name="T5" fmla="*/ 753 h 2192"/>
                <a:gd name="T6" fmla="*/ 93 w 1655"/>
                <a:gd name="T7" fmla="*/ 830 h 2192"/>
                <a:gd name="T8" fmla="*/ 68 w 1655"/>
                <a:gd name="T9" fmla="*/ 933 h 2192"/>
                <a:gd name="T10" fmla="*/ 27 w 1655"/>
                <a:gd name="T11" fmla="*/ 980 h 2192"/>
                <a:gd name="T12" fmla="*/ 14 w 1655"/>
                <a:gd name="T13" fmla="*/ 1066 h 2192"/>
                <a:gd name="T14" fmla="*/ 33 w 1655"/>
                <a:gd name="T15" fmla="*/ 1114 h 2192"/>
                <a:gd name="T16" fmla="*/ 71 w 1655"/>
                <a:gd name="T17" fmla="*/ 1219 h 2192"/>
                <a:gd name="T18" fmla="*/ 108 w 1655"/>
                <a:gd name="T19" fmla="*/ 1281 h 2192"/>
                <a:gd name="T20" fmla="*/ 162 w 1655"/>
                <a:gd name="T21" fmla="*/ 1412 h 2192"/>
                <a:gd name="T22" fmla="*/ 163 w 1655"/>
                <a:gd name="T23" fmla="*/ 1547 h 2192"/>
                <a:gd name="T24" fmla="*/ 219 w 1655"/>
                <a:gd name="T25" fmla="*/ 1593 h 2192"/>
                <a:gd name="T26" fmla="*/ 250 w 1655"/>
                <a:gd name="T27" fmla="*/ 1637 h 2192"/>
                <a:gd name="T28" fmla="*/ 334 w 1655"/>
                <a:gd name="T29" fmla="*/ 1683 h 2192"/>
                <a:gd name="T30" fmla="*/ 346 w 1655"/>
                <a:gd name="T31" fmla="*/ 1744 h 2192"/>
                <a:gd name="T32" fmla="*/ 431 w 1655"/>
                <a:gd name="T33" fmla="*/ 1815 h 2192"/>
                <a:gd name="T34" fmla="*/ 456 w 1655"/>
                <a:gd name="T35" fmla="*/ 1896 h 2192"/>
                <a:gd name="T36" fmla="*/ 532 w 1655"/>
                <a:gd name="T37" fmla="*/ 1940 h 2192"/>
                <a:gd name="T38" fmla="*/ 536 w 1655"/>
                <a:gd name="T39" fmla="*/ 1998 h 2192"/>
                <a:gd name="T40" fmla="*/ 594 w 1655"/>
                <a:gd name="T41" fmla="*/ 2078 h 2192"/>
                <a:gd name="T42" fmla="*/ 649 w 1655"/>
                <a:gd name="T43" fmla="*/ 2113 h 2192"/>
                <a:gd name="T44" fmla="*/ 701 w 1655"/>
                <a:gd name="T45" fmla="*/ 2081 h 2192"/>
                <a:gd name="T46" fmla="*/ 757 w 1655"/>
                <a:gd name="T47" fmla="*/ 2078 h 2192"/>
                <a:gd name="T48" fmla="*/ 879 w 1655"/>
                <a:gd name="T49" fmla="*/ 2192 h 2192"/>
                <a:gd name="T50" fmla="*/ 944 w 1655"/>
                <a:gd name="T51" fmla="*/ 2176 h 2192"/>
                <a:gd name="T52" fmla="*/ 1064 w 1655"/>
                <a:gd name="T53" fmla="*/ 2169 h 2192"/>
                <a:gd name="T54" fmla="*/ 1129 w 1655"/>
                <a:gd name="T55" fmla="*/ 2178 h 2192"/>
                <a:gd name="T56" fmla="*/ 1199 w 1655"/>
                <a:gd name="T57" fmla="*/ 2132 h 2192"/>
                <a:gd name="T58" fmla="*/ 1373 w 1655"/>
                <a:gd name="T59" fmla="*/ 2067 h 2192"/>
                <a:gd name="T60" fmla="*/ 1379 w 1655"/>
                <a:gd name="T61" fmla="*/ 2053 h 2192"/>
                <a:gd name="T62" fmla="*/ 1344 w 1655"/>
                <a:gd name="T63" fmla="*/ 1979 h 2192"/>
                <a:gd name="T64" fmla="*/ 1259 w 1655"/>
                <a:gd name="T65" fmla="*/ 1825 h 2192"/>
                <a:gd name="T66" fmla="*/ 1129 w 1655"/>
                <a:gd name="T67" fmla="*/ 1706 h 2192"/>
                <a:gd name="T68" fmla="*/ 1115 w 1655"/>
                <a:gd name="T69" fmla="*/ 1625 h 2192"/>
                <a:gd name="T70" fmla="*/ 1183 w 1655"/>
                <a:gd name="T71" fmla="*/ 1630 h 2192"/>
                <a:gd name="T72" fmla="*/ 1213 w 1655"/>
                <a:gd name="T73" fmla="*/ 1526 h 2192"/>
                <a:gd name="T74" fmla="*/ 1252 w 1655"/>
                <a:gd name="T75" fmla="*/ 1341 h 2192"/>
                <a:gd name="T76" fmla="*/ 1293 w 1655"/>
                <a:gd name="T77" fmla="*/ 1334 h 2192"/>
                <a:gd name="T78" fmla="*/ 1362 w 1655"/>
                <a:gd name="T79" fmla="*/ 1121 h 2192"/>
                <a:gd name="T80" fmla="*/ 1443 w 1655"/>
                <a:gd name="T81" fmla="*/ 929 h 2192"/>
                <a:gd name="T82" fmla="*/ 1485 w 1655"/>
                <a:gd name="T83" fmla="*/ 657 h 2192"/>
                <a:gd name="T84" fmla="*/ 1529 w 1655"/>
                <a:gd name="T85" fmla="*/ 601 h 2192"/>
                <a:gd name="T86" fmla="*/ 1561 w 1655"/>
                <a:gd name="T87" fmla="*/ 557 h 2192"/>
                <a:gd name="T88" fmla="*/ 1632 w 1655"/>
                <a:gd name="T89" fmla="*/ 499 h 2192"/>
                <a:gd name="T90" fmla="*/ 1644 w 1655"/>
                <a:gd name="T91" fmla="*/ 458 h 2192"/>
                <a:gd name="T92" fmla="*/ 1541 w 1655"/>
                <a:gd name="T93" fmla="*/ 379 h 2192"/>
                <a:gd name="T94" fmla="*/ 1507 w 1655"/>
                <a:gd name="T95" fmla="*/ 85 h 219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655"/>
                <a:gd name="T145" fmla="*/ 0 h 2192"/>
                <a:gd name="T146" fmla="*/ 1655 w 1655"/>
                <a:gd name="T147" fmla="*/ 2192 h 2192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655" h="2192">
                  <a:moveTo>
                    <a:pt x="1507" y="85"/>
                  </a:moveTo>
                  <a:lnTo>
                    <a:pt x="1475" y="0"/>
                  </a:lnTo>
                  <a:lnTo>
                    <a:pt x="348" y="0"/>
                  </a:lnTo>
                  <a:lnTo>
                    <a:pt x="312" y="6"/>
                  </a:lnTo>
                  <a:lnTo>
                    <a:pt x="312" y="228"/>
                  </a:lnTo>
                  <a:lnTo>
                    <a:pt x="309" y="238"/>
                  </a:lnTo>
                  <a:lnTo>
                    <a:pt x="218" y="237"/>
                  </a:lnTo>
                  <a:lnTo>
                    <a:pt x="215" y="739"/>
                  </a:lnTo>
                  <a:lnTo>
                    <a:pt x="214" y="753"/>
                  </a:lnTo>
                  <a:lnTo>
                    <a:pt x="122" y="754"/>
                  </a:lnTo>
                  <a:lnTo>
                    <a:pt x="112" y="763"/>
                  </a:lnTo>
                  <a:lnTo>
                    <a:pt x="93" y="830"/>
                  </a:lnTo>
                  <a:lnTo>
                    <a:pt x="68" y="873"/>
                  </a:lnTo>
                  <a:lnTo>
                    <a:pt x="61" y="897"/>
                  </a:lnTo>
                  <a:lnTo>
                    <a:pt x="68" y="933"/>
                  </a:lnTo>
                  <a:lnTo>
                    <a:pt x="61" y="945"/>
                  </a:lnTo>
                  <a:lnTo>
                    <a:pt x="28" y="968"/>
                  </a:lnTo>
                  <a:lnTo>
                    <a:pt x="27" y="980"/>
                  </a:lnTo>
                  <a:lnTo>
                    <a:pt x="42" y="1017"/>
                  </a:lnTo>
                  <a:lnTo>
                    <a:pt x="38" y="1034"/>
                  </a:lnTo>
                  <a:lnTo>
                    <a:pt x="14" y="1066"/>
                  </a:lnTo>
                  <a:lnTo>
                    <a:pt x="0" y="1099"/>
                  </a:lnTo>
                  <a:lnTo>
                    <a:pt x="10" y="1117"/>
                  </a:lnTo>
                  <a:lnTo>
                    <a:pt x="33" y="1114"/>
                  </a:lnTo>
                  <a:lnTo>
                    <a:pt x="48" y="1114"/>
                  </a:lnTo>
                  <a:lnTo>
                    <a:pt x="54" y="1126"/>
                  </a:lnTo>
                  <a:lnTo>
                    <a:pt x="71" y="1219"/>
                  </a:lnTo>
                  <a:lnTo>
                    <a:pt x="76" y="1235"/>
                  </a:lnTo>
                  <a:lnTo>
                    <a:pt x="97" y="1256"/>
                  </a:lnTo>
                  <a:lnTo>
                    <a:pt x="108" y="1281"/>
                  </a:lnTo>
                  <a:lnTo>
                    <a:pt x="109" y="1300"/>
                  </a:lnTo>
                  <a:lnTo>
                    <a:pt x="103" y="1323"/>
                  </a:lnTo>
                  <a:lnTo>
                    <a:pt x="162" y="1412"/>
                  </a:lnTo>
                  <a:lnTo>
                    <a:pt x="177" y="1442"/>
                  </a:lnTo>
                  <a:lnTo>
                    <a:pt x="183" y="1470"/>
                  </a:lnTo>
                  <a:lnTo>
                    <a:pt x="163" y="1547"/>
                  </a:lnTo>
                  <a:lnTo>
                    <a:pt x="165" y="1583"/>
                  </a:lnTo>
                  <a:lnTo>
                    <a:pt x="171" y="1593"/>
                  </a:lnTo>
                  <a:lnTo>
                    <a:pt x="219" y="1593"/>
                  </a:lnTo>
                  <a:lnTo>
                    <a:pt x="227" y="1599"/>
                  </a:lnTo>
                  <a:lnTo>
                    <a:pt x="239" y="1625"/>
                  </a:lnTo>
                  <a:lnTo>
                    <a:pt x="250" y="1637"/>
                  </a:lnTo>
                  <a:lnTo>
                    <a:pt x="284" y="1660"/>
                  </a:lnTo>
                  <a:lnTo>
                    <a:pt x="320" y="1673"/>
                  </a:lnTo>
                  <a:lnTo>
                    <a:pt x="334" y="1683"/>
                  </a:lnTo>
                  <a:lnTo>
                    <a:pt x="345" y="1697"/>
                  </a:lnTo>
                  <a:lnTo>
                    <a:pt x="338" y="1725"/>
                  </a:lnTo>
                  <a:lnTo>
                    <a:pt x="346" y="1744"/>
                  </a:lnTo>
                  <a:lnTo>
                    <a:pt x="366" y="1764"/>
                  </a:lnTo>
                  <a:lnTo>
                    <a:pt x="422" y="1806"/>
                  </a:lnTo>
                  <a:lnTo>
                    <a:pt x="431" y="1815"/>
                  </a:lnTo>
                  <a:lnTo>
                    <a:pt x="440" y="1834"/>
                  </a:lnTo>
                  <a:lnTo>
                    <a:pt x="443" y="1873"/>
                  </a:lnTo>
                  <a:lnTo>
                    <a:pt x="456" y="1896"/>
                  </a:lnTo>
                  <a:lnTo>
                    <a:pt x="471" y="1906"/>
                  </a:lnTo>
                  <a:lnTo>
                    <a:pt x="508" y="1915"/>
                  </a:lnTo>
                  <a:lnTo>
                    <a:pt x="532" y="1940"/>
                  </a:lnTo>
                  <a:lnTo>
                    <a:pt x="539" y="1959"/>
                  </a:lnTo>
                  <a:lnTo>
                    <a:pt x="534" y="1995"/>
                  </a:lnTo>
                  <a:lnTo>
                    <a:pt x="536" y="1998"/>
                  </a:lnTo>
                  <a:lnTo>
                    <a:pt x="544" y="2011"/>
                  </a:lnTo>
                  <a:lnTo>
                    <a:pt x="578" y="2051"/>
                  </a:lnTo>
                  <a:lnTo>
                    <a:pt x="594" y="2078"/>
                  </a:lnTo>
                  <a:lnTo>
                    <a:pt x="616" y="2102"/>
                  </a:lnTo>
                  <a:lnTo>
                    <a:pt x="632" y="2113"/>
                  </a:lnTo>
                  <a:lnTo>
                    <a:pt x="649" y="2113"/>
                  </a:lnTo>
                  <a:lnTo>
                    <a:pt x="659" y="2101"/>
                  </a:lnTo>
                  <a:lnTo>
                    <a:pt x="683" y="2079"/>
                  </a:lnTo>
                  <a:lnTo>
                    <a:pt x="701" y="2081"/>
                  </a:lnTo>
                  <a:lnTo>
                    <a:pt x="730" y="2115"/>
                  </a:lnTo>
                  <a:lnTo>
                    <a:pt x="738" y="2109"/>
                  </a:lnTo>
                  <a:lnTo>
                    <a:pt x="757" y="2078"/>
                  </a:lnTo>
                  <a:lnTo>
                    <a:pt x="767" y="2071"/>
                  </a:lnTo>
                  <a:lnTo>
                    <a:pt x="777" y="2074"/>
                  </a:lnTo>
                  <a:lnTo>
                    <a:pt x="879" y="2192"/>
                  </a:lnTo>
                  <a:lnTo>
                    <a:pt x="901" y="2180"/>
                  </a:lnTo>
                  <a:lnTo>
                    <a:pt x="922" y="2176"/>
                  </a:lnTo>
                  <a:lnTo>
                    <a:pt x="944" y="2176"/>
                  </a:lnTo>
                  <a:lnTo>
                    <a:pt x="986" y="2189"/>
                  </a:lnTo>
                  <a:lnTo>
                    <a:pt x="1026" y="2187"/>
                  </a:lnTo>
                  <a:lnTo>
                    <a:pt x="1064" y="2169"/>
                  </a:lnTo>
                  <a:lnTo>
                    <a:pt x="1103" y="2162"/>
                  </a:lnTo>
                  <a:lnTo>
                    <a:pt x="1116" y="2168"/>
                  </a:lnTo>
                  <a:lnTo>
                    <a:pt x="1129" y="2178"/>
                  </a:lnTo>
                  <a:lnTo>
                    <a:pt x="1146" y="2176"/>
                  </a:lnTo>
                  <a:lnTo>
                    <a:pt x="1174" y="2160"/>
                  </a:lnTo>
                  <a:lnTo>
                    <a:pt x="1199" y="2132"/>
                  </a:lnTo>
                  <a:lnTo>
                    <a:pt x="1243" y="2072"/>
                  </a:lnTo>
                  <a:lnTo>
                    <a:pt x="1308" y="2076"/>
                  </a:lnTo>
                  <a:lnTo>
                    <a:pt x="1373" y="2067"/>
                  </a:lnTo>
                  <a:lnTo>
                    <a:pt x="1378" y="2069"/>
                  </a:lnTo>
                  <a:lnTo>
                    <a:pt x="1378" y="2062"/>
                  </a:lnTo>
                  <a:lnTo>
                    <a:pt x="1379" y="2053"/>
                  </a:lnTo>
                  <a:lnTo>
                    <a:pt x="1374" y="2000"/>
                  </a:lnTo>
                  <a:lnTo>
                    <a:pt x="1362" y="1984"/>
                  </a:lnTo>
                  <a:lnTo>
                    <a:pt x="1344" y="1979"/>
                  </a:lnTo>
                  <a:lnTo>
                    <a:pt x="1322" y="1965"/>
                  </a:lnTo>
                  <a:lnTo>
                    <a:pt x="1308" y="1942"/>
                  </a:lnTo>
                  <a:lnTo>
                    <a:pt x="1259" y="1825"/>
                  </a:lnTo>
                  <a:lnTo>
                    <a:pt x="1177" y="1721"/>
                  </a:lnTo>
                  <a:lnTo>
                    <a:pt x="1162" y="1711"/>
                  </a:lnTo>
                  <a:lnTo>
                    <a:pt x="1129" y="1706"/>
                  </a:lnTo>
                  <a:lnTo>
                    <a:pt x="1109" y="1699"/>
                  </a:lnTo>
                  <a:lnTo>
                    <a:pt x="1104" y="1692"/>
                  </a:lnTo>
                  <a:lnTo>
                    <a:pt x="1115" y="1625"/>
                  </a:lnTo>
                  <a:lnTo>
                    <a:pt x="1129" y="1623"/>
                  </a:lnTo>
                  <a:lnTo>
                    <a:pt x="1171" y="1630"/>
                  </a:lnTo>
                  <a:lnTo>
                    <a:pt x="1183" y="1630"/>
                  </a:lnTo>
                  <a:lnTo>
                    <a:pt x="1203" y="1614"/>
                  </a:lnTo>
                  <a:lnTo>
                    <a:pt x="1214" y="1553"/>
                  </a:lnTo>
                  <a:lnTo>
                    <a:pt x="1213" y="1526"/>
                  </a:lnTo>
                  <a:lnTo>
                    <a:pt x="1235" y="1350"/>
                  </a:lnTo>
                  <a:lnTo>
                    <a:pt x="1240" y="1345"/>
                  </a:lnTo>
                  <a:lnTo>
                    <a:pt x="1252" y="1341"/>
                  </a:lnTo>
                  <a:lnTo>
                    <a:pt x="1272" y="1346"/>
                  </a:lnTo>
                  <a:lnTo>
                    <a:pt x="1284" y="1343"/>
                  </a:lnTo>
                  <a:lnTo>
                    <a:pt x="1293" y="1334"/>
                  </a:lnTo>
                  <a:lnTo>
                    <a:pt x="1308" y="1218"/>
                  </a:lnTo>
                  <a:lnTo>
                    <a:pt x="1345" y="1140"/>
                  </a:lnTo>
                  <a:lnTo>
                    <a:pt x="1362" y="1121"/>
                  </a:lnTo>
                  <a:lnTo>
                    <a:pt x="1409" y="1103"/>
                  </a:lnTo>
                  <a:lnTo>
                    <a:pt x="1436" y="978"/>
                  </a:lnTo>
                  <a:lnTo>
                    <a:pt x="1443" y="929"/>
                  </a:lnTo>
                  <a:lnTo>
                    <a:pt x="1440" y="839"/>
                  </a:lnTo>
                  <a:lnTo>
                    <a:pt x="1443" y="813"/>
                  </a:lnTo>
                  <a:lnTo>
                    <a:pt x="1485" y="657"/>
                  </a:lnTo>
                  <a:lnTo>
                    <a:pt x="1487" y="633"/>
                  </a:lnTo>
                  <a:lnTo>
                    <a:pt x="1496" y="603"/>
                  </a:lnTo>
                  <a:lnTo>
                    <a:pt x="1529" y="601"/>
                  </a:lnTo>
                  <a:lnTo>
                    <a:pt x="1544" y="592"/>
                  </a:lnTo>
                  <a:lnTo>
                    <a:pt x="1554" y="566"/>
                  </a:lnTo>
                  <a:lnTo>
                    <a:pt x="1561" y="557"/>
                  </a:lnTo>
                  <a:lnTo>
                    <a:pt x="1603" y="543"/>
                  </a:lnTo>
                  <a:lnTo>
                    <a:pt x="1619" y="529"/>
                  </a:lnTo>
                  <a:lnTo>
                    <a:pt x="1632" y="499"/>
                  </a:lnTo>
                  <a:lnTo>
                    <a:pt x="1644" y="481"/>
                  </a:lnTo>
                  <a:lnTo>
                    <a:pt x="1655" y="470"/>
                  </a:lnTo>
                  <a:lnTo>
                    <a:pt x="1644" y="458"/>
                  </a:lnTo>
                  <a:lnTo>
                    <a:pt x="1622" y="448"/>
                  </a:lnTo>
                  <a:lnTo>
                    <a:pt x="1595" y="419"/>
                  </a:lnTo>
                  <a:lnTo>
                    <a:pt x="1541" y="379"/>
                  </a:lnTo>
                  <a:lnTo>
                    <a:pt x="1533" y="366"/>
                  </a:lnTo>
                  <a:lnTo>
                    <a:pt x="1520" y="277"/>
                  </a:lnTo>
                  <a:lnTo>
                    <a:pt x="1507" y="85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78" name="Freeform 115"/>
            <p:cNvSpPr>
              <a:spLocks/>
            </p:cNvSpPr>
            <p:nvPr>
              <p:custDataLst>
                <p:tags r:id="rId106"/>
              </p:custDataLst>
            </p:nvPr>
          </p:nvSpPr>
          <p:spPr bwMode="auto">
            <a:xfrm>
              <a:off x="3233" y="2462"/>
              <a:ext cx="98" cy="101"/>
            </a:xfrm>
            <a:custGeom>
              <a:avLst/>
              <a:gdLst>
                <a:gd name="T0" fmla="*/ 163 w 648"/>
                <a:gd name="T1" fmla="*/ 73 h 688"/>
                <a:gd name="T2" fmla="*/ 114 w 648"/>
                <a:gd name="T3" fmla="*/ 96 h 688"/>
                <a:gd name="T4" fmla="*/ 89 w 648"/>
                <a:gd name="T5" fmla="*/ 131 h 688"/>
                <a:gd name="T6" fmla="*/ 47 w 648"/>
                <a:gd name="T7" fmla="*/ 163 h 688"/>
                <a:gd name="T8" fmla="*/ 3 w 648"/>
                <a:gd name="T9" fmla="*/ 343 h 688"/>
                <a:gd name="T10" fmla="*/ 3 w 648"/>
                <a:gd name="T11" fmla="*/ 454 h 688"/>
                <a:gd name="T12" fmla="*/ 35 w 648"/>
                <a:gd name="T13" fmla="*/ 456 h 688"/>
                <a:gd name="T14" fmla="*/ 69 w 648"/>
                <a:gd name="T15" fmla="*/ 433 h 688"/>
                <a:gd name="T16" fmla="*/ 125 w 648"/>
                <a:gd name="T17" fmla="*/ 390 h 688"/>
                <a:gd name="T18" fmla="*/ 153 w 648"/>
                <a:gd name="T19" fmla="*/ 408 h 688"/>
                <a:gd name="T20" fmla="*/ 212 w 648"/>
                <a:gd name="T21" fmla="*/ 434 h 688"/>
                <a:gd name="T22" fmla="*/ 239 w 648"/>
                <a:gd name="T23" fmla="*/ 411 h 688"/>
                <a:gd name="T24" fmla="*/ 272 w 648"/>
                <a:gd name="T25" fmla="*/ 431 h 688"/>
                <a:gd name="T26" fmla="*/ 300 w 648"/>
                <a:gd name="T27" fmla="*/ 433 h 688"/>
                <a:gd name="T28" fmla="*/ 317 w 648"/>
                <a:gd name="T29" fmla="*/ 440 h 688"/>
                <a:gd name="T30" fmla="*/ 379 w 648"/>
                <a:gd name="T31" fmla="*/ 464 h 688"/>
                <a:gd name="T32" fmla="*/ 436 w 648"/>
                <a:gd name="T33" fmla="*/ 507 h 688"/>
                <a:gd name="T34" fmla="*/ 504 w 648"/>
                <a:gd name="T35" fmla="*/ 582 h 688"/>
                <a:gd name="T36" fmla="*/ 545 w 648"/>
                <a:gd name="T37" fmla="*/ 638 h 688"/>
                <a:gd name="T38" fmla="*/ 577 w 648"/>
                <a:gd name="T39" fmla="*/ 682 h 688"/>
                <a:gd name="T40" fmla="*/ 589 w 648"/>
                <a:gd name="T41" fmla="*/ 672 h 688"/>
                <a:gd name="T42" fmla="*/ 622 w 648"/>
                <a:gd name="T43" fmla="*/ 688 h 688"/>
                <a:gd name="T44" fmla="*/ 608 w 648"/>
                <a:gd name="T45" fmla="*/ 594 h 688"/>
                <a:gd name="T46" fmla="*/ 579 w 648"/>
                <a:gd name="T47" fmla="*/ 573 h 688"/>
                <a:gd name="T48" fmla="*/ 579 w 648"/>
                <a:gd name="T49" fmla="*/ 550 h 688"/>
                <a:gd name="T50" fmla="*/ 522 w 648"/>
                <a:gd name="T51" fmla="*/ 500 h 688"/>
                <a:gd name="T52" fmla="*/ 421 w 648"/>
                <a:gd name="T53" fmla="*/ 376 h 688"/>
                <a:gd name="T54" fmla="*/ 371 w 648"/>
                <a:gd name="T55" fmla="*/ 357 h 688"/>
                <a:gd name="T56" fmla="*/ 338 w 648"/>
                <a:gd name="T57" fmla="*/ 307 h 688"/>
                <a:gd name="T58" fmla="*/ 338 w 648"/>
                <a:gd name="T59" fmla="*/ 344 h 688"/>
                <a:gd name="T60" fmla="*/ 301 w 648"/>
                <a:gd name="T61" fmla="*/ 311 h 688"/>
                <a:gd name="T62" fmla="*/ 215 w 648"/>
                <a:gd name="T63" fmla="*/ 0 h 688"/>
                <a:gd name="T64" fmla="*/ 192 w 648"/>
                <a:gd name="T65" fmla="*/ 29 h 68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648"/>
                <a:gd name="T100" fmla="*/ 0 h 688"/>
                <a:gd name="T101" fmla="*/ 648 w 648"/>
                <a:gd name="T102" fmla="*/ 688 h 68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648" h="688">
                  <a:moveTo>
                    <a:pt x="179" y="59"/>
                  </a:moveTo>
                  <a:lnTo>
                    <a:pt x="163" y="73"/>
                  </a:lnTo>
                  <a:lnTo>
                    <a:pt x="121" y="87"/>
                  </a:lnTo>
                  <a:lnTo>
                    <a:pt x="114" y="96"/>
                  </a:lnTo>
                  <a:lnTo>
                    <a:pt x="104" y="122"/>
                  </a:lnTo>
                  <a:lnTo>
                    <a:pt x="89" y="131"/>
                  </a:lnTo>
                  <a:lnTo>
                    <a:pt x="56" y="133"/>
                  </a:lnTo>
                  <a:lnTo>
                    <a:pt x="47" y="163"/>
                  </a:lnTo>
                  <a:lnTo>
                    <a:pt x="45" y="187"/>
                  </a:lnTo>
                  <a:lnTo>
                    <a:pt x="3" y="343"/>
                  </a:lnTo>
                  <a:lnTo>
                    <a:pt x="0" y="369"/>
                  </a:lnTo>
                  <a:lnTo>
                    <a:pt x="3" y="454"/>
                  </a:lnTo>
                  <a:lnTo>
                    <a:pt x="18" y="452"/>
                  </a:lnTo>
                  <a:lnTo>
                    <a:pt x="35" y="456"/>
                  </a:lnTo>
                  <a:lnTo>
                    <a:pt x="49" y="436"/>
                  </a:lnTo>
                  <a:lnTo>
                    <a:pt x="69" y="433"/>
                  </a:lnTo>
                  <a:lnTo>
                    <a:pt x="89" y="480"/>
                  </a:lnTo>
                  <a:lnTo>
                    <a:pt x="125" y="390"/>
                  </a:lnTo>
                  <a:lnTo>
                    <a:pt x="142" y="408"/>
                  </a:lnTo>
                  <a:lnTo>
                    <a:pt x="153" y="408"/>
                  </a:lnTo>
                  <a:lnTo>
                    <a:pt x="178" y="440"/>
                  </a:lnTo>
                  <a:lnTo>
                    <a:pt x="212" y="434"/>
                  </a:lnTo>
                  <a:lnTo>
                    <a:pt x="231" y="424"/>
                  </a:lnTo>
                  <a:lnTo>
                    <a:pt x="239" y="411"/>
                  </a:lnTo>
                  <a:lnTo>
                    <a:pt x="251" y="434"/>
                  </a:lnTo>
                  <a:lnTo>
                    <a:pt x="272" y="431"/>
                  </a:lnTo>
                  <a:lnTo>
                    <a:pt x="288" y="422"/>
                  </a:lnTo>
                  <a:lnTo>
                    <a:pt x="300" y="433"/>
                  </a:lnTo>
                  <a:lnTo>
                    <a:pt x="310" y="431"/>
                  </a:lnTo>
                  <a:lnTo>
                    <a:pt x="317" y="440"/>
                  </a:lnTo>
                  <a:lnTo>
                    <a:pt x="342" y="434"/>
                  </a:lnTo>
                  <a:lnTo>
                    <a:pt x="379" y="464"/>
                  </a:lnTo>
                  <a:lnTo>
                    <a:pt x="406" y="471"/>
                  </a:lnTo>
                  <a:lnTo>
                    <a:pt x="436" y="507"/>
                  </a:lnTo>
                  <a:lnTo>
                    <a:pt x="448" y="538"/>
                  </a:lnTo>
                  <a:lnTo>
                    <a:pt x="504" y="582"/>
                  </a:lnTo>
                  <a:lnTo>
                    <a:pt x="524" y="631"/>
                  </a:lnTo>
                  <a:lnTo>
                    <a:pt x="545" y="638"/>
                  </a:lnTo>
                  <a:lnTo>
                    <a:pt x="565" y="673"/>
                  </a:lnTo>
                  <a:lnTo>
                    <a:pt x="577" y="682"/>
                  </a:lnTo>
                  <a:lnTo>
                    <a:pt x="579" y="677"/>
                  </a:lnTo>
                  <a:lnTo>
                    <a:pt x="589" y="672"/>
                  </a:lnTo>
                  <a:lnTo>
                    <a:pt x="607" y="677"/>
                  </a:lnTo>
                  <a:lnTo>
                    <a:pt x="622" y="688"/>
                  </a:lnTo>
                  <a:lnTo>
                    <a:pt x="648" y="640"/>
                  </a:lnTo>
                  <a:lnTo>
                    <a:pt x="608" y="594"/>
                  </a:lnTo>
                  <a:lnTo>
                    <a:pt x="584" y="585"/>
                  </a:lnTo>
                  <a:lnTo>
                    <a:pt x="579" y="573"/>
                  </a:lnTo>
                  <a:lnTo>
                    <a:pt x="582" y="562"/>
                  </a:lnTo>
                  <a:lnTo>
                    <a:pt x="579" y="550"/>
                  </a:lnTo>
                  <a:lnTo>
                    <a:pt x="553" y="501"/>
                  </a:lnTo>
                  <a:lnTo>
                    <a:pt x="522" y="500"/>
                  </a:lnTo>
                  <a:lnTo>
                    <a:pt x="516" y="494"/>
                  </a:lnTo>
                  <a:lnTo>
                    <a:pt x="421" y="376"/>
                  </a:lnTo>
                  <a:lnTo>
                    <a:pt x="387" y="378"/>
                  </a:lnTo>
                  <a:lnTo>
                    <a:pt x="371" y="357"/>
                  </a:lnTo>
                  <a:lnTo>
                    <a:pt x="353" y="320"/>
                  </a:lnTo>
                  <a:lnTo>
                    <a:pt x="338" y="307"/>
                  </a:lnTo>
                  <a:lnTo>
                    <a:pt x="335" y="318"/>
                  </a:lnTo>
                  <a:lnTo>
                    <a:pt x="338" y="344"/>
                  </a:lnTo>
                  <a:lnTo>
                    <a:pt x="329" y="357"/>
                  </a:lnTo>
                  <a:lnTo>
                    <a:pt x="301" y="311"/>
                  </a:lnTo>
                  <a:lnTo>
                    <a:pt x="219" y="8"/>
                  </a:lnTo>
                  <a:lnTo>
                    <a:pt x="215" y="0"/>
                  </a:lnTo>
                  <a:lnTo>
                    <a:pt x="204" y="11"/>
                  </a:lnTo>
                  <a:lnTo>
                    <a:pt x="192" y="29"/>
                  </a:lnTo>
                  <a:lnTo>
                    <a:pt x="179" y="59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79" name="Freeform 116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3233" y="2462"/>
              <a:ext cx="98" cy="101"/>
            </a:xfrm>
            <a:custGeom>
              <a:avLst/>
              <a:gdLst>
                <a:gd name="T0" fmla="*/ 121 w 648"/>
                <a:gd name="T1" fmla="*/ 87 h 688"/>
                <a:gd name="T2" fmla="*/ 104 w 648"/>
                <a:gd name="T3" fmla="*/ 122 h 688"/>
                <a:gd name="T4" fmla="*/ 56 w 648"/>
                <a:gd name="T5" fmla="*/ 133 h 688"/>
                <a:gd name="T6" fmla="*/ 45 w 648"/>
                <a:gd name="T7" fmla="*/ 187 h 688"/>
                <a:gd name="T8" fmla="*/ 0 w 648"/>
                <a:gd name="T9" fmla="*/ 369 h 688"/>
                <a:gd name="T10" fmla="*/ 18 w 648"/>
                <a:gd name="T11" fmla="*/ 452 h 688"/>
                <a:gd name="T12" fmla="*/ 49 w 648"/>
                <a:gd name="T13" fmla="*/ 436 h 688"/>
                <a:gd name="T14" fmla="*/ 89 w 648"/>
                <a:gd name="T15" fmla="*/ 480 h 688"/>
                <a:gd name="T16" fmla="*/ 142 w 648"/>
                <a:gd name="T17" fmla="*/ 408 h 688"/>
                <a:gd name="T18" fmla="*/ 178 w 648"/>
                <a:gd name="T19" fmla="*/ 440 h 688"/>
                <a:gd name="T20" fmla="*/ 231 w 648"/>
                <a:gd name="T21" fmla="*/ 424 h 688"/>
                <a:gd name="T22" fmla="*/ 251 w 648"/>
                <a:gd name="T23" fmla="*/ 434 h 688"/>
                <a:gd name="T24" fmla="*/ 288 w 648"/>
                <a:gd name="T25" fmla="*/ 422 h 688"/>
                <a:gd name="T26" fmla="*/ 310 w 648"/>
                <a:gd name="T27" fmla="*/ 431 h 688"/>
                <a:gd name="T28" fmla="*/ 342 w 648"/>
                <a:gd name="T29" fmla="*/ 434 h 688"/>
                <a:gd name="T30" fmla="*/ 406 w 648"/>
                <a:gd name="T31" fmla="*/ 471 h 688"/>
                <a:gd name="T32" fmla="*/ 448 w 648"/>
                <a:gd name="T33" fmla="*/ 538 h 688"/>
                <a:gd name="T34" fmla="*/ 524 w 648"/>
                <a:gd name="T35" fmla="*/ 631 h 688"/>
                <a:gd name="T36" fmla="*/ 565 w 648"/>
                <a:gd name="T37" fmla="*/ 673 h 688"/>
                <a:gd name="T38" fmla="*/ 579 w 648"/>
                <a:gd name="T39" fmla="*/ 677 h 688"/>
                <a:gd name="T40" fmla="*/ 607 w 648"/>
                <a:gd name="T41" fmla="*/ 677 h 688"/>
                <a:gd name="T42" fmla="*/ 648 w 648"/>
                <a:gd name="T43" fmla="*/ 640 h 688"/>
                <a:gd name="T44" fmla="*/ 584 w 648"/>
                <a:gd name="T45" fmla="*/ 585 h 688"/>
                <a:gd name="T46" fmla="*/ 582 w 648"/>
                <a:gd name="T47" fmla="*/ 562 h 688"/>
                <a:gd name="T48" fmla="*/ 553 w 648"/>
                <a:gd name="T49" fmla="*/ 501 h 688"/>
                <a:gd name="T50" fmla="*/ 516 w 648"/>
                <a:gd name="T51" fmla="*/ 494 h 688"/>
                <a:gd name="T52" fmla="*/ 387 w 648"/>
                <a:gd name="T53" fmla="*/ 378 h 688"/>
                <a:gd name="T54" fmla="*/ 353 w 648"/>
                <a:gd name="T55" fmla="*/ 320 h 688"/>
                <a:gd name="T56" fmla="*/ 335 w 648"/>
                <a:gd name="T57" fmla="*/ 318 h 688"/>
                <a:gd name="T58" fmla="*/ 329 w 648"/>
                <a:gd name="T59" fmla="*/ 357 h 688"/>
                <a:gd name="T60" fmla="*/ 219 w 648"/>
                <a:gd name="T61" fmla="*/ 8 h 688"/>
                <a:gd name="T62" fmla="*/ 204 w 648"/>
                <a:gd name="T63" fmla="*/ 11 h 688"/>
                <a:gd name="T64" fmla="*/ 179 w 648"/>
                <a:gd name="T65" fmla="*/ 59 h 68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648"/>
                <a:gd name="T100" fmla="*/ 0 h 688"/>
                <a:gd name="T101" fmla="*/ 648 w 648"/>
                <a:gd name="T102" fmla="*/ 688 h 68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648" h="688">
                  <a:moveTo>
                    <a:pt x="163" y="73"/>
                  </a:moveTo>
                  <a:lnTo>
                    <a:pt x="121" y="87"/>
                  </a:lnTo>
                  <a:lnTo>
                    <a:pt x="114" y="96"/>
                  </a:lnTo>
                  <a:lnTo>
                    <a:pt x="104" y="122"/>
                  </a:lnTo>
                  <a:lnTo>
                    <a:pt x="89" y="131"/>
                  </a:lnTo>
                  <a:lnTo>
                    <a:pt x="56" y="133"/>
                  </a:lnTo>
                  <a:lnTo>
                    <a:pt x="47" y="163"/>
                  </a:lnTo>
                  <a:lnTo>
                    <a:pt x="45" y="187"/>
                  </a:lnTo>
                  <a:lnTo>
                    <a:pt x="3" y="343"/>
                  </a:lnTo>
                  <a:lnTo>
                    <a:pt x="0" y="369"/>
                  </a:lnTo>
                  <a:lnTo>
                    <a:pt x="3" y="454"/>
                  </a:lnTo>
                  <a:lnTo>
                    <a:pt x="18" y="452"/>
                  </a:lnTo>
                  <a:lnTo>
                    <a:pt x="35" y="456"/>
                  </a:lnTo>
                  <a:lnTo>
                    <a:pt x="49" y="436"/>
                  </a:lnTo>
                  <a:lnTo>
                    <a:pt x="69" y="433"/>
                  </a:lnTo>
                  <a:lnTo>
                    <a:pt x="89" y="480"/>
                  </a:lnTo>
                  <a:lnTo>
                    <a:pt x="125" y="390"/>
                  </a:lnTo>
                  <a:lnTo>
                    <a:pt x="142" y="408"/>
                  </a:lnTo>
                  <a:lnTo>
                    <a:pt x="153" y="408"/>
                  </a:lnTo>
                  <a:lnTo>
                    <a:pt x="178" y="440"/>
                  </a:lnTo>
                  <a:lnTo>
                    <a:pt x="212" y="434"/>
                  </a:lnTo>
                  <a:lnTo>
                    <a:pt x="231" y="424"/>
                  </a:lnTo>
                  <a:lnTo>
                    <a:pt x="239" y="411"/>
                  </a:lnTo>
                  <a:lnTo>
                    <a:pt x="251" y="434"/>
                  </a:lnTo>
                  <a:lnTo>
                    <a:pt x="272" y="431"/>
                  </a:lnTo>
                  <a:lnTo>
                    <a:pt x="288" y="422"/>
                  </a:lnTo>
                  <a:lnTo>
                    <a:pt x="300" y="433"/>
                  </a:lnTo>
                  <a:lnTo>
                    <a:pt x="310" y="431"/>
                  </a:lnTo>
                  <a:lnTo>
                    <a:pt x="317" y="440"/>
                  </a:lnTo>
                  <a:lnTo>
                    <a:pt x="342" y="434"/>
                  </a:lnTo>
                  <a:lnTo>
                    <a:pt x="379" y="464"/>
                  </a:lnTo>
                  <a:lnTo>
                    <a:pt x="406" y="471"/>
                  </a:lnTo>
                  <a:lnTo>
                    <a:pt x="436" y="507"/>
                  </a:lnTo>
                  <a:lnTo>
                    <a:pt x="448" y="538"/>
                  </a:lnTo>
                  <a:lnTo>
                    <a:pt x="504" y="582"/>
                  </a:lnTo>
                  <a:lnTo>
                    <a:pt x="524" y="631"/>
                  </a:lnTo>
                  <a:lnTo>
                    <a:pt x="545" y="638"/>
                  </a:lnTo>
                  <a:lnTo>
                    <a:pt x="565" y="673"/>
                  </a:lnTo>
                  <a:lnTo>
                    <a:pt x="577" y="682"/>
                  </a:lnTo>
                  <a:lnTo>
                    <a:pt x="579" y="677"/>
                  </a:lnTo>
                  <a:lnTo>
                    <a:pt x="589" y="672"/>
                  </a:lnTo>
                  <a:lnTo>
                    <a:pt x="607" y="677"/>
                  </a:lnTo>
                  <a:lnTo>
                    <a:pt x="622" y="688"/>
                  </a:lnTo>
                  <a:lnTo>
                    <a:pt x="648" y="640"/>
                  </a:lnTo>
                  <a:lnTo>
                    <a:pt x="608" y="594"/>
                  </a:lnTo>
                  <a:lnTo>
                    <a:pt x="584" y="585"/>
                  </a:lnTo>
                  <a:lnTo>
                    <a:pt x="579" y="573"/>
                  </a:lnTo>
                  <a:lnTo>
                    <a:pt x="582" y="562"/>
                  </a:lnTo>
                  <a:lnTo>
                    <a:pt x="579" y="550"/>
                  </a:lnTo>
                  <a:lnTo>
                    <a:pt x="553" y="501"/>
                  </a:lnTo>
                  <a:lnTo>
                    <a:pt x="522" y="500"/>
                  </a:lnTo>
                  <a:lnTo>
                    <a:pt x="516" y="494"/>
                  </a:lnTo>
                  <a:lnTo>
                    <a:pt x="421" y="376"/>
                  </a:lnTo>
                  <a:lnTo>
                    <a:pt x="387" y="378"/>
                  </a:lnTo>
                  <a:lnTo>
                    <a:pt x="371" y="357"/>
                  </a:lnTo>
                  <a:lnTo>
                    <a:pt x="353" y="320"/>
                  </a:lnTo>
                  <a:lnTo>
                    <a:pt x="338" y="307"/>
                  </a:lnTo>
                  <a:lnTo>
                    <a:pt x="335" y="318"/>
                  </a:lnTo>
                  <a:lnTo>
                    <a:pt x="338" y="344"/>
                  </a:lnTo>
                  <a:lnTo>
                    <a:pt x="329" y="357"/>
                  </a:lnTo>
                  <a:lnTo>
                    <a:pt x="301" y="311"/>
                  </a:lnTo>
                  <a:lnTo>
                    <a:pt x="219" y="8"/>
                  </a:lnTo>
                  <a:lnTo>
                    <a:pt x="215" y="0"/>
                  </a:lnTo>
                  <a:lnTo>
                    <a:pt x="204" y="11"/>
                  </a:lnTo>
                  <a:lnTo>
                    <a:pt x="192" y="29"/>
                  </a:lnTo>
                  <a:lnTo>
                    <a:pt x="179" y="59"/>
                  </a:lnTo>
                  <a:lnTo>
                    <a:pt x="163" y="73"/>
                  </a:lnTo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80" name="Freeform 117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2439" y="2484"/>
              <a:ext cx="89" cy="79"/>
            </a:xfrm>
            <a:custGeom>
              <a:avLst/>
              <a:gdLst>
                <a:gd name="T0" fmla="*/ 310 w 594"/>
                <a:gd name="T1" fmla="*/ 12 h 539"/>
                <a:gd name="T2" fmla="*/ 257 w 594"/>
                <a:gd name="T3" fmla="*/ 0 h 539"/>
                <a:gd name="T4" fmla="*/ 101 w 594"/>
                <a:gd name="T5" fmla="*/ 40 h 539"/>
                <a:gd name="T6" fmla="*/ 83 w 594"/>
                <a:gd name="T7" fmla="*/ 128 h 539"/>
                <a:gd name="T8" fmla="*/ 24 w 594"/>
                <a:gd name="T9" fmla="*/ 222 h 539"/>
                <a:gd name="T10" fmla="*/ 20 w 594"/>
                <a:gd name="T11" fmla="*/ 250 h 539"/>
                <a:gd name="T12" fmla="*/ 56 w 594"/>
                <a:gd name="T13" fmla="*/ 294 h 539"/>
                <a:gd name="T14" fmla="*/ 76 w 594"/>
                <a:gd name="T15" fmla="*/ 347 h 539"/>
                <a:gd name="T16" fmla="*/ 94 w 594"/>
                <a:gd name="T17" fmla="*/ 370 h 539"/>
                <a:gd name="T18" fmla="*/ 96 w 594"/>
                <a:gd name="T19" fmla="*/ 388 h 539"/>
                <a:gd name="T20" fmla="*/ 174 w 594"/>
                <a:gd name="T21" fmla="*/ 372 h 539"/>
                <a:gd name="T22" fmla="*/ 190 w 594"/>
                <a:gd name="T23" fmla="*/ 363 h 539"/>
                <a:gd name="T24" fmla="*/ 212 w 594"/>
                <a:gd name="T25" fmla="*/ 359 h 539"/>
                <a:gd name="T26" fmla="*/ 228 w 594"/>
                <a:gd name="T27" fmla="*/ 361 h 539"/>
                <a:gd name="T28" fmla="*/ 240 w 594"/>
                <a:gd name="T29" fmla="*/ 379 h 539"/>
                <a:gd name="T30" fmla="*/ 253 w 594"/>
                <a:gd name="T31" fmla="*/ 377 h 539"/>
                <a:gd name="T32" fmla="*/ 269 w 594"/>
                <a:gd name="T33" fmla="*/ 384 h 539"/>
                <a:gd name="T34" fmla="*/ 284 w 594"/>
                <a:gd name="T35" fmla="*/ 405 h 539"/>
                <a:gd name="T36" fmla="*/ 300 w 594"/>
                <a:gd name="T37" fmla="*/ 398 h 539"/>
                <a:gd name="T38" fmla="*/ 322 w 594"/>
                <a:gd name="T39" fmla="*/ 389 h 539"/>
                <a:gd name="T40" fmla="*/ 337 w 594"/>
                <a:gd name="T41" fmla="*/ 406 h 539"/>
                <a:gd name="T42" fmla="*/ 330 w 594"/>
                <a:gd name="T43" fmla="*/ 419 h 539"/>
                <a:gd name="T44" fmla="*/ 300 w 594"/>
                <a:gd name="T45" fmla="*/ 431 h 539"/>
                <a:gd name="T46" fmla="*/ 272 w 594"/>
                <a:gd name="T47" fmla="*/ 422 h 539"/>
                <a:gd name="T48" fmla="*/ 251 w 594"/>
                <a:gd name="T49" fmla="*/ 417 h 539"/>
                <a:gd name="T50" fmla="*/ 243 w 594"/>
                <a:gd name="T51" fmla="*/ 410 h 539"/>
                <a:gd name="T52" fmla="*/ 208 w 594"/>
                <a:gd name="T53" fmla="*/ 388 h 539"/>
                <a:gd name="T54" fmla="*/ 200 w 594"/>
                <a:gd name="T55" fmla="*/ 394 h 539"/>
                <a:gd name="T56" fmla="*/ 194 w 594"/>
                <a:gd name="T57" fmla="*/ 413 h 539"/>
                <a:gd name="T58" fmla="*/ 170 w 594"/>
                <a:gd name="T59" fmla="*/ 412 h 539"/>
                <a:gd name="T60" fmla="*/ 146 w 594"/>
                <a:gd name="T61" fmla="*/ 417 h 539"/>
                <a:gd name="T62" fmla="*/ 139 w 594"/>
                <a:gd name="T63" fmla="*/ 440 h 539"/>
                <a:gd name="T64" fmla="*/ 65 w 594"/>
                <a:gd name="T65" fmla="*/ 452 h 539"/>
                <a:gd name="T66" fmla="*/ 65 w 594"/>
                <a:gd name="T67" fmla="*/ 505 h 539"/>
                <a:gd name="T68" fmla="*/ 84 w 594"/>
                <a:gd name="T69" fmla="*/ 539 h 539"/>
                <a:gd name="T70" fmla="*/ 106 w 594"/>
                <a:gd name="T71" fmla="*/ 532 h 539"/>
                <a:gd name="T72" fmla="*/ 175 w 594"/>
                <a:gd name="T73" fmla="*/ 530 h 539"/>
                <a:gd name="T74" fmla="*/ 219 w 594"/>
                <a:gd name="T75" fmla="*/ 500 h 539"/>
                <a:gd name="T76" fmla="*/ 480 w 594"/>
                <a:gd name="T77" fmla="*/ 530 h 539"/>
                <a:gd name="T78" fmla="*/ 584 w 594"/>
                <a:gd name="T79" fmla="*/ 526 h 539"/>
                <a:gd name="T80" fmla="*/ 594 w 594"/>
                <a:gd name="T81" fmla="*/ 521 h 539"/>
                <a:gd name="T82" fmla="*/ 589 w 594"/>
                <a:gd name="T83" fmla="*/ 447 h 539"/>
                <a:gd name="T84" fmla="*/ 553 w 594"/>
                <a:gd name="T85" fmla="*/ 412 h 539"/>
                <a:gd name="T86" fmla="*/ 535 w 594"/>
                <a:gd name="T87" fmla="*/ 374 h 539"/>
                <a:gd name="T88" fmla="*/ 521 w 594"/>
                <a:gd name="T89" fmla="*/ 261 h 539"/>
                <a:gd name="T90" fmla="*/ 480 w 594"/>
                <a:gd name="T91" fmla="*/ 190 h 539"/>
                <a:gd name="T92" fmla="*/ 428 w 594"/>
                <a:gd name="T93" fmla="*/ 116 h 539"/>
                <a:gd name="T94" fmla="*/ 408 w 594"/>
                <a:gd name="T95" fmla="*/ 70 h 539"/>
                <a:gd name="T96" fmla="*/ 370 w 594"/>
                <a:gd name="T97" fmla="*/ 58 h 539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94"/>
                <a:gd name="T148" fmla="*/ 0 h 539"/>
                <a:gd name="T149" fmla="*/ 594 w 594"/>
                <a:gd name="T150" fmla="*/ 539 h 539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94" h="539">
                  <a:moveTo>
                    <a:pt x="341" y="42"/>
                  </a:moveTo>
                  <a:lnTo>
                    <a:pt x="310" y="12"/>
                  </a:lnTo>
                  <a:lnTo>
                    <a:pt x="284" y="1"/>
                  </a:lnTo>
                  <a:lnTo>
                    <a:pt x="257" y="0"/>
                  </a:lnTo>
                  <a:lnTo>
                    <a:pt x="125" y="17"/>
                  </a:lnTo>
                  <a:lnTo>
                    <a:pt x="101" y="40"/>
                  </a:lnTo>
                  <a:lnTo>
                    <a:pt x="96" y="84"/>
                  </a:lnTo>
                  <a:lnTo>
                    <a:pt x="83" y="128"/>
                  </a:lnTo>
                  <a:lnTo>
                    <a:pt x="56" y="181"/>
                  </a:lnTo>
                  <a:lnTo>
                    <a:pt x="24" y="222"/>
                  </a:lnTo>
                  <a:lnTo>
                    <a:pt x="0" y="241"/>
                  </a:lnTo>
                  <a:lnTo>
                    <a:pt x="20" y="250"/>
                  </a:lnTo>
                  <a:lnTo>
                    <a:pt x="39" y="268"/>
                  </a:lnTo>
                  <a:lnTo>
                    <a:pt x="56" y="294"/>
                  </a:lnTo>
                  <a:lnTo>
                    <a:pt x="72" y="328"/>
                  </a:lnTo>
                  <a:lnTo>
                    <a:pt x="76" y="347"/>
                  </a:lnTo>
                  <a:lnTo>
                    <a:pt x="78" y="356"/>
                  </a:lnTo>
                  <a:lnTo>
                    <a:pt x="94" y="370"/>
                  </a:lnTo>
                  <a:lnTo>
                    <a:pt x="96" y="384"/>
                  </a:lnTo>
                  <a:lnTo>
                    <a:pt x="96" y="388"/>
                  </a:lnTo>
                  <a:lnTo>
                    <a:pt x="170" y="388"/>
                  </a:lnTo>
                  <a:lnTo>
                    <a:pt x="174" y="372"/>
                  </a:lnTo>
                  <a:lnTo>
                    <a:pt x="182" y="365"/>
                  </a:lnTo>
                  <a:lnTo>
                    <a:pt x="190" y="363"/>
                  </a:lnTo>
                  <a:lnTo>
                    <a:pt x="194" y="368"/>
                  </a:lnTo>
                  <a:lnTo>
                    <a:pt x="212" y="359"/>
                  </a:lnTo>
                  <a:lnTo>
                    <a:pt x="219" y="363"/>
                  </a:lnTo>
                  <a:lnTo>
                    <a:pt x="228" y="361"/>
                  </a:lnTo>
                  <a:lnTo>
                    <a:pt x="235" y="367"/>
                  </a:lnTo>
                  <a:lnTo>
                    <a:pt x="240" y="379"/>
                  </a:lnTo>
                  <a:lnTo>
                    <a:pt x="247" y="384"/>
                  </a:lnTo>
                  <a:lnTo>
                    <a:pt x="253" y="377"/>
                  </a:lnTo>
                  <a:lnTo>
                    <a:pt x="261" y="379"/>
                  </a:lnTo>
                  <a:lnTo>
                    <a:pt x="269" y="384"/>
                  </a:lnTo>
                  <a:lnTo>
                    <a:pt x="272" y="396"/>
                  </a:lnTo>
                  <a:lnTo>
                    <a:pt x="284" y="405"/>
                  </a:lnTo>
                  <a:lnTo>
                    <a:pt x="296" y="403"/>
                  </a:lnTo>
                  <a:lnTo>
                    <a:pt x="300" y="398"/>
                  </a:lnTo>
                  <a:lnTo>
                    <a:pt x="313" y="392"/>
                  </a:lnTo>
                  <a:lnTo>
                    <a:pt x="322" y="389"/>
                  </a:lnTo>
                  <a:lnTo>
                    <a:pt x="330" y="394"/>
                  </a:lnTo>
                  <a:lnTo>
                    <a:pt x="337" y="406"/>
                  </a:lnTo>
                  <a:lnTo>
                    <a:pt x="337" y="413"/>
                  </a:lnTo>
                  <a:lnTo>
                    <a:pt x="330" y="419"/>
                  </a:lnTo>
                  <a:lnTo>
                    <a:pt x="318" y="419"/>
                  </a:lnTo>
                  <a:lnTo>
                    <a:pt x="300" y="431"/>
                  </a:lnTo>
                  <a:lnTo>
                    <a:pt x="280" y="431"/>
                  </a:lnTo>
                  <a:lnTo>
                    <a:pt x="272" y="422"/>
                  </a:lnTo>
                  <a:lnTo>
                    <a:pt x="261" y="415"/>
                  </a:lnTo>
                  <a:lnTo>
                    <a:pt x="251" y="417"/>
                  </a:lnTo>
                  <a:lnTo>
                    <a:pt x="244" y="415"/>
                  </a:lnTo>
                  <a:lnTo>
                    <a:pt x="243" y="410"/>
                  </a:lnTo>
                  <a:lnTo>
                    <a:pt x="216" y="398"/>
                  </a:lnTo>
                  <a:lnTo>
                    <a:pt x="208" y="388"/>
                  </a:lnTo>
                  <a:lnTo>
                    <a:pt x="203" y="388"/>
                  </a:lnTo>
                  <a:lnTo>
                    <a:pt x="200" y="394"/>
                  </a:lnTo>
                  <a:lnTo>
                    <a:pt x="199" y="408"/>
                  </a:lnTo>
                  <a:lnTo>
                    <a:pt x="194" y="413"/>
                  </a:lnTo>
                  <a:lnTo>
                    <a:pt x="181" y="415"/>
                  </a:lnTo>
                  <a:lnTo>
                    <a:pt x="170" y="412"/>
                  </a:lnTo>
                  <a:lnTo>
                    <a:pt x="162" y="415"/>
                  </a:lnTo>
                  <a:lnTo>
                    <a:pt x="146" y="417"/>
                  </a:lnTo>
                  <a:lnTo>
                    <a:pt x="139" y="417"/>
                  </a:lnTo>
                  <a:lnTo>
                    <a:pt x="139" y="440"/>
                  </a:lnTo>
                  <a:lnTo>
                    <a:pt x="65" y="440"/>
                  </a:lnTo>
                  <a:lnTo>
                    <a:pt x="65" y="452"/>
                  </a:lnTo>
                  <a:lnTo>
                    <a:pt x="69" y="482"/>
                  </a:lnTo>
                  <a:lnTo>
                    <a:pt x="65" y="505"/>
                  </a:lnTo>
                  <a:lnTo>
                    <a:pt x="72" y="526"/>
                  </a:lnTo>
                  <a:lnTo>
                    <a:pt x="84" y="539"/>
                  </a:lnTo>
                  <a:lnTo>
                    <a:pt x="86" y="539"/>
                  </a:lnTo>
                  <a:lnTo>
                    <a:pt x="106" y="532"/>
                  </a:lnTo>
                  <a:lnTo>
                    <a:pt x="142" y="528"/>
                  </a:lnTo>
                  <a:lnTo>
                    <a:pt x="175" y="530"/>
                  </a:lnTo>
                  <a:lnTo>
                    <a:pt x="198" y="519"/>
                  </a:lnTo>
                  <a:lnTo>
                    <a:pt x="219" y="500"/>
                  </a:lnTo>
                  <a:lnTo>
                    <a:pt x="423" y="502"/>
                  </a:lnTo>
                  <a:lnTo>
                    <a:pt x="480" y="530"/>
                  </a:lnTo>
                  <a:lnTo>
                    <a:pt x="512" y="535"/>
                  </a:lnTo>
                  <a:lnTo>
                    <a:pt x="584" y="526"/>
                  </a:lnTo>
                  <a:lnTo>
                    <a:pt x="590" y="528"/>
                  </a:lnTo>
                  <a:lnTo>
                    <a:pt x="594" y="521"/>
                  </a:lnTo>
                  <a:lnTo>
                    <a:pt x="594" y="491"/>
                  </a:lnTo>
                  <a:lnTo>
                    <a:pt x="589" y="447"/>
                  </a:lnTo>
                  <a:lnTo>
                    <a:pt x="578" y="427"/>
                  </a:lnTo>
                  <a:lnTo>
                    <a:pt x="553" y="412"/>
                  </a:lnTo>
                  <a:lnTo>
                    <a:pt x="546" y="401"/>
                  </a:lnTo>
                  <a:lnTo>
                    <a:pt x="535" y="374"/>
                  </a:lnTo>
                  <a:lnTo>
                    <a:pt x="517" y="280"/>
                  </a:lnTo>
                  <a:lnTo>
                    <a:pt x="521" y="261"/>
                  </a:lnTo>
                  <a:lnTo>
                    <a:pt x="543" y="240"/>
                  </a:lnTo>
                  <a:lnTo>
                    <a:pt x="480" y="190"/>
                  </a:lnTo>
                  <a:lnTo>
                    <a:pt x="452" y="158"/>
                  </a:lnTo>
                  <a:lnTo>
                    <a:pt x="428" y="116"/>
                  </a:lnTo>
                  <a:lnTo>
                    <a:pt x="415" y="79"/>
                  </a:lnTo>
                  <a:lnTo>
                    <a:pt x="408" y="70"/>
                  </a:lnTo>
                  <a:lnTo>
                    <a:pt x="395" y="61"/>
                  </a:lnTo>
                  <a:lnTo>
                    <a:pt x="370" y="58"/>
                  </a:lnTo>
                  <a:lnTo>
                    <a:pt x="341" y="42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81" name="Freeform 118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3182" y="2520"/>
              <a:ext cx="219" cy="199"/>
            </a:xfrm>
            <a:custGeom>
              <a:avLst/>
              <a:gdLst>
                <a:gd name="T0" fmla="*/ 646 w 1461"/>
                <a:gd name="T1" fmla="*/ 41 h 1350"/>
                <a:gd name="T2" fmla="*/ 624 w 1461"/>
                <a:gd name="T3" fmla="*/ 32 h 1350"/>
                <a:gd name="T4" fmla="*/ 587 w 1461"/>
                <a:gd name="T5" fmla="*/ 44 h 1350"/>
                <a:gd name="T6" fmla="*/ 567 w 1461"/>
                <a:gd name="T7" fmla="*/ 34 h 1350"/>
                <a:gd name="T8" fmla="*/ 514 w 1461"/>
                <a:gd name="T9" fmla="*/ 50 h 1350"/>
                <a:gd name="T10" fmla="*/ 478 w 1461"/>
                <a:gd name="T11" fmla="*/ 18 h 1350"/>
                <a:gd name="T12" fmla="*/ 425 w 1461"/>
                <a:gd name="T13" fmla="*/ 90 h 1350"/>
                <a:gd name="T14" fmla="*/ 385 w 1461"/>
                <a:gd name="T15" fmla="*/ 46 h 1350"/>
                <a:gd name="T16" fmla="*/ 354 w 1461"/>
                <a:gd name="T17" fmla="*/ 62 h 1350"/>
                <a:gd name="T18" fmla="*/ 339 w 1461"/>
                <a:gd name="T19" fmla="*/ 69 h 1350"/>
                <a:gd name="T20" fmla="*/ 305 w 1461"/>
                <a:gd name="T21" fmla="*/ 243 h 1350"/>
                <a:gd name="T22" fmla="*/ 241 w 1461"/>
                <a:gd name="T23" fmla="*/ 280 h 1350"/>
                <a:gd name="T24" fmla="*/ 189 w 1461"/>
                <a:gd name="T25" fmla="*/ 474 h 1350"/>
                <a:gd name="T26" fmla="*/ 168 w 1461"/>
                <a:gd name="T27" fmla="*/ 486 h 1350"/>
                <a:gd name="T28" fmla="*/ 136 w 1461"/>
                <a:gd name="T29" fmla="*/ 485 h 1350"/>
                <a:gd name="T30" fmla="*/ 109 w 1461"/>
                <a:gd name="T31" fmla="*/ 666 h 1350"/>
                <a:gd name="T32" fmla="*/ 99 w 1461"/>
                <a:gd name="T33" fmla="*/ 754 h 1350"/>
                <a:gd name="T34" fmla="*/ 67 w 1461"/>
                <a:gd name="T35" fmla="*/ 770 h 1350"/>
                <a:gd name="T36" fmla="*/ 11 w 1461"/>
                <a:gd name="T37" fmla="*/ 765 h 1350"/>
                <a:gd name="T38" fmla="*/ 5 w 1461"/>
                <a:gd name="T39" fmla="*/ 839 h 1350"/>
                <a:gd name="T40" fmla="*/ 58 w 1461"/>
                <a:gd name="T41" fmla="*/ 851 h 1350"/>
                <a:gd name="T42" fmla="*/ 155 w 1461"/>
                <a:gd name="T43" fmla="*/ 965 h 1350"/>
                <a:gd name="T44" fmla="*/ 218 w 1461"/>
                <a:gd name="T45" fmla="*/ 1105 h 1350"/>
                <a:gd name="T46" fmla="*/ 258 w 1461"/>
                <a:gd name="T47" fmla="*/ 1124 h 1350"/>
                <a:gd name="T48" fmla="*/ 275 w 1461"/>
                <a:gd name="T49" fmla="*/ 1193 h 1350"/>
                <a:gd name="T50" fmla="*/ 274 w 1461"/>
                <a:gd name="T51" fmla="*/ 1209 h 1350"/>
                <a:gd name="T52" fmla="*/ 332 w 1461"/>
                <a:gd name="T53" fmla="*/ 1219 h 1350"/>
                <a:gd name="T54" fmla="*/ 393 w 1461"/>
                <a:gd name="T55" fmla="*/ 1246 h 1350"/>
                <a:gd name="T56" fmla="*/ 512 w 1461"/>
                <a:gd name="T57" fmla="*/ 1329 h 1350"/>
                <a:gd name="T58" fmla="*/ 601 w 1461"/>
                <a:gd name="T59" fmla="*/ 1345 h 1350"/>
                <a:gd name="T60" fmla="*/ 646 w 1461"/>
                <a:gd name="T61" fmla="*/ 1345 h 1350"/>
                <a:gd name="T62" fmla="*/ 689 w 1461"/>
                <a:gd name="T63" fmla="*/ 1293 h 1350"/>
                <a:gd name="T64" fmla="*/ 769 w 1461"/>
                <a:gd name="T65" fmla="*/ 1262 h 1350"/>
                <a:gd name="T66" fmla="*/ 809 w 1461"/>
                <a:gd name="T67" fmla="*/ 1290 h 1350"/>
                <a:gd name="T68" fmla="*/ 877 w 1461"/>
                <a:gd name="T69" fmla="*/ 1269 h 1350"/>
                <a:gd name="T70" fmla="*/ 946 w 1461"/>
                <a:gd name="T71" fmla="*/ 1258 h 1350"/>
                <a:gd name="T72" fmla="*/ 972 w 1461"/>
                <a:gd name="T73" fmla="*/ 1230 h 1350"/>
                <a:gd name="T74" fmla="*/ 1012 w 1461"/>
                <a:gd name="T75" fmla="*/ 1193 h 1350"/>
                <a:gd name="T76" fmla="*/ 1065 w 1461"/>
                <a:gd name="T77" fmla="*/ 1177 h 1350"/>
                <a:gd name="T78" fmla="*/ 1461 w 1461"/>
                <a:gd name="T79" fmla="*/ 820 h 1350"/>
                <a:gd name="T80" fmla="*/ 1367 w 1461"/>
                <a:gd name="T81" fmla="*/ 813 h 1350"/>
                <a:gd name="T82" fmla="*/ 1062 w 1461"/>
                <a:gd name="T83" fmla="*/ 684 h 1350"/>
                <a:gd name="T84" fmla="*/ 979 w 1461"/>
                <a:gd name="T85" fmla="*/ 567 h 1350"/>
                <a:gd name="T86" fmla="*/ 956 w 1461"/>
                <a:gd name="T87" fmla="*/ 508 h 1350"/>
                <a:gd name="T88" fmla="*/ 947 w 1461"/>
                <a:gd name="T89" fmla="*/ 455 h 1350"/>
                <a:gd name="T90" fmla="*/ 890 w 1461"/>
                <a:gd name="T91" fmla="*/ 465 h 1350"/>
                <a:gd name="T92" fmla="*/ 860 w 1461"/>
                <a:gd name="T93" fmla="*/ 407 h 1350"/>
                <a:gd name="T94" fmla="*/ 865 w 1461"/>
                <a:gd name="T95" fmla="*/ 373 h 1350"/>
                <a:gd name="T96" fmla="*/ 901 w 1461"/>
                <a:gd name="T97" fmla="*/ 283 h 1350"/>
                <a:gd name="T98" fmla="*/ 860 w 1461"/>
                <a:gd name="T99" fmla="*/ 241 h 1350"/>
                <a:gd name="T100" fmla="*/ 784 w 1461"/>
                <a:gd name="T101" fmla="*/ 148 h 1350"/>
                <a:gd name="T102" fmla="*/ 742 w 1461"/>
                <a:gd name="T103" fmla="*/ 81 h 1350"/>
                <a:gd name="T104" fmla="*/ 678 w 1461"/>
                <a:gd name="T105" fmla="*/ 44 h 13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61"/>
                <a:gd name="T160" fmla="*/ 0 h 1350"/>
                <a:gd name="T161" fmla="*/ 1461 w 1461"/>
                <a:gd name="T162" fmla="*/ 1350 h 13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61" h="1350">
                  <a:moveTo>
                    <a:pt x="653" y="50"/>
                  </a:moveTo>
                  <a:lnTo>
                    <a:pt x="646" y="41"/>
                  </a:lnTo>
                  <a:lnTo>
                    <a:pt x="636" y="43"/>
                  </a:lnTo>
                  <a:lnTo>
                    <a:pt x="624" y="32"/>
                  </a:lnTo>
                  <a:lnTo>
                    <a:pt x="608" y="41"/>
                  </a:lnTo>
                  <a:lnTo>
                    <a:pt x="587" y="44"/>
                  </a:lnTo>
                  <a:lnTo>
                    <a:pt x="575" y="21"/>
                  </a:lnTo>
                  <a:lnTo>
                    <a:pt x="567" y="34"/>
                  </a:lnTo>
                  <a:lnTo>
                    <a:pt x="548" y="44"/>
                  </a:lnTo>
                  <a:lnTo>
                    <a:pt x="514" y="50"/>
                  </a:lnTo>
                  <a:lnTo>
                    <a:pt x="489" y="18"/>
                  </a:lnTo>
                  <a:lnTo>
                    <a:pt x="478" y="18"/>
                  </a:lnTo>
                  <a:lnTo>
                    <a:pt x="461" y="0"/>
                  </a:lnTo>
                  <a:lnTo>
                    <a:pt x="425" y="90"/>
                  </a:lnTo>
                  <a:lnTo>
                    <a:pt x="405" y="43"/>
                  </a:lnTo>
                  <a:lnTo>
                    <a:pt x="385" y="46"/>
                  </a:lnTo>
                  <a:lnTo>
                    <a:pt x="371" y="66"/>
                  </a:lnTo>
                  <a:lnTo>
                    <a:pt x="354" y="62"/>
                  </a:lnTo>
                  <a:lnTo>
                    <a:pt x="339" y="64"/>
                  </a:lnTo>
                  <a:lnTo>
                    <a:pt x="339" y="69"/>
                  </a:lnTo>
                  <a:lnTo>
                    <a:pt x="332" y="118"/>
                  </a:lnTo>
                  <a:lnTo>
                    <a:pt x="305" y="243"/>
                  </a:lnTo>
                  <a:lnTo>
                    <a:pt x="258" y="261"/>
                  </a:lnTo>
                  <a:lnTo>
                    <a:pt x="241" y="280"/>
                  </a:lnTo>
                  <a:lnTo>
                    <a:pt x="204" y="358"/>
                  </a:lnTo>
                  <a:lnTo>
                    <a:pt x="189" y="474"/>
                  </a:lnTo>
                  <a:lnTo>
                    <a:pt x="180" y="483"/>
                  </a:lnTo>
                  <a:lnTo>
                    <a:pt x="168" y="486"/>
                  </a:lnTo>
                  <a:lnTo>
                    <a:pt x="148" y="481"/>
                  </a:lnTo>
                  <a:lnTo>
                    <a:pt x="136" y="485"/>
                  </a:lnTo>
                  <a:lnTo>
                    <a:pt x="131" y="490"/>
                  </a:lnTo>
                  <a:lnTo>
                    <a:pt x="109" y="666"/>
                  </a:lnTo>
                  <a:lnTo>
                    <a:pt x="110" y="693"/>
                  </a:lnTo>
                  <a:lnTo>
                    <a:pt x="99" y="754"/>
                  </a:lnTo>
                  <a:lnTo>
                    <a:pt x="79" y="770"/>
                  </a:lnTo>
                  <a:lnTo>
                    <a:pt x="67" y="770"/>
                  </a:lnTo>
                  <a:lnTo>
                    <a:pt x="25" y="763"/>
                  </a:lnTo>
                  <a:lnTo>
                    <a:pt x="11" y="765"/>
                  </a:lnTo>
                  <a:lnTo>
                    <a:pt x="0" y="832"/>
                  </a:lnTo>
                  <a:lnTo>
                    <a:pt x="5" y="839"/>
                  </a:lnTo>
                  <a:lnTo>
                    <a:pt x="25" y="846"/>
                  </a:lnTo>
                  <a:lnTo>
                    <a:pt x="58" y="851"/>
                  </a:lnTo>
                  <a:lnTo>
                    <a:pt x="73" y="861"/>
                  </a:lnTo>
                  <a:lnTo>
                    <a:pt x="155" y="965"/>
                  </a:lnTo>
                  <a:lnTo>
                    <a:pt x="204" y="1082"/>
                  </a:lnTo>
                  <a:lnTo>
                    <a:pt x="218" y="1105"/>
                  </a:lnTo>
                  <a:lnTo>
                    <a:pt x="240" y="1119"/>
                  </a:lnTo>
                  <a:lnTo>
                    <a:pt x="258" y="1124"/>
                  </a:lnTo>
                  <a:lnTo>
                    <a:pt x="270" y="1140"/>
                  </a:lnTo>
                  <a:lnTo>
                    <a:pt x="275" y="1193"/>
                  </a:lnTo>
                  <a:lnTo>
                    <a:pt x="274" y="1202"/>
                  </a:lnTo>
                  <a:lnTo>
                    <a:pt x="274" y="1209"/>
                  </a:lnTo>
                  <a:lnTo>
                    <a:pt x="287" y="1212"/>
                  </a:lnTo>
                  <a:lnTo>
                    <a:pt x="332" y="1219"/>
                  </a:lnTo>
                  <a:lnTo>
                    <a:pt x="367" y="1230"/>
                  </a:lnTo>
                  <a:lnTo>
                    <a:pt x="393" y="1246"/>
                  </a:lnTo>
                  <a:lnTo>
                    <a:pt x="498" y="1325"/>
                  </a:lnTo>
                  <a:lnTo>
                    <a:pt x="512" y="1329"/>
                  </a:lnTo>
                  <a:lnTo>
                    <a:pt x="573" y="1336"/>
                  </a:lnTo>
                  <a:lnTo>
                    <a:pt x="601" y="1345"/>
                  </a:lnTo>
                  <a:lnTo>
                    <a:pt x="640" y="1350"/>
                  </a:lnTo>
                  <a:lnTo>
                    <a:pt x="646" y="1345"/>
                  </a:lnTo>
                  <a:lnTo>
                    <a:pt x="678" y="1304"/>
                  </a:lnTo>
                  <a:lnTo>
                    <a:pt x="689" y="1293"/>
                  </a:lnTo>
                  <a:lnTo>
                    <a:pt x="757" y="1256"/>
                  </a:lnTo>
                  <a:lnTo>
                    <a:pt x="769" y="1262"/>
                  </a:lnTo>
                  <a:lnTo>
                    <a:pt x="788" y="1279"/>
                  </a:lnTo>
                  <a:lnTo>
                    <a:pt x="809" y="1290"/>
                  </a:lnTo>
                  <a:lnTo>
                    <a:pt x="858" y="1295"/>
                  </a:lnTo>
                  <a:lnTo>
                    <a:pt x="877" y="1269"/>
                  </a:lnTo>
                  <a:lnTo>
                    <a:pt x="890" y="1263"/>
                  </a:lnTo>
                  <a:lnTo>
                    <a:pt x="946" y="1258"/>
                  </a:lnTo>
                  <a:lnTo>
                    <a:pt x="960" y="1253"/>
                  </a:lnTo>
                  <a:lnTo>
                    <a:pt x="972" y="1230"/>
                  </a:lnTo>
                  <a:lnTo>
                    <a:pt x="995" y="1203"/>
                  </a:lnTo>
                  <a:lnTo>
                    <a:pt x="1012" y="1193"/>
                  </a:lnTo>
                  <a:lnTo>
                    <a:pt x="1037" y="1182"/>
                  </a:lnTo>
                  <a:lnTo>
                    <a:pt x="1065" y="1177"/>
                  </a:lnTo>
                  <a:lnTo>
                    <a:pt x="1176" y="1179"/>
                  </a:lnTo>
                  <a:lnTo>
                    <a:pt x="1461" y="820"/>
                  </a:lnTo>
                  <a:lnTo>
                    <a:pt x="1450" y="811"/>
                  </a:lnTo>
                  <a:lnTo>
                    <a:pt x="1367" y="813"/>
                  </a:lnTo>
                  <a:lnTo>
                    <a:pt x="1091" y="702"/>
                  </a:lnTo>
                  <a:lnTo>
                    <a:pt x="1062" y="684"/>
                  </a:lnTo>
                  <a:lnTo>
                    <a:pt x="1036" y="656"/>
                  </a:lnTo>
                  <a:lnTo>
                    <a:pt x="979" y="567"/>
                  </a:lnTo>
                  <a:lnTo>
                    <a:pt x="959" y="529"/>
                  </a:lnTo>
                  <a:lnTo>
                    <a:pt x="956" y="508"/>
                  </a:lnTo>
                  <a:lnTo>
                    <a:pt x="972" y="465"/>
                  </a:lnTo>
                  <a:lnTo>
                    <a:pt x="947" y="455"/>
                  </a:lnTo>
                  <a:lnTo>
                    <a:pt x="930" y="453"/>
                  </a:lnTo>
                  <a:lnTo>
                    <a:pt x="890" y="465"/>
                  </a:lnTo>
                  <a:lnTo>
                    <a:pt x="869" y="469"/>
                  </a:lnTo>
                  <a:lnTo>
                    <a:pt x="860" y="407"/>
                  </a:lnTo>
                  <a:lnTo>
                    <a:pt x="861" y="388"/>
                  </a:lnTo>
                  <a:lnTo>
                    <a:pt x="865" y="373"/>
                  </a:lnTo>
                  <a:lnTo>
                    <a:pt x="913" y="292"/>
                  </a:lnTo>
                  <a:lnTo>
                    <a:pt x="901" y="283"/>
                  </a:lnTo>
                  <a:lnTo>
                    <a:pt x="881" y="248"/>
                  </a:lnTo>
                  <a:lnTo>
                    <a:pt x="860" y="241"/>
                  </a:lnTo>
                  <a:lnTo>
                    <a:pt x="840" y="192"/>
                  </a:lnTo>
                  <a:lnTo>
                    <a:pt x="784" y="148"/>
                  </a:lnTo>
                  <a:lnTo>
                    <a:pt x="772" y="117"/>
                  </a:lnTo>
                  <a:lnTo>
                    <a:pt x="742" y="81"/>
                  </a:lnTo>
                  <a:lnTo>
                    <a:pt x="715" y="74"/>
                  </a:lnTo>
                  <a:lnTo>
                    <a:pt x="678" y="44"/>
                  </a:lnTo>
                  <a:lnTo>
                    <a:pt x="653" y="50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82" name="Freeform 119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2449" y="2537"/>
              <a:ext cx="40" cy="11"/>
            </a:xfrm>
            <a:custGeom>
              <a:avLst/>
              <a:gdLst>
                <a:gd name="T0" fmla="*/ 147 w 272"/>
                <a:gd name="T1" fmla="*/ 0 h 81"/>
                <a:gd name="T2" fmla="*/ 129 w 272"/>
                <a:gd name="T3" fmla="*/ 9 h 81"/>
                <a:gd name="T4" fmla="*/ 125 w 272"/>
                <a:gd name="T5" fmla="*/ 4 h 81"/>
                <a:gd name="T6" fmla="*/ 117 w 272"/>
                <a:gd name="T7" fmla="*/ 6 h 81"/>
                <a:gd name="T8" fmla="*/ 109 w 272"/>
                <a:gd name="T9" fmla="*/ 13 h 81"/>
                <a:gd name="T10" fmla="*/ 105 w 272"/>
                <a:gd name="T11" fmla="*/ 29 h 81"/>
                <a:gd name="T12" fmla="*/ 31 w 272"/>
                <a:gd name="T13" fmla="*/ 29 h 81"/>
                <a:gd name="T14" fmla="*/ 31 w 272"/>
                <a:gd name="T15" fmla="*/ 33 h 81"/>
                <a:gd name="T16" fmla="*/ 28 w 272"/>
                <a:gd name="T17" fmla="*/ 42 h 81"/>
                <a:gd name="T18" fmla="*/ 9 w 272"/>
                <a:gd name="T19" fmla="*/ 44 h 81"/>
                <a:gd name="T20" fmla="*/ 0 w 272"/>
                <a:gd name="T21" fmla="*/ 54 h 81"/>
                <a:gd name="T22" fmla="*/ 0 w 272"/>
                <a:gd name="T23" fmla="*/ 81 h 81"/>
                <a:gd name="T24" fmla="*/ 74 w 272"/>
                <a:gd name="T25" fmla="*/ 81 h 81"/>
                <a:gd name="T26" fmla="*/ 74 w 272"/>
                <a:gd name="T27" fmla="*/ 58 h 81"/>
                <a:gd name="T28" fmla="*/ 81 w 272"/>
                <a:gd name="T29" fmla="*/ 58 h 81"/>
                <a:gd name="T30" fmla="*/ 97 w 272"/>
                <a:gd name="T31" fmla="*/ 56 h 81"/>
                <a:gd name="T32" fmla="*/ 105 w 272"/>
                <a:gd name="T33" fmla="*/ 53 h 81"/>
                <a:gd name="T34" fmla="*/ 116 w 272"/>
                <a:gd name="T35" fmla="*/ 56 h 81"/>
                <a:gd name="T36" fmla="*/ 129 w 272"/>
                <a:gd name="T37" fmla="*/ 54 h 81"/>
                <a:gd name="T38" fmla="*/ 134 w 272"/>
                <a:gd name="T39" fmla="*/ 49 h 81"/>
                <a:gd name="T40" fmla="*/ 135 w 272"/>
                <a:gd name="T41" fmla="*/ 35 h 81"/>
                <a:gd name="T42" fmla="*/ 138 w 272"/>
                <a:gd name="T43" fmla="*/ 29 h 81"/>
                <a:gd name="T44" fmla="*/ 143 w 272"/>
                <a:gd name="T45" fmla="*/ 29 h 81"/>
                <a:gd name="T46" fmla="*/ 151 w 272"/>
                <a:gd name="T47" fmla="*/ 39 h 81"/>
                <a:gd name="T48" fmla="*/ 178 w 272"/>
                <a:gd name="T49" fmla="*/ 51 h 81"/>
                <a:gd name="T50" fmla="*/ 179 w 272"/>
                <a:gd name="T51" fmla="*/ 56 h 81"/>
                <a:gd name="T52" fmla="*/ 186 w 272"/>
                <a:gd name="T53" fmla="*/ 58 h 81"/>
                <a:gd name="T54" fmla="*/ 196 w 272"/>
                <a:gd name="T55" fmla="*/ 56 h 81"/>
                <a:gd name="T56" fmla="*/ 207 w 272"/>
                <a:gd name="T57" fmla="*/ 63 h 81"/>
                <a:gd name="T58" fmla="*/ 215 w 272"/>
                <a:gd name="T59" fmla="*/ 72 h 81"/>
                <a:gd name="T60" fmla="*/ 235 w 272"/>
                <a:gd name="T61" fmla="*/ 72 h 81"/>
                <a:gd name="T62" fmla="*/ 253 w 272"/>
                <a:gd name="T63" fmla="*/ 60 h 81"/>
                <a:gd name="T64" fmla="*/ 265 w 272"/>
                <a:gd name="T65" fmla="*/ 60 h 81"/>
                <a:gd name="T66" fmla="*/ 272 w 272"/>
                <a:gd name="T67" fmla="*/ 54 h 81"/>
                <a:gd name="T68" fmla="*/ 272 w 272"/>
                <a:gd name="T69" fmla="*/ 47 h 81"/>
                <a:gd name="T70" fmla="*/ 265 w 272"/>
                <a:gd name="T71" fmla="*/ 35 h 81"/>
                <a:gd name="T72" fmla="*/ 257 w 272"/>
                <a:gd name="T73" fmla="*/ 30 h 81"/>
                <a:gd name="T74" fmla="*/ 248 w 272"/>
                <a:gd name="T75" fmla="*/ 33 h 81"/>
                <a:gd name="T76" fmla="*/ 235 w 272"/>
                <a:gd name="T77" fmla="*/ 39 h 81"/>
                <a:gd name="T78" fmla="*/ 231 w 272"/>
                <a:gd name="T79" fmla="*/ 44 h 81"/>
                <a:gd name="T80" fmla="*/ 219 w 272"/>
                <a:gd name="T81" fmla="*/ 46 h 81"/>
                <a:gd name="T82" fmla="*/ 207 w 272"/>
                <a:gd name="T83" fmla="*/ 37 h 81"/>
                <a:gd name="T84" fmla="*/ 204 w 272"/>
                <a:gd name="T85" fmla="*/ 25 h 81"/>
                <a:gd name="T86" fmla="*/ 196 w 272"/>
                <a:gd name="T87" fmla="*/ 20 h 81"/>
                <a:gd name="T88" fmla="*/ 188 w 272"/>
                <a:gd name="T89" fmla="*/ 18 h 81"/>
                <a:gd name="T90" fmla="*/ 182 w 272"/>
                <a:gd name="T91" fmla="*/ 25 h 81"/>
                <a:gd name="T92" fmla="*/ 175 w 272"/>
                <a:gd name="T93" fmla="*/ 20 h 81"/>
                <a:gd name="T94" fmla="*/ 170 w 272"/>
                <a:gd name="T95" fmla="*/ 8 h 81"/>
                <a:gd name="T96" fmla="*/ 163 w 272"/>
                <a:gd name="T97" fmla="*/ 2 h 81"/>
                <a:gd name="T98" fmla="*/ 154 w 272"/>
                <a:gd name="T99" fmla="*/ 4 h 81"/>
                <a:gd name="T100" fmla="*/ 147 w 272"/>
                <a:gd name="T101" fmla="*/ 0 h 8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72"/>
                <a:gd name="T154" fmla="*/ 0 h 81"/>
                <a:gd name="T155" fmla="*/ 272 w 272"/>
                <a:gd name="T156" fmla="*/ 81 h 8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72" h="81">
                  <a:moveTo>
                    <a:pt x="147" y="0"/>
                  </a:moveTo>
                  <a:lnTo>
                    <a:pt x="129" y="9"/>
                  </a:lnTo>
                  <a:lnTo>
                    <a:pt x="125" y="4"/>
                  </a:lnTo>
                  <a:lnTo>
                    <a:pt x="117" y="6"/>
                  </a:lnTo>
                  <a:lnTo>
                    <a:pt x="109" y="13"/>
                  </a:lnTo>
                  <a:lnTo>
                    <a:pt x="105" y="29"/>
                  </a:lnTo>
                  <a:lnTo>
                    <a:pt x="31" y="29"/>
                  </a:lnTo>
                  <a:lnTo>
                    <a:pt x="31" y="33"/>
                  </a:lnTo>
                  <a:lnTo>
                    <a:pt x="28" y="42"/>
                  </a:lnTo>
                  <a:lnTo>
                    <a:pt x="9" y="44"/>
                  </a:lnTo>
                  <a:lnTo>
                    <a:pt x="0" y="54"/>
                  </a:lnTo>
                  <a:lnTo>
                    <a:pt x="0" y="81"/>
                  </a:lnTo>
                  <a:lnTo>
                    <a:pt x="74" y="81"/>
                  </a:lnTo>
                  <a:lnTo>
                    <a:pt x="74" y="58"/>
                  </a:lnTo>
                  <a:lnTo>
                    <a:pt x="81" y="58"/>
                  </a:lnTo>
                  <a:lnTo>
                    <a:pt x="97" y="56"/>
                  </a:lnTo>
                  <a:lnTo>
                    <a:pt x="105" y="53"/>
                  </a:lnTo>
                  <a:lnTo>
                    <a:pt x="116" y="56"/>
                  </a:lnTo>
                  <a:lnTo>
                    <a:pt x="129" y="54"/>
                  </a:lnTo>
                  <a:lnTo>
                    <a:pt x="134" y="49"/>
                  </a:lnTo>
                  <a:lnTo>
                    <a:pt x="135" y="35"/>
                  </a:lnTo>
                  <a:lnTo>
                    <a:pt x="138" y="29"/>
                  </a:lnTo>
                  <a:lnTo>
                    <a:pt x="143" y="29"/>
                  </a:lnTo>
                  <a:lnTo>
                    <a:pt x="151" y="39"/>
                  </a:lnTo>
                  <a:lnTo>
                    <a:pt x="178" y="51"/>
                  </a:lnTo>
                  <a:lnTo>
                    <a:pt x="179" y="56"/>
                  </a:lnTo>
                  <a:lnTo>
                    <a:pt x="186" y="58"/>
                  </a:lnTo>
                  <a:lnTo>
                    <a:pt x="196" y="56"/>
                  </a:lnTo>
                  <a:lnTo>
                    <a:pt x="207" y="63"/>
                  </a:lnTo>
                  <a:lnTo>
                    <a:pt x="215" y="72"/>
                  </a:lnTo>
                  <a:lnTo>
                    <a:pt x="235" y="72"/>
                  </a:lnTo>
                  <a:lnTo>
                    <a:pt x="253" y="60"/>
                  </a:lnTo>
                  <a:lnTo>
                    <a:pt x="265" y="60"/>
                  </a:lnTo>
                  <a:lnTo>
                    <a:pt x="272" y="54"/>
                  </a:lnTo>
                  <a:lnTo>
                    <a:pt x="272" y="47"/>
                  </a:lnTo>
                  <a:lnTo>
                    <a:pt x="265" y="35"/>
                  </a:lnTo>
                  <a:lnTo>
                    <a:pt x="257" y="30"/>
                  </a:lnTo>
                  <a:lnTo>
                    <a:pt x="248" y="33"/>
                  </a:lnTo>
                  <a:lnTo>
                    <a:pt x="235" y="39"/>
                  </a:lnTo>
                  <a:lnTo>
                    <a:pt x="231" y="44"/>
                  </a:lnTo>
                  <a:lnTo>
                    <a:pt x="219" y="46"/>
                  </a:lnTo>
                  <a:lnTo>
                    <a:pt x="207" y="37"/>
                  </a:lnTo>
                  <a:lnTo>
                    <a:pt x="204" y="25"/>
                  </a:lnTo>
                  <a:lnTo>
                    <a:pt x="196" y="20"/>
                  </a:lnTo>
                  <a:lnTo>
                    <a:pt x="188" y="18"/>
                  </a:lnTo>
                  <a:lnTo>
                    <a:pt x="182" y="25"/>
                  </a:lnTo>
                  <a:lnTo>
                    <a:pt x="175" y="20"/>
                  </a:lnTo>
                  <a:lnTo>
                    <a:pt x="170" y="8"/>
                  </a:lnTo>
                  <a:lnTo>
                    <a:pt x="163" y="2"/>
                  </a:lnTo>
                  <a:lnTo>
                    <a:pt x="154" y="4"/>
                  </a:lnTo>
                  <a:lnTo>
                    <a:pt x="147" y="0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83" name="Freeform 120"/>
            <p:cNvSpPr>
              <a:spLocks/>
            </p:cNvSpPr>
            <p:nvPr>
              <p:custDataLst>
                <p:tags r:id="rId111"/>
              </p:custDataLst>
            </p:nvPr>
          </p:nvSpPr>
          <p:spPr bwMode="auto">
            <a:xfrm>
              <a:off x="3310" y="2556"/>
              <a:ext cx="26" cy="33"/>
            </a:xfrm>
            <a:custGeom>
              <a:avLst/>
              <a:gdLst>
                <a:gd name="T0" fmla="*/ 125 w 165"/>
                <a:gd name="T1" fmla="*/ 93 h 219"/>
                <a:gd name="T2" fmla="*/ 145 w 165"/>
                <a:gd name="T3" fmla="*/ 88 h 219"/>
                <a:gd name="T4" fmla="*/ 160 w 165"/>
                <a:gd name="T5" fmla="*/ 78 h 219"/>
                <a:gd name="T6" fmla="*/ 165 w 165"/>
                <a:gd name="T7" fmla="*/ 72 h 219"/>
                <a:gd name="T8" fmla="*/ 164 w 165"/>
                <a:gd name="T9" fmla="*/ 58 h 219"/>
                <a:gd name="T10" fmla="*/ 151 w 165"/>
                <a:gd name="T11" fmla="*/ 32 h 219"/>
                <a:gd name="T12" fmla="*/ 124 w 165"/>
                <a:gd name="T13" fmla="*/ 0 h 219"/>
                <a:gd name="T14" fmla="*/ 98 w 165"/>
                <a:gd name="T15" fmla="*/ 48 h 219"/>
                <a:gd name="T16" fmla="*/ 83 w 165"/>
                <a:gd name="T17" fmla="*/ 37 h 219"/>
                <a:gd name="T18" fmla="*/ 65 w 165"/>
                <a:gd name="T19" fmla="*/ 32 h 219"/>
                <a:gd name="T20" fmla="*/ 55 w 165"/>
                <a:gd name="T21" fmla="*/ 37 h 219"/>
                <a:gd name="T22" fmla="*/ 5 w 165"/>
                <a:gd name="T23" fmla="*/ 123 h 219"/>
                <a:gd name="T24" fmla="*/ 1 w 165"/>
                <a:gd name="T25" fmla="*/ 138 h 219"/>
                <a:gd name="T26" fmla="*/ 0 w 165"/>
                <a:gd name="T27" fmla="*/ 157 h 219"/>
                <a:gd name="T28" fmla="*/ 9 w 165"/>
                <a:gd name="T29" fmla="*/ 219 h 219"/>
                <a:gd name="T30" fmla="*/ 30 w 165"/>
                <a:gd name="T31" fmla="*/ 215 h 219"/>
                <a:gd name="T32" fmla="*/ 70 w 165"/>
                <a:gd name="T33" fmla="*/ 203 h 219"/>
                <a:gd name="T34" fmla="*/ 87 w 165"/>
                <a:gd name="T35" fmla="*/ 205 h 219"/>
                <a:gd name="T36" fmla="*/ 112 w 165"/>
                <a:gd name="T37" fmla="*/ 215 h 219"/>
                <a:gd name="T38" fmla="*/ 127 w 165"/>
                <a:gd name="T39" fmla="*/ 185 h 219"/>
                <a:gd name="T40" fmla="*/ 144 w 165"/>
                <a:gd name="T41" fmla="*/ 160 h 219"/>
                <a:gd name="T42" fmla="*/ 148 w 165"/>
                <a:gd name="T43" fmla="*/ 146 h 219"/>
                <a:gd name="T44" fmla="*/ 128 w 165"/>
                <a:gd name="T45" fmla="*/ 139 h 219"/>
                <a:gd name="T46" fmla="*/ 87 w 165"/>
                <a:gd name="T47" fmla="*/ 141 h 219"/>
                <a:gd name="T48" fmla="*/ 75 w 165"/>
                <a:gd name="T49" fmla="*/ 136 h 219"/>
                <a:gd name="T50" fmla="*/ 100 w 165"/>
                <a:gd name="T51" fmla="*/ 109 h 219"/>
                <a:gd name="T52" fmla="*/ 125 w 165"/>
                <a:gd name="T53" fmla="*/ 93 h 21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65"/>
                <a:gd name="T82" fmla="*/ 0 h 219"/>
                <a:gd name="T83" fmla="*/ 165 w 165"/>
                <a:gd name="T84" fmla="*/ 219 h 219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65" h="219">
                  <a:moveTo>
                    <a:pt x="125" y="93"/>
                  </a:moveTo>
                  <a:lnTo>
                    <a:pt x="145" y="88"/>
                  </a:lnTo>
                  <a:lnTo>
                    <a:pt x="160" y="78"/>
                  </a:lnTo>
                  <a:lnTo>
                    <a:pt x="165" y="72"/>
                  </a:lnTo>
                  <a:lnTo>
                    <a:pt x="164" y="58"/>
                  </a:lnTo>
                  <a:lnTo>
                    <a:pt x="151" y="32"/>
                  </a:lnTo>
                  <a:lnTo>
                    <a:pt x="124" y="0"/>
                  </a:lnTo>
                  <a:lnTo>
                    <a:pt x="98" y="48"/>
                  </a:lnTo>
                  <a:lnTo>
                    <a:pt x="83" y="37"/>
                  </a:lnTo>
                  <a:lnTo>
                    <a:pt x="65" y="32"/>
                  </a:lnTo>
                  <a:lnTo>
                    <a:pt x="55" y="37"/>
                  </a:lnTo>
                  <a:lnTo>
                    <a:pt x="5" y="123"/>
                  </a:lnTo>
                  <a:lnTo>
                    <a:pt x="1" y="138"/>
                  </a:lnTo>
                  <a:lnTo>
                    <a:pt x="0" y="157"/>
                  </a:lnTo>
                  <a:lnTo>
                    <a:pt x="9" y="219"/>
                  </a:lnTo>
                  <a:lnTo>
                    <a:pt x="30" y="215"/>
                  </a:lnTo>
                  <a:lnTo>
                    <a:pt x="70" y="203"/>
                  </a:lnTo>
                  <a:lnTo>
                    <a:pt x="87" y="205"/>
                  </a:lnTo>
                  <a:lnTo>
                    <a:pt x="112" y="215"/>
                  </a:lnTo>
                  <a:lnTo>
                    <a:pt x="127" y="185"/>
                  </a:lnTo>
                  <a:lnTo>
                    <a:pt x="144" y="160"/>
                  </a:lnTo>
                  <a:lnTo>
                    <a:pt x="148" y="146"/>
                  </a:lnTo>
                  <a:lnTo>
                    <a:pt x="128" y="139"/>
                  </a:lnTo>
                  <a:lnTo>
                    <a:pt x="87" y="141"/>
                  </a:lnTo>
                  <a:lnTo>
                    <a:pt x="75" y="136"/>
                  </a:lnTo>
                  <a:lnTo>
                    <a:pt x="100" y="109"/>
                  </a:lnTo>
                  <a:lnTo>
                    <a:pt x="125" y="93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84" name="Freeform 121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3310" y="2556"/>
              <a:ext cx="26" cy="33"/>
            </a:xfrm>
            <a:custGeom>
              <a:avLst/>
              <a:gdLst>
                <a:gd name="T0" fmla="*/ 145 w 165"/>
                <a:gd name="T1" fmla="*/ 88 h 219"/>
                <a:gd name="T2" fmla="*/ 160 w 165"/>
                <a:gd name="T3" fmla="*/ 78 h 219"/>
                <a:gd name="T4" fmla="*/ 165 w 165"/>
                <a:gd name="T5" fmla="*/ 72 h 219"/>
                <a:gd name="T6" fmla="*/ 164 w 165"/>
                <a:gd name="T7" fmla="*/ 58 h 219"/>
                <a:gd name="T8" fmla="*/ 151 w 165"/>
                <a:gd name="T9" fmla="*/ 32 h 219"/>
                <a:gd name="T10" fmla="*/ 124 w 165"/>
                <a:gd name="T11" fmla="*/ 0 h 219"/>
                <a:gd name="T12" fmla="*/ 98 w 165"/>
                <a:gd name="T13" fmla="*/ 48 h 219"/>
                <a:gd name="T14" fmla="*/ 83 w 165"/>
                <a:gd name="T15" fmla="*/ 37 h 219"/>
                <a:gd name="T16" fmla="*/ 65 w 165"/>
                <a:gd name="T17" fmla="*/ 32 h 219"/>
                <a:gd name="T18" fmla="*/ 55 w 165"/>
                <a:gd name="T19" fmla="*/ 37 h 219"/>
                <a:gd name="T20" fmla="*/ 5 w 165"/>
                <a:gd name="T21" fmla="*/ 123 h 219"/>
                <a:gd name="T22" fmla="*/ 1 w 165"/>
                <a:gd name="T23" fmla="*/ 138 h 219"/>
                <a:gd name="T24" fmla="*/ 0 w 165"/>
                <a:gd name="T25" fmla="*/ 157 h 219"/>
                <a:gd name="T26" fmla="*/ 9 w 165"/>
                <a:gd name="T27" fmla="*/ 219 h 219"/>
                <a:gd name="T28" fmla="*/ 30 w 165"/>
                <a:gd name="T29" fmla="*/ 215 h 219"/>
                <a:gd name="T30" fmla="*/ 70 w 165"/>
                <a:gd name="T31" fmla="*/ 203 h 219"/>
                <a:gd name="T32" fmla="*/ 87 w 165"/>
                <a:gd name="T33" fmla="*/ 205 h 219"/>
                <a:gd name="T34" fmla="*/ 112 w 165"/>
                <a:gd name="T35" fmla="*/ 215 h 219"/>
                <a:gd name="T36" fmla="*/ 127 w 165"/>
                <a:gd name="T37" fmla="*/ 185 h 219"/>
                <a:gd name="T38" fmla="*/ 144 w 165"/>
                <a:gd name="T39" fmla="*/ 160 h 219"/>
                <a:gd name="T40" fmla="*/ 148 w 165"/>
                <a:gd name="T41" fmla="*/ 146 h 219"/>
                <a:gd name="T42" fmla="*/ 128 w 165"/>
                <a:gd name="T43" fmla="*/ 139 h 219"/>
                <a:gd name="T44" fmla="*/ 87 w 165"/>
                <a:gd name="T45" fmla="*/ 141 h 219"/>
                <a:gd name="T46" fmla="*/ 75 w 165"/>
                <a:gd name="T47" fmla="*/ 136 h 219"/>
                <a:gd name="T48" fmla="*/ 100 w 165"/>
                <a:gd name="T49" fmla="*/ 109 h 219"/>
                <a:gd name="T50" fmla="*/ 125 w 165"/>
                <a:gd name="T51" fmla="*/ 93 h 219"/>
                <a:gd name="T52" fmla="*/ 145 w 165"/>
                <a:gd name="T53" fmla="*/ 88 h 21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65"/>
                <a:gd name="T82" fmla="*/ 0 h 219"/>
                <a:gd name="T83" fmla="*/ 165 w 165"/>
                <a:gd name="T84" fmla="*/ 219 h 219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65" h="219">
                  <a:moveTo>
                    <a:pt x="145" y="88"/>
                  </a:moveTo>
                  <a:lnTo>
                    <a:pt x="160" y="78"/>
                  </a:lnTo>
                  <a:lnTo>
                    <a:pt x="165" y="72"/>
                  </a:lnTo>
                  <a:lnTo>
                    <a:pt x="164" y="58"/>
                  </a:lnTo>
                  <a:lnTo>
                    <a:pt x="151" y="32"/>
                  </a:lnTo>
                  <a:lnTo>
                    <a:pt x="124" y="0"/>
                  </a:lnTo>
                  <a:lnTo>
                    <a:pt x="98" y="48"/>
                  </a:lnTo>
                  <a:lnTo>
                    <a:pt x="83" y="37"/>
                  </a:lnTo>
                  <a:lnTo>
                    <a:pt x="65" y="32"/>
                  </a:lnTo>
                  <a:lnTo>
                    <a:pt x="55" y="37"/>
                  </a:lnTo>
                  <a:lnTo>
                    <a:pt x="5" y="123"/>
                  </a:lnTo>
                  <a:lnTo>
                    <a:pt x="1" y="138"/>
                  </a:lnTo>
                  <a:lnTo>
                    <a:pt x="0" y="157"/>
                  </a:lnTo>
                  <a:lnTo>
                    <a:pt x="9" y="219"/>
                  </a:lnTo>
                  <a:lnTo>
                    <a:pt x="30" y="215"/>
                  </a:lnTo>
                  <a:lnTo>
                    <a:pt x="70" y="203"/>
                  </a:lnTo>
                  <a:lnTo>
                    <a:pt x="87" y="205"/>
                  </a:lnTo>
                  <a:lnTo>
                    <a:pt x="112" y="215"/>
                  </a:lnTo>
                  <a:lnTo>
                    <a:pt x="127" y="185"/>
                  </a:lnTo>
                  <a:lnTo>
                    <a:pt x="144" y="160"/>
                  </a:lnTo>
                  <a:lnTo>
                    <a:pt x="148" y="146"/>
                  </a:lnTo>
                  <a:lnTo>
                    <a:pt x="128" y="139"/>
                  </a:lnTo>
                  <a:lnTo>
                    <a:pt x="87" y="141"/>
                  </a:lnTo>
                  <a:lnTo>
                    <a:pt x="75" y="136"/>
                  </a:lnTo>
                  <a:lnTo>
                    <a:pt x="100" y="109"/>
                  </a:lnTo>
                  <a:lnTo>
                    <a:pt x="125" y="93"/>
                  </a:lnTo>
                  <a:lnTo>
                    <a:pt x="145" y="88"/>
                  </a:lnTo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85" name="Freeform 122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2452" y="2558"/>
              <a:ext cx="41" cy="27"/>
            </a:xfrm>
            <a:custGeom>
              <a:avLst/>
              <a:gdLst>
                <a:gd name="T0" fmla="*/ 258 w 281"/>
                <a:gd name="T1" fmla="*/ 114 h 181"/>
                <a:gd name="T2" fmla="*/ 273 w 281"/>
                <a:gd name="T3" fmla="*/ 106 h 181"/>
                <a:gd name="T4" fmla="*/ 281 w 281"/>
                <a:gd name="T5" fmla="*/ 88 h 181"/>
                <a:gd name="T6" fmla="*/ 276 w 281"/>
                <a:gd name="T7" fmla="*/ 44 h 181"/>
                <a:gd name="T8" fmla="*/ 281 w 281"/>
                <a:gd name="T9" fmla="*/ 2 h 181"/>
                <a:gd name="T10" fmla="*/ 133 w 281"/>
                <a:gd name="T11" fmla="*/ 0 h 181"/>
                <a:gd name="T12" fmla="*/ 112 w 281"/>
                <a:gd name="T13" fmla="*/ 19 h 181"/>
                <a:gd name="T14" fmla="*/ 89 w 281"/>
                <a:gd name="T15" fmla="*/ 30 h 181"/>
                <a:gd name="T16" fmla="*/ 56 w 281"/>
                <a:gd name="T17" fmla="*/ 28 h 181"/>
                <a:gd name="T18" fmla="*/ 20 w 281"/>
                <a:gd name="T19" fmla="*/ 32 h 181"/>
                <a:gd name="T20" fmla="*/ 0 w 281"/>
                <a:gd name="T21" fmla="*/ 39 h 181"/>
                <a:gd name="T22" fmla="*/ 14 w 281"/>
                <a:gd name="T23" fmla="*/ 46 h 181"/>
                <a:gd name="T24" fmla="*/ 28 w 281"/>
                <a:gd name="T25" fmla="*/ 49 h 181"/>
                <a:gd name="T26" fmla="*/ 31 w 281"/>
                <a:gd name="T27" fmla="*/ 63 h 181"/>
                <a:gd name="T28" fmla="*/ 47 w 281"/>
                <a:gd name="T29" fmla="*/ 79 h 181"/>
                <a:gd name="T30" fmla="*/ 74 w 281"/>
                <a:gd name="T31" fmla="*/ 93 h 181"/>
                <a:gd name="T32" fmla="*/ 81 w 281"/>
                <a:gd name="T33" fmla="*/ 93 h 181"/>
                <a:gd name="T34" fmla="*/ 100 w 281"/>
                <a:gd name="T35" fmla="*/ 84 h 181"/>
                <a:gd name="T36" fmla="*/ 121 w 281"/>
                <a:gd name="T37" fmla="*/ 84 h 181"/>
                <a:gd name="T38" fmla="*/ 138 w 281"/>
                <a:gd name="T39" fmla="*/ 90 h 181"/>
                <a:gd name="T40" fmla="*/ 144 w 281"/>
                <a:gd name="T41" fmla="*/ 97 h 181"/>
                <a:gd name="T42" fmla="*/ 132 w 281"/>
                <a:gd name="T43" fmla="*/ 109 h 181"/>
                <a:gd name="T44" fmla="*/ 117 w 281"/>
                <a:gd name="T45" fmla="*/ 132 h 181"/>
                <a:gd name="T46" fmla="*/ 113 w 281"/>
                <a:gd name="T47" fmla="*/ 153 h 181"/>
                <a:gd name="T48" fmla="*/ 120 w 281"/>
                <a:gd name="T49" fmla="*/ 167 h 181"/>
                <a:gd name="T50" fmla="*/ 142 w 281"/>
                <a:gd name="T51" fmla="*/ 174 h 181"/>
                <a:gd name="T52" fmla="*/ 150 w 281"/>
                <a:gd name="T53" fmla="*/ 174 h 181"/>
                <a:gd name="T54" fmla="*/ 153 w 281"/>
                <a:gd name="T55" fmla="*/ 181 h 181"/>
                <a:gd name="T56" fmla="*/ 166 w 281"/>
                <a:gd name="T57" fmla="*/ 162 h 181"/>
                <a:gd name="T58" fmla="*/ 202 w 281"/>
                <a:gd name="T59" fmla="*/ 127 h 181"/>
                <a:gd name="T60" fmla="*/ 218 w 281"/>
                <a:gd name="T61" fmla="*/ 118 h 181"/>
                <a:gd name="T62" fmla="*/ 258 w 281"/>
                <a:gd name="T63" fmla="*/ 114 h 18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81"/>
                <a:gd name="T97" fmla="*/ 0 h 181"/>
                <a:gd name="T98" fmla="*/ 281 w 281"/>
                <a:gd name="T99" fmla="*/ 181 h 18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81" h="181">
                  <a:moveTo>
                    <a:pt x="258" y="114"/>
                  </a:moveTo>
                  <a:lnTo>
                    <a:pt x="273" y="106"/>
                  </a:lnTo>
                  <a:lnTo>
                    <a:pt x="281" y="88"/>
                  </a:lnTo>
                  <a:lnTo>
                    <a:pt x="276" y="44"/>
                  </a:lnTo>
                  <a:lnTo>
                    <a:pt x="281" y="2"/>
                  </a:lnTo>
                  <a:lnTo>
                    <a:pt x="133" y="0"/>
                  </a:lnTo>
                  <a:lnTo>
                    <a:pt x="112" y="19"/>
                  </a:lnTo>
                  <a:lnTo>
                    <a:pt x="89" y="30"/>
                  </a:lnTo>
                  <a:lnTo>
                    <a:pt x="56" y="28"/>
                  </a:lnTo>
                  <a:lnTo>
                    <a:pt x="20" y="32"/>
                  </a:lnTo>
                  <a:lnTo>
                    <a:pt x="0" y="39"/>
                  </a:lnTo>
                  <a:lnTo>
                    <a:pt x="14" y="46"/>
                  </a:lnTo>
                  <a:lnTo>
                    <a:pt x="28" y="49"/>
                  </a:lnTo>
                  <a:lnTo>
                    <a:pt x="31" y="63"/>
                  </a:lnTo>
                  <a:lnTo>
                    <a:pt x="47" y="79"/>
                  </a:lnTo>
                  <a:lnTo>
                    <a:pt x="74" y="93"/>
                  </a:lnTo>
                  <a:lnTo>
                    <a:pt x="81" y="93"/>
                  </a:lnTo>
                  <a:lnTo>
                    <a:pt x="100" y="84"/>
                  </a:lnTo>
                  <a:lnTo>
                    <a:pt x="121" y="84"/>
                  </a:lnTo>
                  <a:lnTo>
                    <a:pt x="138" y="90"/>
                  </a:lnTo>
                  <a:lnTo>
                    <a:pt x="144" y="97"/>
                  </a:lnTo>
                  <a:lnTo>
                    <a:pt x="132" y="109"/>
                  </a:lnTo>
                  <a:lnTo>
                    <a:pt x="117" y="132"/>
                  </a:lnTo>
                  <a:lnTo>
                    <a:pt x="113" y="153"/>
                  </a:lnTo>
                  <a:lnTo>
                    <a:pt x="120" y="167"/>
                  </a:lnTo>
                  <a:lnTo>
                    <a:pt x="142" y="174"/>
                  </a:lnTo>
                  <a:lnTo>
                    <a:pt x="150" y="174"/>
                  </a:lnTo>
                  <a:lnTo>
                    <a:pt x="153" y="181"/>
                  </a:lnTo>
                  <a:lnTo>
                    <a:pt x="166" y="162"/>
                  </a:lnTo>
                  <a:lnTo>
                    <a:pt x="202" y="127"/>
                  </a:lnTo>
                  <a:lnTo>
                    <a:pt x="218" y="118"/>
                  </a:lnTo>
                  <a:lnTo>
                    <a:pt x="258" y="114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86" name="Freeform 123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2475" y="2558"/>
              <a:ext cx="111" cy="95"/>
            </a:xfrm>
            <a:custGeom>
              <a:avLst/>
              <a:gdLst>
                <a:gd name="T0" fmla="*/ 130 w 744"/>
                <a:gd name="T1" fmla="*/ 0 h 648"/>
                <a:gd name="T2" fmla="*/ 130 w 744"/>
                <a:gd name="T3" fmla="*/ 86 h 648"/>
                <a:gd name="T4" fmla="*/ 107 w 744"/>
                <a:gd name="T5" fmla="*/ 112 h 648"/>
                <a:gd name="T6" fmla="*/ 51 w 744"/>
                <a:gd name="T7" fmla="*/ 125 h 648"/>
                <a:gd name="T8" fmla="*/ 2 w 744"/>
                <a:gd name="T9" fmla="*/ 179 h 648"/>
                <a:gd name="T10" fmla="*/ 0 w 744"/>
                <a:gd name="T11" fmla="*/ 201 h 648"/>
                <a:gd name="T12" fmla="*/ 19 w 744"/>
                <a:gd name="T13" fmla="*/ 215 h 648"/>
                <a:gd name="T14" fmla="*/ 47 w 744"/>
                <a:gd name="T15" fmla="*/ 232 h 648"/>
                <a:gd name="T16" fmla="*/ 55 w 744"/>
                <a:gd name="T17" fmla="*/ 269 h 648"/>
                <a:gd name="T18" fmla="*/ 133 w 744"/>
                <a:gd name="T19" fmla="*/ 319 h 648"/>
                <a:gd name="T20" fmla="*/ 171 w 744"/>
                <a:gd name="T21" fmla="*/ 395 h 648"/>
                <a:gd name="T22" fmla="*/ 183 w 744"/>
                <a:gd name="T23" fmla="*/ 444 h 648"/>
                <a:gd name="T24" fmla="*/ 269 w 744"/>
                <a:gd name="T25" fmla="*/ 324 h 648"/>
                <a:gd name="T26" fmla="*/ 346 w 744"/>
                <a:gd name="T27" fmla="*/ 319 h 648"/>
                <a:gd name="T28" fmla="*/ 385 w 744"/>
                <a:gd name="T29" fmla="*/ 333 h 648"/>
                <a:gd name="T30" fmla="*/ 426 w 744"/>
                <a:gd name="T31" fmla="*/ 388 h 648"/>
                <a:gd name="T32" fmla="*/ 444 w 744"/>
                <a:gd name="T33" fmla="*/ 501 h 648"/>
                <a:gd name="T34" fmla="*/ 464 w 744"/>
                <a:gd name="T35" fmla="*/ 516 h 648"/>
                <a:gd name="T36" fmla="*/ 492 w 744"/>
                <a:gd name="T37" fmla="*/ 495 h 648"/>
                <a:gd name="T38" fmla="*/ 530 w 744"/>
                <a:gd name="T39" fmla="*/ 499 h 648"/>
                <a:gd name="T40" fmla="*/ 548 w 744"/>
                <a:gd name="T41" fmla="*/ 562 h 648"/>
                <a:gd name="T42" fmla="*/ 546 w 744"/>
                <a:gd name="T43" fmla="*/ 613 h 648"/>
                <a:gd name="T44" fmla="*/ 575 w 744"/>
                <a:gd name="T45" fmla="*/ 646 h 648"/>
                <a:gd name="T46" fmla="*/ 623 w 744"/>
                <a:gd name="T47" fmla="*/ 599 h 648"/>
                <a:gd name="T48" fmla="*/ 644 w 744"/>
                <a:gd name="T49" fmla="*/ 600 h 648"/>
                <a:gd name="T50" fmla="*/ 662 w 744"/>
                <a:gd name="T51" fmla="*/ 606 h 648"/>
                <a:gd name="T52" fmla="*/ 696 w 744"/>
                <a:gd name="T53" fmla="*/ 557 h 648"/>
                <a:gd name="T54" fmla="*/ 675 w 744"/>
                <a:gd name="T55" fmla="*/ 516 h 648"/>
                <a:gd name="T56" fmla="*/ 684 w 744"/>
                <a:gd name="T57" fmla="*/ 501 h 648"/>
                <a:gd name="T58" fmla="*/ 721 w 744"/>
                <a:gd name="T59" fmla="*/ 509 h 648"/>
                <a:gd name="T60" fmla="*/ 744 w 744"/>
                <a:gd name="T61" fmla="*/ 502 h 648"/>
                <a:gd name="T62" fmla="*/ 712 w 744"/>
                <a:gd name="T63" fmla="*/ 462 h 648"/>
                <a:gd name="T64" fmla="*/ 714 w 744"/>
                <a:gd name="T65" fmla="*/ 423 h 648"/>
                <a:gd name="T66" fmla="*/ 709 w 744"/>
                <a:gd name="T67" fmla="*/ 391 h 648"/>
                <a:gd name="T68" fmla="*/ 669 w 744"/>
                <a:gd name="T69" fmla="*/ 349 h 648"/>
                <a:gd name="T70" fmla="*/ 697 w 744"/>
                <a:gd name="T71" fmla="*/ 294 h 648"/>
                <a:gd name="T72" fmla="*/ 665 w 744"/>
                <a:gd name="T73" fmla="*/ 187 h 648"/>
                <a:gd name="T74" fmla="*/ 630 w 744"/>
                <a:gd name="T75" fmla="*/ 123 h 648"/>
                <a:gd name="T76" fmla="*/ 606 w 744"/>
                <a:gd name="T77" fmla="*/ 54 h 648"/>
                <a:gd name="T78" fmla="*/ 594 w 744"/>
                <a:gd name="T79" fmla="*/ 21 h 648"/>
                <a:gd name="T80" fmla="*/ 549 w 744"/>
                <a:gd name="T81" fmla="*/ 42 h 648"/>
                <a:gd name="T82" fmla="*/ 517 w 744"/>
                <a:gd name="T83" fmla="*/ 72 h 648"/>
                <a:gd name="T84" fmla="*/ 460 w 744"/>
                <a:gd name="T85" fmla="*/ 54 h 648"/>
                <a:gd name="T86" fmla="*/ 428 w 744"/>
                <a:gd name="T87" fmla="*/ 90 h 648"/>
                <a:gd name="T88" fmla="*/ 358 w 744"/>
                <a:gd name="T89" fmla="*/ 28 h 648"/>
                <a:gd name="T90" fmla="*/ 275 w 744"/>
                <a:gd name="T91" fmla="*/ 33 h 648"/>
                <a:gd name="T92" fmla="*/ 186 w 744"/>
                <a:gd name="T93" fmla="*/ 0 h 64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648"/>
                <a:gd name="T143" fmla="*/ 744 w 744"/>
                <a:gd name="T144" fmla="*/ 648 h 64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648">
                  <a:moveTo>
                    <a:pt x="186" y="0"/>
                  </a:moveTo>
                  <a:lnTo>
                    <a:pt x="130" y="0"/>
                  </a:lnTo>
                  <a:lnTo>
                    <a:pt x="125" y="42"/>
                  </a:lnTo>
                  <a:lnTo>
                    <a:pt x="130" y="86"/>
                  </a:lnTo>
                  <a:lnTo>
                    <a:pt x="122" y="104"/>
                  </a:lnTo>
                  <a:lnTo>
                    <a:pt x="107" y="112"/>
                  </a:lnTo>
                  <a:lnTo>
                    <a:pt x="67" y="116"/>
                  </a:lnTo>
                  <a:lnTo>
                    <a:pt x="51" y="125"/>
                  </a:lnTo>
                  <a:lnTo>
                    <a:pt x="15" y="160"/>
                  </a:lnTo>
                  <a:lnTo>
                    <a:pt x="2" y="179"/>
                  </a:lnTo>
                  <a:lnTo>
                    <a:pt x="3" y="185"/>
                  </a:lnTo>
                  <a:lnTo>
                    <a:pt x="0" y="201"/>
                  </a:lnTo>
                  <a:lnTo>
                    <a:pt x="6" y="209"/>
                  </a:lnTo>
                  <a:lnTo>
                    <a:pt x="19" y="215"/>
                  </a:lnTo>
                  <a:lnTo>
                    <a:pt x="43" y="217"/>
                  </a:lnTo>
                  <a:lnTo>
                    <a:pt x="47" y="232"/>
                  </a:lnTo>
                  <a:lnTo>
                    <a:pt x="42" y="254"/>
                  </a:lnTo>
                  <a:lnTo>
                    <a:pt x="55" y="269"/>
                  </a:lnTo>
                  <a:lnTo>
                    <a:pt x="96" y="299"/>
                  </a:lnTo>
                  <a:lnTo>
                    <a:pt x="133" y="319"/>
                  </a:lnTo>
                  <a:lnTo>
                    <a:pt x="137" y="354"/>
                  </a:lnTo>
                  <a:lnTo>
                    <a:pt x="171" y="395"/>
                  </a:lnTo>
                  <a:lnTo>
                    <a:pt x="184" y="423"/>
                  </a:lnTo>
                  <a:lnTo>
                    <a:pt x="183" y="444"/>
                  </a:lnTo>
                  <a:lnTo>
                    <a:pt x="259" y="333"/>
                  </a:lnTo>
                  <a:lnTo>
                    <a:pt x="269" y="324"/>
                  </a:lnTo>
                  <a:lnTo>
                    <a:pt x="296" y="328"/>
                  </a:lnTo>
                  <a:lnTo>
                    <a:pt x="346" y="319"/>
                  </a:lnTo>
                  <a:lnTo>
                    <a:pt x="366" y="321"/>
                  </a:lnTo>
                  <a:lnTo>
                    <a:pt x="385" y="333"/>
                  </a:lnTo>
                  <a:lnTo>
                    <a:pt x="406" y="356"/>
                  </a:lnTo>
                  <a:lnTo>
                    <a:pt x="426" y="388"/>
                  </a:lnTo>
                  <a:lnTo>
                    <a:pt x="436" y="428"/>
                  </a:lnTo>
                  <a:lnTo>
                    <a:pt x="444" y="501"/>
                  </a:lnTo>
                  <a:lnTo>
                    <a:pt x="456" y="536"/>
                  </a:lnTo>
                  <a:lnTo>
                    <a:pt x="464" y="516"/>
                  </a:lnTo>
                  <a:lnTo>
                    <a:pt x="475" y="502"/>
                  </a:lnTo>
                  <a:lnTo>
                    <a:pt x="492" y="495"/>
                  </a:lnTo>
                  <a:lnTo>
                    <a:pt x="516" y="493"/>
                  </a:lnTo>
                  <a:lnTo>
                    <a:pt x="530" y="499"/>
                  </a:lnTo>
                  <a:lnTo>
                    <a:pt x="537" y="518"/>
                  </a:lnTo>
                  <a:lnTo>
                    <a:pt x="548" y="562"/>
                  </a:lnTo>
                  <a:lnTo>
                    <a:pt x="548" y="597"/>
                  </a:lnTo>
                  <a:lnTo>
                    <a:pt x="546" y="613"/>
                  </a:lnTo>
                  <a:lnTo>
                    <a:pt x="558" y="629"/>
                  </a:lnTo>
                  <a:lnTo>
                    <a:pt x="575" y="646"/>
                  </a:lnTo>
                  <a:lnTo>
                    <a:pt x="589" y="648"/>
                  </a:lnTo>
                  <a:lnTo>
                    <a:pt x="623" y="599"/>
                  </a:lnTo>
                  <a:lnTo>
                    <a:pt x="630" y="595"/>
                  </a:lnTo>
                  <a:lnTo>
                    <a:pt x="644" y="600"/>
                  </a:lnTo>
                  <a:lnTo>
                    <a:pt x="659" y="611"/>
                  </a:lnTo>
                  <a:lnTo>
                    <a:pt x="662" y="606"/>
                  </a:lnTo>
                  <a:lnTo>
                    <a:pt x="689" y="576"/>
                  </a:lnTo>
                  <a:lnTo>
                    <a:pt x="696" y="557"/>
                  </a:lnTo>
                  <a:lnTo>
                    <a:pt x="689" y="546"/>
                  </a:lnTo>
                  <a:lnTo>
                    <a:pt x="675" y="516"/>
                  </a:lnTo>
                  <a:lnTo>
                    <a:pt x="677" y="511"/>
                  </a:lnTo>
                  <a:lnTo>
                    <a:pt x="684" y="501"/>
                  </a:lnTo>
                  <a:lnTo>
                    <a:pt x="697" y="499"/>
                  </a:lnTo>
                  <a:lnTo>
                    <a:pt x="721" y="509"/>
                  </a:lnTo>
                  <a:lnTo>
                    <a:pt x="734" y="511"/>
                  </a:lnTo>
                  <a:lnTo>
                    <a:pt x="744" y="502"/>
                  </a:lnTo>
                  <a:lnTo>
                    <a:pt x="741" y="492"/>
                  </a:lnTo>
                  <a:lnTo>
                    <a:pt x="712" y="462"/>
                  </a:lnTo>
                  <a:lnTo>
                    <a:pt x="699" y="442"/>
                  </a:lnTo>
                  <a:lnTo>
                    <a:pt x="714" y="423"/>
                  </a:lnTo>
                  <a:lnTo>
                    <a:pt x="718" y="409"/>
                  </a:lnTo>
                  <a:lnTo>
                    <a:pt x="709" y="391"/>
                  </a:lnTo>
                  <a:lnTo>
                    <a:pt x="680" y="370"/>
                  </a:lnTo>
                  <a:lnTo>
                    <a:pt x="669" y="349"/>
                  </a:lnTo>
                  <a:lnTo>
                    <a:pt x="681" y="315"/>
                  </a:lnTo>
                  <a:lnTo>
                    <a:pt x="697" y="294"/>
                  </a:lnTo>
                  <a:lnTo>
                    <a:pt x="673" y="247"/>
                  </a:lnTo>
                  <a:lnTo>
                    <a:pt x="665" y="187"/>
                  </a:lnTo>
                  <a:lnTo>
                    <a:pt x="650" y="148"/>
                  </a:lnTo>
                  <a:lnTo>
                    <a:pt x="630" y="123"/>
                  </a:lnTo>
                  <a:lnTo>
                    <a:pt x="618" y="98"/>
                  </a:lnTo>
                  <a:lnTo>
                    <a:pt x="606" y="54"/>
                  </a:lnTo>
                  <a:lnTo>
                    <a:pt x="604" y="37"/>
                  </a:lnTo>
                  <a:lnTo>
                    <a:pt x="594" y="21"/>
                  </a:lnTo>
                  <a:lnTo>
                    <a:pt x="579" y="19"/>
                  </a:lnTo>
                  <a:lnTo>
                    <a:pt x="549" y="42"/>
                  </a:lnTo>
                  <a:lnTo>
                    <a:pt x="536" y="60"/>
                  </a:lnTo>
                  <a:lnTo>
                    <a:pt x="517" y="72"/>
                  </a:lnTo>
                  <a:lnTo>
                    <a:pt x="476" y="56"/>
                  </a:lnTo>
                  <a:lnTo>
                    <a:pt x="460" y="54"/>
                  </a:lnTo>
                  <a:lnTo>
                    <a:pt x="439" y="75"/>
                  </a:lnTo>
                  <a:lnTo>
                    <a:pt x="428" y="90"/>
                  </a:lnTo>
                  <a:lnTo>
                    <a:pt x="406" y="75"/>
                  </a:lnTo>
                  <a:lnTo>
                    <a:pt x="358" y="28"/>
                  </a:lnTo>
                  <a:lnTo>
                    <a:pt x="347" y="24"/>
                  </a:lnTo>
                  <a:lnTo>
                    <a:pt x="275" y="33"/>
                  </a:lnTo>
                  <a:lnTo>
                    <a:pt x="243" y="28"/>
                  </a:lnTo>
                  <a:lnTo>
                    <a:pt x="186" y="0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87" name="Freeform 124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3300" y="2569"/>
              <a:ext cx="150" cy="241"/>
            </a:xfrm>
            <a:custGeom>
              <a:avLst/>
              <a:gdLst>
                <a:gd name="T0" fmla="*/ 644 w 1003"/>
                <a:gd name="T1" fmla="*/ 95 h 1621"/>
                <a:gd name="T2" fmla="*/ 615 w 1003"/>
                <a:gd name="T3" fmla="*/ 100 h 1621"/>
                <a:gd name="T4" fmla="*/ 530 w 1003"/>
                <a:gd name="T5" fmla="*/ 152 h 1621"/>
                <a:gd name="T6" fmla="*/ 480 w 1003"/>
                <a:gd name="T7" fmla="*/ 132 h 1621"/>
                <a:gd name="T8" fmla="*/ 392 w 1003"/>
                <a:gd name="T9" fmla="*/ 176 h 1621"/>
                <a:gd name="T10" fmla="*/ 336 w 1003"/>
                <a:gd name="T11" fmla="*/ 180 h 1621"/>
                <a:gd name="T12" fmla="*/ 308 w 1003"/>
                <a:gd name="T13" fmla="*/ 173 h 1621"/>
                <a:gd name="T14" fmla="*/ 231 w 1003"/>
                <a:gd name="T15" fmla="*/ 58 h 1621"/>
                <a:gd name="T16" fmla="*/ 219 w 1003"/>
                <a:gd name="T17" fmla="*/ 70 h 1621"/>
                <a:gd name="T18" fmla="*/ 171 w 1003"/>
                <a:gd name="T19" fmla="*/ 168 h 1621"/>
                <a:gd name="T20" fmla="*/ 220 w 1003"/>
                <a:gd name="T21" fmla="*/ 273 h 1621"/>
                <a:gd name="T22" fmla="*/ 277 w 1003"/>
                <a:gd name="T23" fmla="*/ 344 h 1621"/>
                <a:gd name="T24" fmla="*/ 582 w 1003"/>
                <a:gd name="T25" fmla="*/ 473 h 1621"/>
                <a:gd name="T26" fmla="*/ 676 w 1003"/>
                <a:gd name="T27" fmla="*/ 480 h 1621"/>
                <a:gd name="T28" fmla="*/ 280 w 1003"/>
                <a:gd name="T29" fmla="*/ 837 h 1621"/>
                <a:gd name="T30" fmla="*/ 227 w 1003"/>
                <a:gd name="T31" fmla="*/ 853 h 1621"/>
                <a:gd name="T32" fmla="*/ 187 w 1003"/>
                <a:gd name="T33" fmla="*/ 890 h 1621"/>
                <a:gd name="T34" fmla="*/ 161 w 1003"/>
                <a:gd name="T35" fmla="*/ 918 h 1621"/>
                <a:gd name="T36" fmla="*/ 92 w 1003"/>
                <a:gd name="T37" fmla="*/ 929 h 1621"/>
                <a:gd name="T38" fmla="*/ 0 w 1003"/>
                <a:gd name="T39" fmla="*/ 1084 h 1621"/>
                <a:gd name="T40" fmla="*/ 59 w 1003"/>
                <a:gd name="T41" fmla="*/ 1621 h 1621"/>
                <a:gd name="T42" fmla="*/ 57 w 1003"/>
                <a:gd name="T43" fmla="*/ 1588 h 1621"/>
                <a:gd name="T44" fmla="*/ 347 w 1003"/>
                <a:gd name="T45" fmla="*/ 1231 h 1621"/>
                <a:gd name="T46" fmla="*/ 524 w 1003"/>
                <a:gd name="T47" fmla="*/ 1091 h 1621"/>
                <a:gd name="T48" fmla="*/ 778 w 1003"/>
                <a:gd name="T49" fmla="*/ 701 h 1621"/>
                <a:gd name="T50" fmla="*/ 864 w 1003"/>
                <a:gd name="T51" fmla="*/ 501 h 1621"/>
                <a:gd name="T52" fmla="*/ 864 w 1003"/>
                <a:gd name="T53" fmla="*/ 466 h 1621"/>
                <a:gd name="T54" fmla="*/ 957 w 1003"/>
                <a:gd name="T55" fmla="*/ 305 h 1621"/>
                <a:gd name="T56" fmla="*/ 967 w 1003"/>
                <a:gd name="T57" fmla="*/ 197 h 1621"/>
                <a:gd name="T58" fmla="*/ 991 w 1003"/>
                <a:gd name="T59" fmla="*/ 146 h 1621"/>
                <a:gd name="T60" fmla="*/ 986 w 1003"/>
                <a:gd name="T61" fmla="*/ 83 h 1621"/>
                <a:gd name="T62" fmla="*/ 998 w 1003"/>
                <a:gd name="T63" fmla="*/ 21 h 1621"/>
                <a:gd name="T64" fmla="*/ 977 w 1003"/>
                <a:gd name="T65" fmla="*/ 9 h 1621"/>
                <a:gd name="T66" fmla="*/ 889 w 1003"/>
                <a:gd name="T67" fmla="*/ 56 h 1621"/>
                <a:gd name="T68" fmla="*/ 814 w 1003"/>
                <a:gd name="T69" fmla="*/ 83 h 1621"/>
                <a:gd name="T70" fmla="*/ 750 w 1003"/>
                <a:gd name="T71" fmla="*/ 74 h 1621"/>
                <a:gd name="T72" fmla="*/ 684 w 1003"/>
                <a:gd name="T73" fmla="*/ 99 h 1621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003"/>
                <a:gd name="T112" fmla="*/ 0 h 1621"/>
                <a:gd name="T113" fmla="*/ 1003 w 1003"/>
                <a:gd name="T114" fmla="*/ 1621 h 1621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003" h="1621">
                  <a:moveTo>
                    <a:pt x="667" y="100"/>
                  </a:moveTo>
                  <a:lnTo>
                    <a:pt x="644" y="95"/>
                  </a:lnTo>
                  <a:lnTo>
                    <a:pt x="624" y="93"/>
                  </a:lnTo>
                  <a:lnTo>
                    <a:pt x="615" y="100"/>
                  </a:lnTo>
                  <a:lnTo>
                    <a:pt x="555" y="148"/>
                  </a:lnTo>
                  <a:lnTo>
                    <a:pt x="530" y="152"/>
                  </a:lnTo>
                  <a:lnTo>
                    <a:pt x="497" y="138"/>
                  </a:lnTo>
                  <a:lnTo>
                    <a:pt x="480" y="132"/>
                  </a:lnTo>
                  <a:lnTo>
                    <a:pt x="455" y="141"/>
                  </a:lnTo>
                  <a:lnTo>
                    <a:pt x="392" y="176"/>
                  </a:lnTo>
                  <a:lnTo>
                    <a:pt x="375" y="182"/>
                  </a:lnTo>
                  <a:lnTo>
                    <a:pt x="336" y="180"/>
                  </a:lnTo>
                  <a:lnTo>
                    <a:pt x="320" y="183"/>
                  </a:lnTo>
                  <a:lnTo>
                    <a:pt x="308" y="173"/>
                  </a:lnTo>
                  <a:lnTo>
                    <a:pt x="297" y="152"/>
                  </a:lnTo>
                  <a:lnTo>
                    <a:pt x="231" y="58"/>
                  </a:lnTo>
                  <a:lnTo>
                    <a:pt x="223" y="56"/>
                  </a:lnTo>
                  <a:lnTo>
                    <a:pt x="219" y="70"/>
                  </a:lnTo>
                  <a:lnTo>
                    <a:pt x="202" y="95"/>
                  </a:lnTo>
                  <a:lnTo>
                    <a:pt x="171" y="168"/>
                  </a:lnTo>
                  <a:lnTo>
                    <a:pt x="174" y="189"/>
                  </a:lnTo>
                  <a:lnTo>
                    <a:pt x="220" y="273"/>
                  </a:lnTo>
                  <a:lnTo>
                    <a:pt x="251" y="316"/>
                  </a:lnTo>
                  <a:lnTo>
                    <a:pt x="277" y="344"/>
                  </a:lnTo>
                  <a:lnTo>
                    <a:pt x="306" y="362"/>
                  </a:lnTo>
                  <a:lnTo>
                    <a:pt x="582" y="473"/>
                  </a:lnTo>
                  <a:lnTo>
                    <a:pt x="665" y="471"/>
                  </a:lnTo>
                  <a:lnTo>
                    <a:pt x="676" y="480"/>
                  </a:lnTo>
                  <a:lnTo>
                    <a:pt x="391" y="839"/>
                  </a:lnTo>
                  <a:lnTo>
                    <a:pt x="280" y="837"/>
                  </a:lnTo>
                  <a:lnTo>
                    <a:pt x="252" y="842"/>
                  </a:lnTo>
                  <a:lnTo>
                    <a:pt x="227" y="853"/>
                  </a:lnTo>
                  <a:lnTo>
                    <a:pt x="210" y="863"/>
                  </a:lnTo>
                  <a:lnTo>
                    <a:pt x="187" y="890"/>
                  </a:lnTo>
                  <a:lnTo>
                    <a:pt x="175" y="913"/>
                  </a:lnTo>
                  <a:lnTo>
                    <a:pt x="161" y="918"/>
                  </a:lnTo>
                  <a:lnTo>
                    <a:pt x="105" y="923"/>
                  </a:lnTo>
                  <a:lnTo>
                    <a:pt x="92" y="929"/>
                  </a:lnTo>
                  <a:lnTo>
                    <a:pt x="73" y="955"/>
                  </a:lnTo>
                  <a:lnTo>
                    <a:pt x="0" y="1084"/>
                  </a:lnTo>
                  <a:lnTo>
                    <a:pt x="3" y="1528"/>
                  </a:lnTo>
                  <a:lnTo>
                    <a:pt x="59" y="1621"/>
                  </a:lnTo>
                  <a:lnTo>
                    <a:pt x="61" y="1607"/>
                  </a:lnTo>
                  <a:lnTo>
                    <a:pt x="57" y="1588"/>
                  </a:lnTo>
                  <a:lnTo>
                    <a:pt x="264" y="1309"/>
                  </a:lnTo>
                  <a:lnTo>
                    <a:pt x="347" y="1231"/>
                  </a:lnTo>
                  <a:lnTo>
                    <a:pt x="444" y="1172"/>
                  </a:lnTo>
                  <a:lnTo>
                    <a:pt x="524" y="1091"/>
                  </a:lnTo>
                  <a:lnTo>
                    <a:pt x="730" y="795"/>
                  </a:lnTo>
                  <a:lnTo>
                    <a:pt x="778" y="701"/>
                  </a:lnTo>
                  <a:lnTo>
                    <a:pt x="787" y="652"/>
                  </a:lnTo>
                  <a:lnTo>
                    <a:pt x="864" y="501"/>
                  </a:lnTo>
                  <a:lnTo>
                    <a:pt x="859" y="483"/>
                  </a:lnTo>
                  <a:lnTo>
                    <a:pt x="864" y="466"/>
                  </a:lnTo>
                  <a:lnTo>
                    <a:pt x="902" y="423"/>
                  </a:lnTo>
                  <a:lnTo>
                    <a:pt x="957" y="305"/>
                  </a:lnTo>
                  <a:lnTo>
                    <a:pt x="965" y="277"/>
                  </a:lnTo>
                  <a:lnTo>
                    <a:pt x="967" y="197"/>
                  </a:lnTo>
                  <a:lnTo>
                    <a:pt x="984" y="171"/>
                  </a:lnTo>
                  <a:lnTo>
                    <a:pt x="991" y="146"/>
                  </a:lnTo>
                  <a:lnTo>
                    <a:pt x="986" y="113"/>
                  </a:lnTo>
                  <a:lnTo>
                    <a:pt x="986" y="83"/>
                  </a:lnTo>
                  <a:lnTo>
                    <a:pt x="1003" y="35"/>
                  </a:lnTo>
                  <a:lnTo>
                    <a:pt x="998" y="21"/>
                  </a:lnTo>
                  <a:lnTo>
                    <a:pt x="993" y="19"/>
                  </a:lnTo>
                  <a:lnTo>
                    <a:pt x="977" y="9"/>
                  </a:lnTo>
                  <a:lnTo>
                    <a:pt x="950" y="0"/>
                  </a:lnTo>
                  <a:lnTo>
                    <a:pt x="889" y="56"/>
                  </a:lnTo>
                  <a:lnTo>
                    <a:pt x="846" y="74"/>
                  </a:lnTo>
                  <a:lnTo>
                    <a:pt x="814" y="83"/>
                  </a:lnTo>
                  <a:lnTo>
                    <a:pt x="779" y="85"/>
                  </a:lnTo>
                  <a:lnTo>
                    <a:pt x="750" y="74"/>
                  </a:lnTo>
                  <a:lnTo>
                    <a:pt x="738" y="72"/>
                  </a:lnTo>
                  <a:lnTo>
                    <a:pt x="684" y="99"/>
                  </a:lnTo>
                  <a:lnTo>
                    <a:pt x="667" y="100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88" name="Freeform 125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3186" y="2698"/>
              <a:ext cx="124" cy="165"/>
            </a:xfrm>
            <a:custGeom>
              <a:avLst/>
              <a:gdLst>
                <a:gd name="T0" fmla="*/ 180 w 834"/>
                <a:gd name="T1" fmla="*/ 9 h 1103"/>
                <a:gd name="T2" fmla="*/ 115 w 834"/>
                <a:gd name="T3" fmla="*/ 5 h 1103"/>
                <a:gd name="T4" fmla="*/ 71 w 834"/>
                <a:gd name="T5" fmla="*/ 65 h 1103"/>
                <a:gd name="T6" fmla="*/ 85 w 834"/>
                <a:gd name="T7" fmla="*/ 90 h 1103"/>
                <a:gd name="T8" fmla="*/ 106 w 834"/>
                <a:gd name="T9" fmla="*/ 115 h 1103"/>
                <a:gd name="T10" fmla="*/ 111 w 834"/>
                <a:gd name="T11" fmla="*/ 127 h 1103"/>
                <a:gd name="T12" fmla="*/ 111 w 834"/>
                <a:gd name="T13" fmla="*/ 171 h 1103"/>
                <a:gd name="T14" fmla="*/ 120 w 834"/>
                <a:gd name="T15" fmla="*/ 196 h 1103"/>
                <a:gd name="T16" fmla="*/ 161 w 834"/>
                <a:gd name="T17" fmla="*/ 272 h 1103"/>
                <a:gd name="T18" fmla="*/ 172 w 834"/>
                <a:gd name="T19" fmla="*/ 303 h 1103"/>
                <a:gd name="T20" fmla="*/ 173 w 834"/>
                <a:gd name="T21" fmla="*/ 337 h 1103"/>
                <a:gd name="T22" fmla="*/ 168 w 834"/>
                <a:gd name="T23" fmla="*/ 368 h 1103"/>
                <a:gd name="T24" fmla="*/ 148 w 834"/>
                <a:gd name="T25" fmla="*/ 405 h 1103"/>
                <a:gd name="T26" fmla="*/ 55 w 834"/>
                <a:gd name="T27" fmla="*/ 525 h 1103"/>
                <a:gd name="T28" fmla="*/ 0 w 834"/>
                <a:gd name="T29" fmla="*/ 668 h 1103"/>
                <a:gd name="T30" fmla="*/ 63 w 834"/>
                <a:gd name="T31" fmla="*/ 666 h 1103"/>
                <a:gd name="T32" fmla="*/ 426 w 834"/>
                <a:gd name="T33" fmla="*/ 906 h 1103"/>
                <a:gd name="T34" fmla="*/ 433 w 834"/>
                <a:gd name="T35" fmla="*/ 925 h 1103"/>
                <a:gd name="T36" fmla="*/ 428 w 834"/>
                <a:gd name="T37" fmla="*/ 953 h 1103"/>
                <a:gd name="T38" fmla="*/ 430 w 834"/>
                <a:gd name="T39" fmla="*/ 966 h 1103"/>
                <a:gd name="T40" fmla="*/ 585 w 834"/>
                <a:gd name="T41" fmla="*/ 1103 h 1103"/>
                <a:gd name="T42" fmla="*/ 589 w 834"/>
                <a:gd name="T43" fmla="*/ 1094 h 1103"/>
                <a:gd name="T44" fmla="*/ 604 w 834"/>
                <a:gd name="T45" fmla="*/ 1089 h 1103"/>
                <a:gd name="T46" fmla="*/ 614 w 834"/>
                <a:gd name="T47" fmla="*/ 1076 h 1103"/>
                <a:gd name="T48" fmla="*/ 629 w 834"/>
                <a:gd name="T49" fmla="*/ 1040 h 1103"/>
                <a:gd name="T50" fmla="*/ 625 w 834"/>
                <a:gd name="T51" fmla="*/ 1012 h 1103"/>
                <a:gd name="T52" fmla="*/ 667 w 834"/>
                <a:gd name="T53" fmla="*/ 941 h 1103"/>
                <a:gd name="T54" fmla="*/ 684 w 834"/>
                <a:gd name="T55" fmla="*/ 908 h 1103"/>
                <a:gd name="T56" fmla="*/ 683 w 834"/>
                <a:gd name="T57" fmla="*/ 890 h 1103"/>
                <a:gd name="T58" fmla="*/ 687 w 834"/>
                <a:gd name="T59" fmla="*/ 864 h 1103"/>
                <a:gd name="T60" fmla="*/ 705 w 834"/>
                <a:gd name="T61" fmla="*/ 844 h 1103"/>
                <a:gd name="T62" fmla="*/ 735 w 834"/>
                <a:gd name="T63" fmla="*/ 839 h 1103"/>
                <a:gd name="T64" fmla="*/ 747 w 834"/>
                <a:gd name="T65" fmla="*/ 819 h 1103"/>
                <a:gd name="T66" fmla="*/ 751 w 834"/>
                <a:gd name="T67" fmla="*/ 779 h 1103"/>
                <a:gd name="T68" fmla="*/ 767 w 834"/>
                <a:gd name="T69" fmla="*/ 784 h 1103"/>
                <a:gd name="T70" fmla="*/ 792 w 834"/>
                <a:gd name="T71" fmla="*/ 775 h 1103"/>
                <a:gd name="T72" fmla="*/ 820 w 834"/>
                <a:gd name="T73" fmla="*/ 754 h 1103"/>
                <a:gd name="T74" fmla="*/ 764 w 834"/>
                <a:gd name="T75" fmla="*/ 661 h 1103"/>
                <a:gd name="T76" fmla="*/ 761 w 834"/>
                <a:gd name="T77" fmla="*/ 217 h 1103"/>
                <a:gd name="T78" fmla="*/ 834 w 834"/>
                <a:gd name="T79" fmla="*/ 88 h 1103"/>
                <a:gd name="T80" fmla="*/ 785 w 834"/>
                <a:gd name="T81" fmla="*/ 83 h 1103"/>
                <a:gd name="T82" fmla="*/ 764 w 834"/>
                <a:gd name="T83" fmla="*/ 72 h 1103"/>
                <a:gd name="T84" fmla="*/ 745 w 834"/>
                <a:gd name="T85" fmla="*/ 55 h 1103"/>
                <a:gd name="T86" fmla="*/ 733 w 834"/>
                <a:gd name="T87" fmla="*/ 49 h 1103"/>
                <a:gd name="T88" fmla="*/ 665 w 834"/>
                <a:gd name="T89" fmla="*/ 86 h 1103"/>
                <a:gd name="T90" fmla="*/ 654 w 834"/>
                <a:gd name="T91" fmla="*/ 97 h 1103"/>
                <a:gd name="T92" fmla="*/ 622 w 834"/>
                <a:gd name="T93" fmla="*/ 138 h 1103"/>
                <a:gd name="T94" fmla="*/ 616 w 834"/>
                <a:gd name="T95" fmla="*/ 143 h 1103"/>
                <a:gd name="T96" fmla="*/ 577 w 834"/>
                <a:gd name="T97" fmla="*/ 138 h 1103"/>
                <a:gd name="T98" fmla="*/ 549 w 834"/>
                <a:gd name="T99" fmla="*/ 129 h 1103"/>
                <a:gd name="T100" fmla="*/ 488 w 834"/>
                <a:gd name="T101" fmla="*/ 122 h 1103"/>
                <a:gd name="T102" fmla="*/ 474 w 834"/>
                <a:gd name="T103" fmla="*/ 118 h 1103"/>
                <a:gd name="T104" fmla="*/ 369 w 834"/>
                <a:gd name="T105" fmla="*/ 39 h 1103"/>
                <a:gd name="T106" fmla="*/ 343 w 834"/>
                <a:gd name="T107" fmla="*/ 23 h 1103"/>
                <a:gd name="T108" fmla="*/ 308 w 834"/>
                <a:gd name="T109" fmla="*/ 12 h 1103"/>
                <a:gd name="T110" fmla="*/ 263 w 834"/>
                <a:gd name="T111" fmla="*/ 5 h 1103"/>
                <a:gd name="T112" fmla="*/ 250 w 834"/>
                <a:gd name="T113" fmla="*/ 2 h 1103"/>
                <a:gd name="T114" fmla="*/ 245 w 834"/>
                <a:gd name="T115" fmla="*/ 0 h 1103"/>
                <a:gd name="T116" fmla="*/ 180 w 834"/>
                <a:gd name="T117" fmla="*/ 9 h 110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834"/>
                <a:gd name="T178" fmla="*/ 0 h 1103"/>
                <a:gd name="T179" fmla="*/ 834 w 834"/>
                <a:gd name="T180" fmla="*/ 1103 h 1103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834" h="1103">
                  <a:moveTo>
                    <a:pt x="180" y="9"/>
                  </a:moveTo>
                  <a:lnTo>
                    <a:pt x="115" y="5"/>
                  </a:lnTo>
                  <a:lnTo>
                    <a:pt x="71" y="65"/>
                  </a:lnTo>
                  <a:lnTo>
                    <a:pt x="85" y="90"/>
                  </a:lnTo>
                  <a:lnTo>
                    <a:pt x="106" y="115"/>
                  </a:lnTo>
                  <a:lnTo>
                    <a:pt x="111" y="127"/>
                  </a:lnTo>
                  <a:lnTo>
                    <a:pt x="111" y="171"/>
                  </a:lnTo>
                  <a:lnTo>
                    <a:pt x="120" y="196"/>
                  </a:lnTo>
                  <a:lnTo>
                    <a:pt x="161" y="272"/>
                  </a:lnTo>
                  <a:lnTo>
                    <a:pt x="172" y="303"/>
                  </a:lnTo>
                  <a:lnTo>
                    <a:pt x="173" y="337"/>
                  </a:lnTo>
                  <a:lnTo>
                    <a:pt x="168" y="368"/>
                  </a:lnTo>
                  <a:lnTo>
                    <a:pt x="148" y="405"/>
                  </a:lnTo>
                  <a:lnTo>
                    <a:pt x="55" y="525"/>
                  </a:lnTo>
                  <a:lnTo>
                    <a:pt x="0" y="668"/>
                  </a:lnTo>
                  <a:lnTo>
                    <a:pt x="63" y="666"/>
                  </a:lnTo>
                  <a:lnTo>
                    <a:pt x="426" y="906"/>
                  </a:lnTo>
                  <a:lnTo>
                    <a:pt x="433" y="925"/>
                  </a:lnTo>
                  <a:lnTo>
                    <a:pt x="428" y="953"/>
                  </a:lnTo>
                  <a:lnTo>
                    <a:pt x="430" y="966"/>
                  </a:lnTo>
                  <a:lnTo>
                    <a:pt x="585" y="1103"/>
                  </a:lnTo>
                  <a:lnTo>
                    <a:pt x="589" y="1094"/>
                  </a:lnTo>
                  <a:lnTo>
                    <a:pt x="604" y="1089"/>
                  </a:lnTo>
                  <a:lnTo>
                    <a:pt x="614" y="1076"/>
                  </a:lnTo>
                  <a:lnTo>
                    <a:pt x="629" y="1040"/>
                  </a:lnTo>
                  <a:lnTo>
                    <a:pt x="625" y="1012"/>
                  </a:lnTo>
                  <a:lnTo>
                    <a:pt x="667" y="941"/>
                  </a:lnTo>
                  <a:lnTo>
                    <a:pt x="684" y="908"/>
                  </a:lnTo>
                  <a:lnTo>
                    <a:pt x="683" y="890"/>
                  </a:lnTo>
                  <a:lnTo>
                    <a:pt x="687" y="864"/>
                  </a:lnTo>
                  <a:lnTo>
                    <a:pt x="705" y="844"/>
                  </a:lnTo>
                  <a:lnTo>
                    <a:pt x="735" y="839"/>
                  </a:lnTo>
                  <a:lnTo>
                    <a:pt x="747" y="819"/>
                  </a:lnTo>
                  <a:lnTo>
                    <a:pt x="751" y="779"/>
                  </a:lnTo>
                  <a:lnTo>
                    <a:pt x="767" y="784"/>
                  </a:lnTo>
                  <a:lnTo>
                    <a:pt x="792" y="775"/>
                  </a:lnTo>
                  <a:lnTo>
                    <a:pt x="820" y="754"/>
                  </a:lnTo>
                  <a:lnTo>
                    <a:pt x="764" y="661"/>
                  </a:lnTo>
                  <a:lnTo>
                    <a:pt x="761" y="217"/>
                  </a:lnTo>
                  <a:lnTo>
                    <a:pt x="834" y="88"/>
                  </a:lnTo>
                  <a:lnTo>
                    <a:pt x="785" y="83"/>
                  </a:lnTo>
                  <a:lnTo>
                    <a:pt x="764" y="72"/>
                  </a:lnTo>
                  <a:lnTo>
                    <a:pt x="745" y="55"/>
                  </a:lnTo>
                  <a:lnTo>
                    <a:pt x="733" y="49"/>
                  </a:lnTo>
                  <a:lnTo>
                    <a:pt x="665" y="86"/>
                  </a:lnTo>
                  <a:lnTo>
                    <a:pt x="654" y="97"/>
                  </a:lnTo>
                  <a:lnTo>
                    <a:pt x="622" y="138"/>
                  </a:lnTo>
                  <a:lnTo>
                    <a:pt x="616" y="143"/>
                  </a:lnTo>
                  <a:lnTo>
                    <a:pt x="577" y="138"/>
                  </a:lnTo>
                  <a:lnTo>
                    <a:pt x="549" y="129"/>
                  </a:lnTo>
                  <a:lnTo>
                    <a:pt x="488" y="122"/>
                  </a:lnTo>
                  <a:lnTo>
                    <a:pt x="474" y="118"/>
                  </a:lnTo>
                  <a:lnTo>
                    <a:pt x="369" y="39"/>
                  </a:lnTo>
                  <a:lnTo>
                    <a:pt x="343" y="23"/>
                  </a:lnTo>
                  <a:lnTo>
                    <a:pt x="308" y="12"/>
                  </a:lnTo>
                  <a:lnTo>
                    <a:pt x="263" y="5"/>
                  </a:lnTo>
                  <a:lnTo>
                    <a:pt x="250" y="2"/>
                  </a:lnTo>
                  <a:lnTo>
                    <a:pt x="245" y="0"/>
                  </a:lnTo>
                  <a:lnTo>
                    <a:pt x="180" y="9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89" name="Freeform 126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3131" y="2709"/>
              <a:ext cx="81" cy="95"/>
            </a:xfrm>
            <a:custGeom>
              <a:avLst/>
              <a:gdLst>
                <a:gd name="T0" fmla="*/ 139 w 539"/>
                <a:gd name="T1" fmla="*/ 48 h 652"/>
                <a:gd name="T2" fmla="*/ 117 w 539"/>
                <a:gd name="T3" fmla="*/ 60 h 652"/>
                <a:gd name="T4" fmla="*/ 119 w 539"/>
                <a:gd name="T5" fmla="*/ 62 h 652"/>
                <a:gd name="T6" fmla="*/ 127 w 539"/>
                <a:gd name="T7" fmla="*/ 71 h 652"/>
                <a:gd name="T8" fmla="*/ 127 w 539"/>
                <a:gd name="T9" fmla="*/ 94 h 652"/>
                <a:gd name="T10" fmla="*/ 115 w 539"/>
                <a:gd name="T11" fmla="*/ 193 h 652"/>
                <a:gd name="T12" fmla="*/ 122 w 539"/>
                <a:gd name="T13" fmla="*/ 207 h 652"/>
                <a:gd name="T14" fmla="*/ 129 w 539"/>
                <a:gd name="T15" fmla="*/ 207 h 652"/>
                <a:gd name="T16" fmla="*/ 151 w 539"/>
                <a:gd name="T17" fmla="*/ 210 h 652"/>
                <a:gd name="T18" fmla="*/ 163 w 539"/>
                <a:gd name="T19" fmla="*/ 219 h 652"/>
                <a:gd name="T20" fmla="*/ 167 w 539"/>
                <a:gd name="T21" fmla="*/ 235 h 652"/>
                <a:gd name="T22" fmla="*/ 159 w 539"/>
                <a:gd name="T23" fmla="*/ 260 h 652"/>
                <a:gd name="T24" fmla="*/ 52 w 539"/>
                <a:gd name="T25" fmla="*/ 368 h 652"/>
                <a:gd name="T26" fmla="*/ 40 w 539"/>
                <a:gd name="T27" fmla="*/ 384 h 652"/>
                <a:gd name="T28" fmla="*/ 21 w 539"/>
                <a:gd name="T29" fmla="*/ 419 h 652"/>
                <a:gd name="T30" fmla="*/ 8 w 539"/>
                <a:gd name="T31" fmla="*/ 499 h 652"/>
                <a:gd name="T32" fmla="*/ 11 w 539"/>
                <a:gd name="T33" fmla="*/ 608 h 652"/>
                <a:gd name="T34" fmla="*/ 7 w 539"/>
                <a:gd name="T35" fmla="*/ 622 h 652"/>
                <a:gd name="T36" fmla="*/ 0 w 539"/>
                <a:gd name="T37" fmla="*/ 638 h 652"/>
                <a:gd name="T38" fmla="*/ 1 w 539"/>
                <a:gd name="T39" fmla="*/ 640 h 652"/>
                <a:gd name="T40" fmla="*/ 27 w 539"/>
                <a:gd name="T41" fmla="*/ 652 h 652"/>
                <a:gd name="T42" fmla="*/ 45 w 539"/>
                <a:gd name="T43" fmla="*/ 649 h 652"/>
                <a:gd name="T44" fmla="*/ 65 w 539"/>
                <a:gd name="T45" fmla="*/ 627 h 652"/>
                <a:gd name="T46" fmla="*/ 90 w 539"/>
                <a:gd name="T47" fmla="*/ 606 h 652"/>
                <a:gd name="T48" fmla="*/ 103 w 539"/>
                <a:gd name="T49" fmla="*/ 605 h 652"/>
                <a:gd name="T50" fmla="*/ 366 w 539"/>
                <a:gd name="T51" fmla="*/ 603 h 652"/>
                <a:gd name="T52" fmla="*/ 421 w 539"/>
                <a:gd name="T53" fmla="*/ 460 h 652"/>
                <a:gd name="T54" fmla="*/ 514 w 539"/>
                <a:gd name="T55" fmla="*/ 340 h 652"/>
                <a:gd name="T56" fmla="*/ 534 w 539"/>
                <a:gd name="T57" fmla="*/ 303 h 652"/>
                <a:gd name="T58" fmla="*/ 539 w 539"/>
                <a:gd name="T59" fmla="*/ 272 h 652"/>
                <a:gd name="T60" fmla="*/ 538 w 539"/>
                <a:gd name="T61" fmla="*/ 238 h 652"/>
                <a:gd name="T62" fmla="*/ 527 w 539"/>
                <a:gd name="T63" fmla="*/ 207 h 652"/>
                <a:gd name="T64" fmla="*/ 486 w 539"/>
                <a:gd name="T65" fmla="*/ 131 h 652"/>
                <a:gd name="T66" fmla="*/ 477 w 539"/>
                <a:gd name="T67" fmla="*/ 106 h 652"/>
                <a:gd name="T68" fmla="*/ 477 w 539"/>
                <a:gd name="T69" fmla="*/ 62 h 652"/>
                <a:gd name="T70" fmla="*/ 472 w 539"/>
                <a:gd name="T71" fmla="*/ 50 h 652"/>
                <a:gd name="T72" fmla="*/ 451 w 539"/>
                <a:gd name="T73" fmla="*/ 25 h 652"/>
                <a:gd name="T74" fmla="*/ 437 w 539"/>
                <a:gd name="T75" fmla="*/ 0 h 652"/>
                <a:gd name="T76" fmla="*/ 412 w 539"/>
                <a:gd name="T77" fmla="*/ 28 h 652"/>
                <a:gd name="T78" fmla="*/ 384 w 539"/>
                <a:gd name="T79" fmla="*/ 44 h 652"/>
                <a:gd name="T80" fmla="*/ 367 w 539"/>
                <a:gd name="T81" fmla="*/ 46 h 652"/>
                <a:gd name="T82" fmla="*/ 354 w 539"/>
                <a:gd name="T83" fmla="*/ 36 h 652"/>
                <a:gd name="T84" fmla="*/ 341 w 539"/>
                <a:gd name="T85" fmla="*/ 30 h 652"/>
                <a:gd name="T86" fmla="*/ 302 w 539"/>
                <a:gd name="T87" fmla="*/ 37 h 652"/>
                <a:gd name="T88" fmla="*/ 264 w 539"/>
                <a:gd name="T89" fmla="*/ 55 h 652"/>
                <a:gd name="T90" fmla="*/ 224 w 539"/>
                <a:gd name="T91" fmla="*/ 57 h 652"/>
                <a:gd name="T92" fmla="*/ 182 w 539"/>
                <a:gd name="T93" fmla="*/ 44 h 652"/>
                <a:gd name="T94" fmla="*/ 160 w 539"/>
                <a:gd name="T95" fmla="*/ 44 h 652"/>
                <a:gd name="T96" fmla="*/ 139 w 539"/>
                <a:gd name="T97" fmla="*/ 48 h 65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39"/>
                <a:gd name="T148" fmla="*/ 0 h 652"/>
                <a:gd name="T149" fmla="*/ 539 w 539"/>
                <a:gd name="T150" fmla="*/ 652 h 65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39" h="652">
                  <a:moveTo>
                    <a:pt x="139" y="48"/>
                  </a:moveTo>
                  <a:lnTo>
                    <a:pt x="117" y="60"/>
                  </a:lnTo>
                  <a:lnTo>
                    <a:pt x="119" y="62"/>
                  </a:lnTo>
                  <a:lnTo>
                    <a:pt x="127" y="71"/>
                  </a:lnTo>
                  <a:lnTo>
                    <a:pt x="127" y="94"/>
                  </a:lnTo>
                  <a:lnTo>
                    <a:pt x="115" y="193"/>
                  </a:lnTo>
                  <a:lnTo>
                    <a:pt x="122" y="207"/>
                  </a:lnTo>
                  <a:lnTo>
                    <a:pt x="129" y="207"/>
                  </a:lnTo>
                  <a:lnTo>
                    <a:pt x="151" y="210"/>
                  </a:lnTo>
                  <a:lnTo>
                    <a:pt x="163" y="219"/>
                  </a:lnTo>
                  <a:lnTo>
                    <a:pt x="167" y="235"/>
                  </a:lnTo>
                  <a:lnTo>
                    <a:pt x="159" y="260"/>
                  </a:lnTo>
                  <a:lnTo>
                    <a:pt x="52" y="368"/>
                  </a:lnTo>
                  <a:lnTo>
                    <a:pt x="40" y="384"/>
                  </a:lnTo>
                  <a:lnTo>
                    <a:pt x="21" y="419"/>
                  </a:lnTo>
                  <a:lnTo>
                    <a:pt x="8" y="499"/>
                  </a:lnTo>
                  <a:lnTo>
                    <a:pt x="11" y="608"/>
                  </a:lnTo>
                  <a:lnTo>
                    <a:pt x="7" y="622"/>
                  </a:lnTo>
                  <a:lnTo>
                    <a:pt x="0" y="638"/>
                  </a:lnTo>
                  <a:lnTo>
                    <a:pt x="1" y="640"/>
                  </a:lnTo>
                  <a:lnTo>
                    <a:pt x="27" y="652"/>
                  </a:lnTo>
                  <a:lnTo>
                    <a:pt x="45" y="649"/>
                  </a:lnTo>
                  <a:lnTo>
                    <a:pt x="65" y="627"/>
                  </a:lnTo>
                  <a:lnTo>
                    <a:pt x="90" y="606"/>
                  </a:lnTo>
                  <a:lnTo>
                    <a:pt x="103" y="605"/>
                  </a:lnTo>
                  <a:lnTo>
                    <a:pt x="366" y="603"/>
                  </a:lnTo>
                  <a:lnTo>
                    <a:pt x="421" y="460"/>
                  </a:lnTo>
                  <a:lnTo>
                    <a:pt x="514" y="340"/>
                  </a:lnTo>
                  <a:lnTo>
                    <a:pt x="534" y="303"/>
                  </a:lnTo>
                  <a:lnTo>
                    <a:pt x="539" y="272"/>
                  </a:lnTo>
                  <a:lnTo>
                    <a:pt x="538" y="238"/>
                  </a:lnTo>
                  <a:lnTo>
                    <a:pt x="527" y="207"/>
                  </a:lnTo>
                  <a:lnTo>
                    <a:pt x="486" y="131"/>
                  </a:lnTo>
                  <a:lnTo>
                    <a:pt x="477" y="106"/>
                  </a:lnTo>
                  <a:lnTo>
                    <a:pt x="477" y="62"/>
                  </a:lnTo>
                  <a:lnTo>
                    <a:pt x="472" y="50"/>
                  </a:lnTo>
                  <a:lnTo>
                    <a:pt x="451" y="25"/>
                  </a:lnTo>
                  <a:lnTo>
                    <a:pt x="437" y="0"/>
                  </a:lnTo>
                  <a:lnTo>
                    <a:pt x="412" y="28"/>
                  </a:lnTo>
                  <a:lnTo>
                    <a:pt x="384" y="44"/>
                  </a:lnTo>
                  <a:lnTo>
                    <a:pt x="367" y="46"/>
                  </a:lnTo>
                  <a:lnTo>
                    <a:pt x="354" y="36"/>
                  </a:lnTo>
                  <a:lnTo>
                    <a:pt x="341" y="30"/>
                  </a:lnTo>
                  <a:lnTo>
                    <a:pt x="302" y="37"/>
                  </a:lnTo>
                  <a:lnTo>
                    <a:pt x="264" y="55"/>
                  </a:lnTo>
                  <a:lnTo>
                    <a:pt x="224" y="57"/>
                  </a:lnTo>
                  <a:lnTo>
                    <a:pt x="182" y="44"/>
                  </a:lnTo>
                  <a:lnTo>
                    <a:pt x="160" y="44"/>
                  </a:lnTo>
                  <a:lnTo>
                    <a:pt x="139" y="48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90" name="Freeform 127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3287" y="1971"/>
              <a:ext cx="99" cy="53"/>
            </a:xfrm>
            <a:custGeom>
              <a:avLst/>
              <a:gdLst>
                <a:gd name="T0" fmla="*/ 15 w 658"/>
                <a:gd name="T1" fmla="*/ 46 h 357"/>
                <a:gd name="T2" fmla="*/ 85 w 658"/>
                <a:gd name="T3" fmla="*/ 72 h 357"/>
                <a:gd name="T4" fmla="*/ 128 w 658"/>
                <a:gd name="T5" fmla="*/ 115 h 357"/>
                <a:gd name="T6" fmla="*/ 151 w 658"/>
                <a:gd name="T7" fmla="*/ 208 h 357"/>
                <a:gd name="T8" fmla="*/ 153 w 658"/>
                <a:gd name="T9" fmla="*/ 263 h 357"/>
                <a:gd name="T10" fmla="*/ 135 w 658"/>
                <a:gd name="T11" fmla="*/ 303 h 357"/>
                <a:gd name="T12" fmla="*/ 221 w 658"/>
                <a:gd name="T13" fmla="*/ 309 h 357"/>
                <a:gd name="T14" fmla="*/ 273 w 658"/>
                <a:gd name="T15" fmla="*/ 288 h 357"/>
                <a:gd name="T16" fmla="*/ 349 w 658"/>
                <a:gd name="T17" fmla="*/ 349 h 357"/>
                <a:gd name="T18" fmla="*/ 375 w 658"/>
                <a:gd name="T19" fmla="*/ 343 h 357"/>
                <a:gd name="T20" fmla="*/ 412 w 658"/>
                <a:gd name="T21" fmla="*/ 334 h 357"/>
                <a:gd name="T22" fmla="*/ 482 w 658"/>
                <a:gd name="T23" fmla="*/ 329 h 357"/>
                <a:gd name="T24" fmla="*/ 513 w 658"/>
                <a:gd name="T25" fmla="*/ 303 h 357"/>
                <a:gd name="T26" fmla="*/ 559 w 658"/>
                <a:gd name="T27" fmla="*/ 316 h 357"/>
                <a:gd name="T28" fmla="*/ 595 w 658"/>
                <a:gd name="T29" fmla="*/ 342 h 357"/>
                <a:gd name="T30" fmla="*/ 616 w 658"/>
                <a:gd name="T31" fmla="*/ 342 h 357"/>
                <a:gd name="T32" fmla="*/ 633 w 658"/>
                <a:gd name="T33" fmla="*/ 357 h 357"/>
                <a:gd name="T34" fmla="*/ 654 w 658"/>
                <a:gd name="T35" fmla="*/ 349 h 357"/>
                <a:gd name="T36" fmla="*/ 654 w 658"/>
                <a:gd name="T37" fmla="*/ 312 h 357"/>
                <a:gd name="T38" fmla="*/ 617 w 658"/>
                <a:gd name="T39" fmla="*/ 284 h 357"/>
                <a:gd name="T40" fmla="*/ 616 w 658"/>
                <a:gd name="T41" fmla="*/ 263 h 357"/>
                <a:gd name="T42" fmla="*/ 633 w 658"/>
                <a:gd name="T43" fmla="*/ 242 h 357"/>
                <a:gd name="T44" fmla="*/ 617 w 658"/>
                <a:gd name="T45" fmla="*/ 226 h 357"/>
                <a:gd name="T46" fmla="*/ 583 w 658"/>
                <a:gd name="T47" fmla="*/ 219 h 357"/>
                <a:gd name="T48" fmla="*/ 555 w 658"/>
                <a:gd name="T49" fmla="*/ 189 h 357"/>
                <a:gd name="T50" fmla="*/ 565 w 658"/>
                <a:gd name="T51" fmla="*/ 159 h 357"/>
                <a:gd name="T52" fmla="*/ 526 w 658"/>
                <a:gd name="T53" fmla="*/ 148 h 357"/>
                <a:gd name="T54" fmla="*/ 510 w 658"/>
                <a:gd name="T55" fmla="*/ 130 h 357"/>
                <a:gd name="T56" fmla="*/ 494 w 658"/>
                <a:gd name="T57" fmla="*/ 123 h 357"/>
                <a:gd name="T58" fmla="*/ 477 w 658"/>
                <a:gd name="T59" fmla="*/ 116 h 357"/>
                <a:gd name="T60" fmla="*/ 468 w 658"/>
                <a:gd name="T61" fmla="*/ 130 h 357"/>
                <a:gd name="T62" fmla="*/ 448 w 658"/>
                <a:gd name="T63" fmla="*/ 118 h 357"/>
                <a:gd name="T64" fmla="*/ 423 w 658"/>
                <a:gd name="T65" fmla="*/ 122 h 357"/>
                <a:gd name="T66" fmla="*/ 399 w 658"/>
                <a:gd name="T67" fmla="*/ 139 h 357"/>
                <a:gd name="T68" fmla="*/ 366 w 658"/>
                <a:gd name="T69" fmla="*/ 134 h 357"/>
                <a:gd name="T70" fmla="*/ 375 w 658"/>
                <a:gd name="T71" fmla="*/ 120 h 357"/>
                <a:gd name="T72" fmla="*/ 335 w 658"/>
                <a:gd name="T73" fmla="*/ 100 h 357"/>
                <a:gd name="T74" fmla="*/ 300 w 658"/>
                <a:gd name="T75" fmla="*/ 79 h 357"/>
                <a:gd name="T76" fmla="*/ 280 w 658"/>
                <a:gd name="T77" fmla="*/ 60 h 357"/>
                <a:gd name="T78" fmla="*/ 260 w 658"/>
                <a:gd name="T79" fmla="*/ 62 h 357"/>
                <a:gd name="T80" fmla="*/ 218 w 658"/>
                <a:gd name="T81" fmla="*/ 51 h 357"/>
                <a:gd name="T82" fmla="*/ 186 w 658"/>
                <a:gd name="T83" fmla="*/ 58 h 357"/>
                <a:gd name="T84" fmla="*/ 144 w 658"/>
                <a:gd name="T85" fmla="*/ 44 h 357"/>
                <a:gd name="T86" fmla="*/ 112 w 658"/>
                <a:gd name="T87" fmla="*/ 33 h 357"/>
                <a:gd name="T88" fmla="*/ 70 w 658"/>
                <a:gd name="T89" fmla="*/ 9 h 357"/>
                <a:gd name="T90" fmla="*/ 28 w 658"/>
                <a:gd name="T91" fmla="*/ 3 h 357"/>
                <a:gd name="T92" fmla="*/ 5 w 658"/>
                <a:gd name="T93" fmla="*/ 10 h 35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658"/>
                <a:gd name="T142" fmla="*/ 0 h 357"/>
                <a:gd name="T143" fmla="*/ 658 w 658"/>
                <a:gd name="T144" fmla="*/ 357 h 35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658" h="357">
                  <a:moveTo>
                    <a:pt x="0" y="30"/>
                  </a:moveTo>
                  <a:lnTo>
                    <a:pt x="15" y="46"/>
                  </a:lnTo>
                  <a:lnTo>
                    <a:pt x="44" y="63"/>
                  </a:lnTo>
                  <a:lnTo>
                    <a:pt x="85" y="72"/>
                  </a:lnTo>
                  <a:lnTo>
                    <a:pt x="100" y="81"/>
                  </a:lnTo>
                  <a:lnTo>
                    <a:pt x="128" y="115"/>
                  </a:lnTo>
                  <a:lnTo>
                    <a:pt x="138" y="139"/>
                  </a:lnTo>
                  <a:lnTo>
                    <a:pt x="151" y="208"/>
                  </a:lnTo>
                  <a:lnTo>
                    <a:pt x="154" y="254"/>
                  </a:lnTo>
                  <a:lnTo>
                    <a:pt x="153" y="263"/>
                  </a:lnTo>
                  <a:lnTo>
                    <a:pt x="140" y="300"/>
                  </a:lnTo>
                  <a:lnTo>
                    <a:pt x="135" y="303"/>
                  </a:lnTo>
                  <a:lnTo>
                    <a:pt x="211" y="312"/>
                  </a:lnTo>
                  <a:lnTo>
                    <a:pt x="221" y="309"/>
                  </a:lnTo>
                  <a:lnTo>
                    <a:pt x="253" y="286"/>
                  </a:lnTo>
                  <a:lnTo>
                    <a:pt x="273" y="288"/>
                  </a:lnTo>
                  <a:lnTo>
                    <a:pt x="333" y="356"/>
                  </a:lnTo>
                  <a:lnTo>
                    <a:pt x="349" y="349"/>
                  </a:lnTo>
                  <a:lnTo>
                    <a:pt x="362" y="350"/>
                  </a:lnTo>
                  <a:lnTo>
                    <a:pt x="375" y="343"/>
                  </a:lnTo>
                  <a:lnTo>
                    <a:pt x="395" y="342"/>
                  </a:lnTo>
                  <a:lnTo>
                    <a:pt x="412" y="334"/>
                  </a:lnTo>
                  <a:lnTo>
                    <a:pt x="439" y="338"/>
                  </a:lnTo>
                  <a:lnTo>
                    <a:pt x="482" y="329"/>
                  </a:lnTo>
                  <a:lnTo>
                    <a:pt x="494" y="324"/>
                  </a:lnTo>
                  <a:lnTo>
                    <a:pt x="513" y="303"/>
                  </a:lnTo>
                  <a:lnTo>
                    <a:pt x="545" y="303"/>
                  </a:lnTo>
                  <a:lnTo>
                    <a:pt x="559" y="316"/>
                  </a:lnTo>
                  <a:lnTo>
                    <a:pt x="567" y="331"/>
                  </a:lnTo>
                  <a:lnTo>
                    <a:pt x="595" y="342"/>
                  </a:lnTo>
                  <a:lnTo>
                    <a:pt x="608" y="340"/>
                  </a:lnTo>
                  <a:lnTo>
                    <a:pt x="616" y="342"/>
                  </a:lnTo>
                  <a:lnTo>
                    <a:pt x="621" y="345"/>
                  </a:lnTo>
                  <a:lnTo>
                    <a:pt x="633" y="357"/>
                  </a:lnTo>
                  <a:lnTo>
                    <a:pt x="644" y="354"/>
                  </a:lnTo>
                  <a:lnTo>
                    <a:pt x="654" y="349"/>
                  </a:lnTo>
                  <a:lnTo>
                    <a:pt x="658" y="327"/>
                  </a:lnTo>
                  <a:lnTo>
                    <a:pt x="654" y="312"/>
                  </a:lnTo>
                  <a:lnTo>
                    <a:pt x="625" y="303"/>
                  </a:lnTo>
                  <a:lnTo>
                    <a:pt x="617" y="284"/>
                  </a:lnTo>
                  <a:lnTo>
                    <a:pt x="611" y="266"/>
                  </a:lnTo>
                  <a:lnTo>
                    <a:pt x="616" y="263"/>
                  </a:lnTo>
                  <a:lnTo>
                    <a:pt x="621" y="254"/>
                  </a:lnTo>
                  <a:lnTo>
                    <a:pt x="633" y="242"/>
                  </a:lnTo>
                  <a:lnTo>
                    <a:pt x="628" y="229"/>
                  </a:lnTo>
                  <a:lnTo>
                    <a:pt x="617" y="226"/>
                  </a:lnTo>
                  <a:lnTo>
                    <a:pt x="607" y="228"/>
                  </a:lnTo>
                  <a:lnTo>
                    <a:pt x="583" y="219"/>
                  </a:lnTo>
                  <a:lnTo>
                    <a:pt x="570" y="208"/>
                  </a:lnTo>
                  <a:lnTo>
                    <a:pt x="555" y="189"/>
                  </a:lnTo>
                  <a:lnTo>
                    <a:pt x="559" y="169"/>
                  </a:lnTo>
                  <a:lnTo>
                    <a:pt x="565" y="159"/>
                  </a:lnTo>
                  <a:lnTo>
                    <a:pt x="559" y="150"/>
                  </a:lnTo>
                  <a:lnTo>
                    <a:pt x="526" y="148"/>
                  </a:lnTo>
                  <a:lnTo>
                    <a:pt x="518" y="138"/>
                  </a:lnTo>
                  <a:lnTo>
                    <a:pt x="510" y="130"/>
                  </a:lnTo>
                  <a:lnTo>
                    <a:pt x="500" y="130"/>
                  </a:lnTo>
                  <a:lnTo>
                    <a:pt x="494" y="123"/>
                  </a:lnTo>
                  <a:lnTo>
                    <a:pt x="484" y="116"/>
                  </a:lnTo>
                  <a:lnTo>
                    <a:pt x="477" y="116"/>
                  </a:lnTo>
                  <a:lnTo>
                    <a:pt x="474" y="120"/>
                  </a:lnTo>
                  <a:lnTo>
                    <a:pt x="468" y="130"/>
                  </a:lnTo>
                  <a:lnTo>
                    <a:pt x="460" y="122"/>
                  </a:lnTo>
                  <a:lnTo>
                    <a:pt x="448" y="118"/>
                  </a:lnTo>
                  <a:lnTo>
                    <a:pt x="432" y="118"/>
                  </a:lnTo>
                  <a:lnTo>
                    <a:pt x="423" y="122"/>
                  </a:lnTo>
                  <a:lnTo>
                    <a:pt x="411" y="139"/>
                  </a:lnTo>
                  <a:lnTo>
                    <a:pt x="399" y="139"/>
                  </a:lnTo>
                  <a:lnTo>
                    <a:pt x="387" y="146"/>
                  </a:lnTo>
                  <a:lnTo>
                    <a:pt x="366" y="134"/>
                  </a:lnTo>
                  <a:lnTo>
                    <a:pt x="370" y="127"/>
                  </a:lnTo>
                  <a:lnTo>
                    <a:pt x="375" y="120"/>
                  </a:lnTo>
                  <a:lnTo>
                    <a:pt x="351" y="104"/>
                  </a:lnTo>
                  <a:lnTo>
                    <a:pt x="335" y="100"/>
                  </a:lnTo>
                  <a:lnTo>
                    <a:pt x="313" y="92"/>
                  </a:lnTo>
                  <a:lnTo>
                    <a:pt x="300" y="79"/>
                  </a:lnTo>
                  <a:lnTo>
                    <a:pt x="296" y="69"/>
                  </a:lnTo>
                  <a:lnTo>
                    <a:pt x="280" y="60"/>
                  </a:lnTo>
                  <a:lnTo>
                    <a:pt x="267" y="62"/>
                  </a:lnTo>
                  <a:lnTo>
                    <a:pt x="260" y="62"/>
                  </a:lnTo>
                  <a:lnTo>
                    <a:pt x="242" y="51"/>
                  </a:lnTo>
                  <a:lnTo>
                    <a:pt x="218" y="51"/>
                  </a:lnTo>
                  <a:lnTo>
                    <a:pt x="199" y="58"/>
                  </a:lnTo>
                  <a:lnTo>
                    <a:pt x="186" y="58"/>
                  </a:lnTo>
                  <a:lnTo>
                    <a:pt x="169" y="55"/>
                  </a:lnTo>
                  <a:lnTo>
                    <a:pt x="144" y="44"/>
                  </a:lnTo>
                  <a:lnTo>
                    <a:pt x="135" y="33"/>
                  </a:lnTo>
                  <a:lnTo>
                    <a:pt x="112" y="33"/>
                  </a:lnTo>
                  <a:lnTo>
                    <a:pt x="102" y="30"/>
                  </a:lnTo>
                  <a:lnTo>
                    <a:pt x="70" y="9"/>
                  </a:lnTo>
                  <a:lnTo>
                    <a:pt x="31" y="7"/>
                  </a:lnTo>
                  <a:lnTo>
                    <a:pt x="28" y="3"/>
                  </a:lnTo>
                  <a:lnTo>
                    <a:pt x="16" y="0"/>
                  </a:lnTo>
                  <a:lnTo>
                    <a:pt x="5" y="10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91" name="Freeform 128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3287" y="1971"/>
              <a:ext cx="99" cy="53"/>
            </a:xfrm>
            <a:custGeom>
              <a:avLst/>
              <a:gdLst>
                <a:gd name="T0" fmla="*/ 44 w 658"/>
                <a:gd name="T1" fmla="*/ 63 h 357"/>
                <a:gd name="T2" fmla="*/ 100 w 658"/>
                <a:gd name="T3" fmla="*/ 81 h 357"/>
                <a:gd name="T4" fmla="*/ 138 w 658"/>
                <a:gd name="T5" fmla="*/ 139 h 357"/>
                <a:gd name="T6" fmla="*/ 154 w 658"/>
                <a:gd name="T7" fmla="*/ 254 h 357"/>
                <a:gd name="T8" fmla="*/ 140 w 658"/>
                <a:gd name="T9" fmla="*/ 300 h 357"/>
                <a:gd name="T10" fmla="*/ 211 w 658"/>
                <a:gd name="T11" fmla="*/ 312 h 357"/>
                <a:gd name="T12" fmla="*/ 253 w 658"/>
                <a:gd name="T13" fmla="*/ 286 h 357"/>
                <a:gd name="T14" fmla="*/ 333 w 658"/>
                <a:gd name="T15" fmla="*/ 356 h 357"/>
                <a:gd name="T16" fmla="*/ 362 w 658"/>
                <a:gd name="T17" fmla="*/ 350 h 357"/>
                <a:gd name="T18" fmla="*/ 395 w 658"/>
                <a:gd name="T19" fmla="*/ 342 h 357"/>
                <a:gd name="T20" fmla="*/ 439 w 658"/>
                <a:gd name="T21" fmla="*/ 338 h 357"/>
                <a:gd name="T22" fmla="*/ 494 w 658"/>
                <a:gd name="T23" fmla="*/ 324 h 357"/>
                <a:gd name="T24" fmla="*/ 545 w 658"/>
                <a:gd name="T25" fmla="*/ 303 h 357"/>
                <a:gd name="T26" fmla="*/ 567 w 658"/>
                <a:gd name="T27" fmla="*/ 331 h 357"/>
                <a:gd name="T28" fmla="*/ 608 w 658"/>
                <a:gd name="T29" fmla="*/ 340 h 357"/>
                <a:gd name="T30" fmla="*/ 621 w 658"/>
                <a:gd name="T31" fmla="*/ 345 h 357"/>
                <a:gd name="T32" fmla="*/ 644 w 658"/>
                <a:gd name="T33" fmla="*/ 354 h 357"/>
                <a:gd name="T34" fmla="*/ 658 w 658"/>
                <a:gd name="T35" fmla="*/ 327 h 357"/>
                <a:gd name="T36" fmla="*/ 625 w 658"/>
                <a:gd name="T37" fmla="*/ 303 h 357"/>
                <a:gd name="T38" fmla="*/ 611 w 658"/>
                <a:gd name="T39" fmla="*/ 266 h 357"/>
                <a:gd name="T40" fmla="*/ 621 w 658"/>
                <a:gd name="T41" fmla="*/ 254 h 357"/>
                <a:gd name="T42" fmla="*/ 628 w 658"/>
                <a:gd name="T43" fmla="*/ 229 h 357"/>
                <a:gd name="T44" fmla="*/ 607 w 658"/>
                <a:gd name="T45" fmla="*/ 228 h 357"/>
                <a:gd name="T46" fmla="*/ 570 w 658"/>
                <a:gd name="T47" fmla="*/ 208 h 357"/>
                <a:gd name="T48" fmla="*/ 559 w 658"/>
                <a:gd name="T49" fmla="*/ 169 h 357"/>
                <a:gd name="T50" fmla="*/ 559 w 658"/>
                <a:gd name="T51" fmla="*/ 150 h 357"/>
                <a:gd name="T52" fmla="*/ 518 w 658"/>
                <a:gd name="T53" fmla="*/ 138 h 357"/>
                <a:gd name="T54" fmla="*/ 500 w 658"/>
                <a:gd name="T55" fmla="*/ 130 h 357"/>
                <a:gd name="T56" fmla="*/ 484 w 658"/>
                <a:gd name="T57" fmla="*/ 116 h 357"/>
                <a:gd name="T58" fmla="*/ 474 w 658"/>
                <a:gd name="T59" fmla="*/ 120 h 357"/>
                <a:gd name="T60" fmla="*/ 460 w 658"/>
                <a:gd name="T61" fmla="*/ 122 h 357"/>
                <a:gd name="T62" fmla="*/ 432 w 658"/>
                <a:gd name="T63" fmla="*/ 118 h 357"/>
                <a:gd name="T64" fmla="*/ 411 w 658"/>
                <a:gd name="T65" fmla="*/ 139 h 357"/>
                <a:gd name="T66" fmla="*/ 387 w 658"/>
                <a:gd name="T67" fmla="*/ 146 h 357"/>
                <a:gd name="T68" fmla="*/ 370 w 658"/>
                <a:gd name="T69" fmla="*/ 127 h 357"/>
                <a:gd name="T70" fmla="*/ 351 w 658"/>
                <a:gd name="T71" fmla="*/ 104 h 357"/>
                <a:gd name="T72" fmla="*/ 313 w 658"/>
                <a:gd name="T73" fmla="*/ 92 h 357"/>
                <a:gd name="T74" fmla="*/ 296 w 658"/>
                <a:gd name="T75" fmla="*/ 69 h 357"/>
                <a:gd name="T76" fmla="*/ 267 w 658"/>
                <a:gd name="T77" fmla="*/ 62 h 357"/>
                <a:gd name="T78" fmla="*/ 242 w 658"/>
                <a:gd name="T79" fmla="*/ 51 h 357"/>
                <a:gd name="T80" fmla="*/ 199 w 658"/>
                <a:gd name="T81" fmla="*/ 58 h 357"/>
                <a:gd name="T82" fmla="*/ 169 w 658"/>
                <a:gd name="T83" fmla="*/ 55 h 357"/>
                <a:gd name="T84" fmla="*/ 135 w 658"/>
                <a:gd name="T85" fmla="*/ 33 h 357"/>
                <a:gd name="T86" fmla="*/ 102 w 658"/>
                <a:gd name="T87" fmla="*/ 30 h 357"/>
                <a:gd name="T88" fmla="*/ 31 w 658"/>
                <a:gd name="T89" fmla="*/ 7 h 357"/>
                <a:gd name="T90" fmla="*/ 16 w 658"/>
                <a:gd name="T91" fmla="*/ 0 h 357"/>
                <a:gd name="T92" fmla="*/ 0 w 658"/>
                <a:gd name="T93" fmla="*/ 30 h 35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658"/>
                <a:gd name="T142" fmla="*/ 0 h 357"/>
                <a:gd name="T143" fmla="*/ 658 w 658"/>
                <a:gd name="T144" fmla="*/ 357 h 35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658" h="357">
                  <a:moveTo>
                    <a:pt x="15" y="46"/>
                  </a:moveTo>
                  <a:lnTo>
                    <a:pt x="44" y="63"/>
                  </a:lnTo>
                  <a:lnTo>
                    <a:pt x="85" y="72"/>
                  </a:lnTo>
                  <a:lnTo>
                    <a:pt x="100" y="81"/>
                  </a:lnTo>
                  <a:lnTo>
                    <a:pt x="128" y="115"/>
                  </a:lnTo>
                  <a:lnTo>
                    <a:pt x="138" y="139"/>
                  </a:lnTo>
                  <a:lnTo>
                    <a:pt x="151" y="208"/>
                  </a:lnTo>
                  <a:lnTo>
                    <a:pt x="154" y="254"/>
                  </a:lnTo>
                  <a:lnTo>
                    <a:pt x="153" y="263"/>
                  </a:lnTo>
                  <a:lnTo>
                    <a:pt x="140" y="300"/>
                  </a:lnTo>
                  <a:lnTo>
                    <a:pt x="135" y="303"/>
                  </a:lnTo>
                  <a:lnTo>
                    <a:pt x="211" y="312"/>
                  </a:lnTo>
                  <a:lnTo>
                    <a:pt x="221" y="309"/>
                  </a:lnTo>
                  <a:lnTo>
                    <a:pt x="253" y="286"/>
                  </a:lnTo>
                  <a:lnTo>
                    <a:pt x="273" y="288"/>
                  </a:lnTo>
                  <a:lnTo>
                    <a:pt x="333" y="356"/>
                  </a:lnTo>
                  <a:lnTo>
                    <a:pt x="349" y="349"/>
                  </a:lnTo>
                  <a:lnTo>
                    <a:pt x="362" y="350"/>
                  </a:lnTo>
                  <a:lnTo>
                    <a:pt x="375" y="343"/>
                  </a:lnTo>
                  <a:lnTo>
                    <a:pt x="395" y="342"/>
                  </a:lnTo>
                  <a:lnTo>
                    <a:pt x="412" y="334"/>
                  </a:lnTo>
                  <a:lnTo>
                    <a:pt x="439" y="338"/>
                  </a:lnTo>
                  <a:lnTo>
                    <a:pt x="482" y="329"/>
                  </a:lnTo>
                  <a:lnTo>
                    <a:pt x="494" y="324"/>
                  </a:lnTo>
                  <a:lnTo>
                    <a:pt x="513" y="303"/>
                  </a:lnTo>
                  <a:lnTo>
                    <a:pt x="545" y="303"/>
                  </a:lnTo>
                  <a:lnTo>
                    <a:pt x="559" y="316"/>
                  </a:lnTo>
                  <a:lnTo>
                    <a:pt x="567" y="331"/>
                  </a:lnTo>
                  <a:lnTo>
                    <a:pt x="595" y="342"/>
                  </a:lnTo>
                  <a:lnTo>
                    <a:pt x="608" y="340"/>
                  </a:lnTo>
                  <a:lnTo>
                    <a:pt x="616" y="342"/>
                  </a:lnTo>
                  <a:lnTo>
                    <a:pt x="621" y="345"/>
                  </a:lnTo>
                  <a:lnTo>
                    <a:pt x="633" y="357"/>
                  </a:lnTo>
                  <a:lnTo>
                    <a:pt x="644" y="354"/>
                  </a:lnTo>
                  <a:lnTo>
                    <a:pt x="654" y="349"/>
                  </a:lnTo>
                  <a:lnTo>
                    <a:pt x="658" y="327"/>
                  </a:lnTo>
                  <a:lnTo>
                    <a:pt x="654" y="312"/>
                  </a:lnTo>
                  <a:lnTo>
                    <a:pt x="625" y="303"/>
                  </a:lnTo>
                  <a:lnTo>
                    <a:pt x="617" y="284"/>
                  </a:lnTo>
                  <a:lnTo>
                    <a:pt x="611" y="266"/>
                  </a:lnTo>
                  <a:lnTo>
                    <a:pt x="616" y="263"/>
                  </a:lnTo>
                  <a:lnTo>
                    <a:pt x="621" y="254"/>
                  </a:lnTo>
                  <a:lnTo>
                    <a:pt x="633" y="242"/>
                  </a:lnTo>
                  <a:lnTo>
                    <a:pt x="628" y="229"/>
                  </a:lnTo>
                  <a:lnTo>
                    <a:pt x="617" y="226"/>
                  </a:lnTo>
                  <a:lnTo>
                    <a:pt x="607" y="228"/>
                  </a:lnTo>
                  <a:lnTo>
                    <a:pt x="583" y="219"/>
                  </a:lnTo>
                  <a:lnTo>
                    <a:pt x="570" y="208"/>
                  </a:lnTo>
                  <a:lnTo>
                    <a:pt x="555" y="189"/>
                  </a:lnTo>
                  <a:lnTo>
                    <a:pt x="559" y="169"/>
                  </a:lnTo>
                  <a:lnTo>
                    <a:pt x="565" y="159"/>
                  </a:lnTo>
                  <a:lnTo>
                    <a:pt x="559" y="150"/>
                  </a:lnTo>
                  <a:lnTo>
                    <a:pt x="526" y="148"/>
                  </a:lnTo>
                  <a:lnTo>
                    <a:pt x="518" y="138"/>
                  </a:lnTo>
                  <a:lnTo>
                    <a:pt x="510" y="130"/>
                  </a:lnTo>
                  <a:lnTo>
                    <a:pt x="500" y="130"/>
                  </a:lnTo>
                  <a:lnTo>
                    <a:pt x="494" y="123"/>
                  </a:lnTo>
                  <a:lnTo>
                    <a:pt x="484" y="116"/>
                  </a:lnTo>
                  <a:lnTo>
                    <a:pt x="477" y="116"/>
                  </a:lnTo>
                  <a:lnTo>
                    <a:pt x="474" y="120"/>
                  </a:lnTo>
                  <a:lnTo>
                    <a:pt x="468" y="130"/>
                  </a:lnTo>
                  <a:lnTo>
                    <a:pt x="460" y="122"/>
                  </a:lnTo>
                  <a:lnTo>
                    <a:pt x="448" y="118"/>
                  </a:lnTo>
                  <a:lnTo>
                    <a:pt x="432" y="118"/>
                  </a:lnTo>
                  <a:lnTo>
                    <a:pt x="423" y="122"/>
                  </a:lnTo>
                  <a:lnTo>
                    <a:pt x="411" y="139"/>
                  </a:lnTo>
                  <a:lnTo>
                    <a:pt x="399" y="139"/>
                  </a:lnTo>
                  <a:lnTo>
                    <a:pt x="387" y="146"/>
                  </a:lnTo>
                  <a:lnTo>
                    <a:pt x="366" y="134"/>
                  </a:lnTo>
                  <a:lnTo>
                    <a:pt x="370" y="127"/>
                  </a:lnTo>
                  <a:lnTo>
                    <a:pt x="375" y="120"/>
                  </a:lnTo>
                  <a:lnTo>
                    <a:pt x="351" y="104"/>
                  </a:lnTo>
                  <a:lnTo>
                    <a:pt x="335" y="100"/>
                  </a:lnTo>
                  <a:lnTo>
                    <a:pt x="313" y="92"/>
                  </a:lnTo>
                  <a:lnTo>
                    <a:pt x="300" y="79"/>
                  </a:lnTo>
                  <a:lnTo>
                    <a:pt x="296" y="69"/>
                  </a:lnTo>
                  <a:lnTo>
                    <a:pt x="280" y="60"/>
                  </a:lnTo>
                  <a:lnTo>
                    <a:pt x="267" y="62"/>
                  </a:lnTo>
                  <a:lnTo>
                    <a:pt x="260" y="62"/>
                  </a:lnTo>
                  <a:lnTo>
                    <a:pt x="242" y="51"/>
                  </a:lnTo>
                  <a:lnTo>
                    <a:pt x="218" y="51"/>
                  </a:lnTo>
                  <a:lnTo>
                    <a:pt x="199" y="58"/>
                  </a:lnTo>
                  <a:lnTo>
                    <a:pt x="186" y="58"/>
                  </a:lnTo>
                  <a:lnTo>
                    <a:pt x="169" y="55"/>
                  </a:lnTo>
                  <a:lnTo>
                    <a:pt x="144" y="44"/>
                  </a:lnTo>
                  <a:lnTo>
                    <a:pt x="135" y="33"/>
                  </a:lnTo>
                  <a:lnTo>
                    <a:pt x="112" y="33"/>
                  </a:lnTo>
                  <a:lnTo>
                    <a:pt x="102" y="30"/>
                  </a:lnTo>
                  <a:lnTo>
                    <a:pt x="70" y="9"/>
                  </a:lnTo>
                  <a:lnTo>
                    <a:pt x="31" y="7"/>
                  </a:lnTo>
                  <a:lnTo>
                    <a:pt x="28" y="3"/>
                  </a:lnTo>
                  <a:lnTo>
                    <a:pt x="16" y="0"/>
                  </a:lnTo>
                  <a:lnTo>
                    <a:pt x="5" y="10"/>
                  </a:lnTo>
                  <a:lnTo>
                    <a:pt x="0" y="30"/>
                  </a:lnTo>
                  <a:lnTo>
                    <a:pt x="15" y="46"/>
                  </a:lnTo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92" name="Freeform 129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3446" y="2314"/>
              <a:ext cx="10" cy="32"/>
            </a:xfrm>
            <a:custGeom>
              <a:avLst/>
              <a:gdLst>
                <a:gd name="T0" fmla="*/ 7 w 74"/>
                <a:gd name="T1" fmla="*/ 65 h 207"/>
                <a:gd name="T2" fmla="*/ 0 w 74"/>
                <a:gd name="T3" fmla="*/ 98 h 207"/>
                <a:gd name="T4" fmla="*/ 4 w 74"/>
                <a:gd name="T5" fmla="*/ 143 h 207"/>
                <a:gd name="T6" fmla="*/ 9 w 74"/>
                <a:gd name="T7" fmla="*/ 168 h 207"/>
                <a:gd name="T8" fmla="*/ 12 w 74"/>
                <a:gd name="T9" fmla="*/ 202 h 207"/>
                <a:gd name="T10" fmla="*/ 26 w 74"/>
                <a:gd name="T11" fmla="*/ 207 h 207"/>
                <a:gd name="T12" fmla="*/ 42 w 74"/>
                <a:gd name="T13" fmla="*/ 205 h 207"/>
                <a:gd name="T14" fmla="*/ 69 w 74"/>
                <a:gd name="T15" fmla="*/ 156 h 207"/>
                <a:gd name="T16" fmla="*/ 74 w 74"/>
                <a:gd name="T17" fmla="*/ 135 h 207"/>
                <a:gd name="T18" fmla="*/ 67 w 74"/>
                <a:gd name="T19" fmla="*/ 121 h 207"/>
                <a:gd name="T20" fmla="*/ 66 w 74"/>
                <a:gd name="T21" fmla="*/ 79 h 207"/>
                <a:gd name="T22" fmla="*/ 72 w 74"/>
                <a:gd name="T23" fmla="*/ 56 h 207"/>
                <a:gd name="T24" fmla="*/ 63 w 74"/>
                <a:gd name="T25" fmla="*/ 26 h 207"/>
                <a:gd name="T26" fmla="*/ 51 w 74"/>
                <a:gd name="T27" fmla="*/ 21 h 207"/>
                <a:gd name="T28" fmla="*/ 49 w 74"/>
                <a:gd name="T29" fmla="*/ 3 h 207"/>
                <a:gd name="T30" fmla="*/ 35 w 74"/>
                <a:gd name="T31" fmla="*/ 0 h 207"/>
                <a:gd name="T32" fmla="*/ 20 w 74"/>
                <a:gd name="T33" fmla="*/ 14 h 207"/>
                <a:gd name="T34" fmla="*/ 13 w 74"/>
                <a:gd name="T35" fmla="*/ 47 h 207"/>
                <a:gd name="T36" fmla="*/ 16 w 74"/>
                <a:gd name="T37" fmla="*/ 58 h 207"/>
                <a:gd name="T38" fmla="*/ 7 w 74"/>
                <a:gd name="T39" fmla="*/ 65 h 207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74"/>
                <a:gd name="T61" fmla="*/ 0 h 207"/>
                <a:gd name="T62" fmla="*/ 74 w 74"/>
                <a:gd name="T63" fmla="*/ 207 h 207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74" h="207">
                  <a:moveTo>
                    <a:pt x="7" y="65"/>
                  </a:moveTo>
                  <a:lnTo>
                    <a:pt x="0" y="98"/>
                  </a:lnTo>
                  <a:lnTo>
                    <a:pt x="4" y="143"/>
                  </a:lnTo>
                  <a:lnTo>
                    <a:pt x="9" y="168"/>
                  </a:lnTo>
                  <a:lnTo>
                    <a:pt x="12" y="202"/>
                  </a:lnTo>
                  <a:lnTo>
                    <a:pt x="26" y="207"/>
                  </a:lnTo>
                  <a:lnTo>
                    <a:pt x="42" y="205"/>
                  </a:lnTo>
                  <a:lnTo>
                    <a:pt x="69" y="156"/>
                  </a:lnTo>
                  <a:lnTo>
                    <a:pt x="74" y="135"/>
                  </a:lnTo>
                  <a:lnTo>
                    <a:pt x="67" y="121"/>
                  </a:lnTo>
                  <a:lnTo>
                    <a:pt x="66" y="79"/>
                  </a:lnTo>
                  <a:lnTo>
                    <a:pt x="72" y="56"/>
                  </a:lnTo>
                  <a:lnTo>
                    <a:pt x="63" y="26"/>
                  </a:lnTo>
                  <a:lnTo>
                    <a:pt x="51" y="21"/>
                  </a:lnTo>
                  <a:lnTo>
                    <a:pt x="49" y="3"/>
                  </a:lnTo>
                  <a:lnTo>
                    <a:pt x="35" y="0"/>
                  </a:lnTo>
                  <a:lnTo>
                    <a:pt x="20" y="14"/>
                  </a:lnTo>
                  <a:lnTo>
                    <a:pt x="13" y="47"/>
                  </a:lnTo>
                  <a:lnTo>
                    <a:pt x="16" y="58"/>
                  </a:lnTo>
                  <a:lnTo>
                    <a:pt x="7" y="65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93" name="Freeform 130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3446" y="2314"/>
              <a:ext cx="10" cy="32"/>
            </a:xfrm>
            <a:custGeom>
              <a:avLst/>
              <a:gdLst>
                <a:gd name="T0" fmla="*/ 0 w 74"/>
                <a:gd name="T1" fmla="*/ 98 h 207"/>
                <a:gd name="T2" fmla="*/ 4 w 74"/>
                <a:gd name="T3" fmla="*/ 143 h 207"/>
                <a:gd name="T4" fmla="*/ 9 w 74"/>
                <a:gd name="T5" fmla="*/ 168 h 207"/>
                <a:gd name="T6" fmla="*/ 12 w 74"/>
                <a:gd name="T7" fmla="*/ 202 h 207"/>
                <a:gd name="T8" fmla="*/ 26 w 74"/>
                <a:gd name="T9" fmla="*/ 207 h 207"/>
                <a:gd name="T10" fmla="*/ 42 w 74"/>
                <a:gd name="T11" fmla="*/ 205 h 207"/>
                <a:gd name="T12" fmla="*/ 69 w 74"/>
                <a:gd name="T13" fmla="*/ 156 h 207"/>
                <a:gd name="T14" fmla="*/ 74 w 74"/>
                <a:gd name="T15" fmla="*/ 135 h 207"/>
                <a:gd name="T16" fmla="*/ 67 w 74"/>
                <a:gd name="T17" fmla="*/ 121 h 207"/>
                <a:gd name="T18" fmla="*/ 66 w 74"/>
                <a:gd name="T19" fmla="*/ 79 h 207"/>
                <a:gd name="T20" fmla="*/ 72 w 74"/>
                <a:gd name="T21" fmla="*/ 56 h 207"/>
                <a:gd name="T22" fmla="*/ 63 w 74"/>
                <a:gd name="T23" fmla="*/ 26 h 207"/>
                <a:gd name="T24" fmla="*/ 51 w 74"/>
                <a:gd name="T25" fmla="*/ 21 h 207"/>
                <a:gd name="T26" fmla="*/ 49 w 74"/>
                <a:gd name="T27" fmla="*/ 3 h 207"/>
                <a:gd name="T28" fmla="*/ 35 w 74"/>
                <a:gd name="T29" fmla="*/ 0 h 207"/>
                <a:gd name="T30" fmla="*/ 20 w 74"/>
                <a:gd name="T31" fmla="*/ 14 h 207"/>
                <a:gd name="T32" fmla="*/ 13 w 74"/>
                <a:gd name="T33" fmla="*/ 47 h 207"/>
                <a:gd name="T34" fmla="*/ 16 w 74"/>
                <a:gd name="T35" fmla="*/ 58 h 207"/>
                <a:gd name="T36" fmla="*/ 7 w 74"/>
                <a:gd name="T37" fmla="*/ 65 h 207"/>
                <a:gd name="T38" fmla="*/ 0 w 74"/>
                <a:gd name="T39" fmla="*/ 98 h 207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74"/>
                <a:gd name="T61" fmla="*/ 0 h 207"/>
                <a:gd name="T62" fmla="*/ 74 w 74"/>
                <a:gd name="T63" fmla="*/ 207 h 207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74" h="207">
                  <a:moveTo>
                    <a:pt x="0" y="98"/>
                  </a:moveTo>
                  <a:lnTo>
                    <a:pt x="4" y="143"/>
                  </a:lnTo>
                  <a:lnTo>
                    <a:pt x="9" y="168"/>
                  </a:lnTo>
                  <a:lnTo>
                    <a:pt x="12" y="202"/>
                  </a:lnTo>
                  <a:lnTo>
                    <a:pt x="26" y="207"/>
                  </a:lnTo>
                  <a:lnTo>
                    <a:pt x="42" y="205"/>
                  </a:lnTo>
                  <a:lnTo>
                    <a:pt x="69" y="156"/>
                  </a:lnTo>
                  <a:lnTo>
                    <a:pt x="74" y="135"/>
                  </a:lnTo>
                  <a:lnTo>
                    <a:pt x="67" y="121"/>
                  </a:lnTo>
                  <a:lnTo>
                    <a:pt x="66" y="79"/>
                  </a:lnTo>
                  <a:lnTo>
                    <a:pt x="72" y="56"/>
                  </a:lnTo>
                  <a:lnTo>
                    <a:pt x="63" y="26"/>
                  </a:lnTo>
                  <a:lnTo>
                    <a:pt x="51" y="21"/>
                  </a:lnTo>
                  <a:lnTo>
                    <a:pt x="49" y="3"/>
                  </a:lnTo>
                  <a:lnTo>
                    <a:pt x="35" y="0"/>
                  </a:lnTo>
                  <a:lnTo>
                    <a:pt x="20" y="14"/>
                  </a:lnTo>
                  <a:lnTo>
                    <a:pt x="13" y="47"/>
                  </a:lnTo>
                  <a:lnTo>
                    <a:pt x="16" y="58"/>
                  </a:lnTo>
                  <a:lnTo>
                    <a:pt x="7" y="65"/>
                  </a:lnTo>
                  <a:lnTo>
                    <a:pt x="0" y="98"/>
                  </a:lnTo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94" name="Freeform 131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3449" y="2317"/>
              <a:ext cx="78" cy="71"/>
            </a:xfrm>
            <a:custGeom>
              <a:avLst/>
              <a:gdLst>
                <a:gd name="T0" fmla="*/ 432 w 518"/>
                <a:gd name="T1" fmla="*/ 74 h 482"/>
                <a:gd name="T2" fmla="*/ 425 w 518"/>
                <a:gd name="T3" fmla="*/ 67 h 482"/>
                <a:gd name="T4" fmla="*/ 358 w 518"/>
                <a:gd name="T5" fmla="*/ 154 h 482"/>
                <a:gd name="T6" fmla="*/ 339 w 518"/>
                <a:gd name="T7" fmla="*/ 198 h 482"/>
                <a:gd name="T8" fmla="*/ 329 w 518"/>
                <a:gd name="T9" fmla="*/ 202 h 482"/>
                <a:gd name="T10" fmla="*/ 316 w 518"/>
                <a:gd name="T11" fmla="*/ 225 h 482"/>
                <a:gd name="T12" fmla="*/ 309 w 518"/>
                <a:gd name="T13" fmla="*/ 230 h 482"/>
                <a:gd name="T14" fmla="*/ 292 w 518"/>
                <a:gd name="T15" fmla="*/ 232 h 482"/>
                <a:gd name="T16" fmla="*/ 284 w 518"/>
                <a:gd name="T17" fmla="*/ 221 h 482"/>
                <a:gd name="T18" fmla="*/ 284 w 518"/>
                <a:gd name="T19" fmla="*/ 237 h 482"/>
                <a:gd name="T20" fmla="*/ 251 w 518"/>
                <a:gd name="T21" fmla="*/ 246 h 482"/>
                <a:gd name="T22" fmla="*/ 191 w 518"/>
                <a:gd name="T23" fmla="*/ 234 h 482"/>
                <a:gd name="T24" fmla="*/ 188 w 518"/>
                <a:gd name="T25" fmla="*/ 239 h 482"/>
                <a:gd name="T26" fmla="*/ 178 w 518"/>
                <a:gd name="T27" fmla="*/ 241 h 482"/>
                <a:gd name="T28" fmla="*/ 151 w 518"/>
                <a:gd name="T29" fmla="*/ 236 h 482"/>
                <a:gd name="T30" fmla="*/ 134 w 518"/>
                <a:gd name="T31" fmla="*/ 237 h 482"/>
                <a:gd name="T32" fmla="*/ 123 w 518"/>
                <a:gd name="T33" fmla="*/ 230 h 482"/>
                <a:gd name="T34" fmla="*/ 116 w 518"/>
                <a:gd name="T35" fmla="*/ 234 h 482"/>
                <a:gd name="T36" fmla="*/ 112 w 518"/>
                <a:gd name="T37" fmla="*/ 246 h 482"/>
                <a:gd name="T38" fmla="*/ 80 w 518"/>
                <a:gd name="T39" fmla="*/ 251 h 482"/>
                <a:gd name="T40" fmla="*/ 63 w 518"/>
                <a:gd name="T41" fmla="*/ 244 h 482"/>
                <a:gd name="T42" fmla="*/ 44 w 518"/>
                <a:gd name="T43" fmla="*/ 244 h 482"/>
                <a:gd name="T44" fmla="*/ 48 w 518"/>
                <a:gd name="T45" fmla="*/ 220 h 482"/>
                <a:gd name="T46" fmla="*/ 39 w 518"/>
                <a:gd name="T47" fmla="*/ 225 h 482"/>
                <a:gd name="T48" fmla="*/ 32 w 518"/>
                <a:gd name="T49" fmla="*/ 218 h 482"/>
                <a:gd name="T50" fmla="*/ 16 w 518"/>
                <a:gd name="T51" fmla="*/ 209 h 482"/>
                <a:gd name="T52" fmla="*/ 16 w 518"/>
                <a:gd name="T53" fmla="*/ 193 h 482"/>
                <a:gd name="T54" fmla="*/ 0 w 518"/>
                <a:gd name="T55" fmla="*/ 195 h 482"/>
                <a:gd name="T56" fmla="*/ 69 w 518"/>
                <a:gd name="T57" fmla="*/ 382 h 482"/>
                <a:gd name="T58" fmla="*/ 81 w 518"/>
                <a:gd name="T59" fmla="*/ 431 h 482"/>
                <a:gd name="T60" fmla="*/ 416 w 518"/>
                <a:gd name="T61" fmla="*/ 482 h 482"/>
                <a:gd name="T62" fmla="*/ 441 w 518"/>
                <a:gd name="T63" fmla="*/ 456 h 482"/>
                <a:gd name="T64" fmla="*/ 448 w 518"/>
                <a:gd name="T65" fmla="*/ 452 h 482"/>
                <a:gd name="T66" fmla="*/ 446 w 518"/>
                <a:gd name="T67" fmla="*/ 444 h 482"/>
                <a:gd name="T68" fmla="*/ 445 w 518"/>
                <a:gd name="T69" fmla="*/ 276 h 482"/>
                <a:gd name="T70" fmla="*/ 469 w 518"/>
                <a:gd name="T71" fmla="*/ 243 h 482"/>
                <a:gd name="T72" fmla="*/ 477 w 518"/>
                <a:gd name="T73" fmla="*/ 223 h 482"/>
                <a:gd name="T74" fmla="*/ 473 w 518"/>
                <a:gd name="T75" fmla="*/ 151 h 482"/>
                <a:gd name="T76" fmla="*/ 478 w 518"/>
                <a:gd name="T77" fmla="*/ 128 h 482"/>
                <a:gd name="T78" fmla="*/ 497 w 518"/>
                <a:gd name="T79" fmla="*/ 133 h 482"/>
                <a:gd name="T80" fmla="*/ 518 w 518"/>
                <a:gd name="T81" fmla="*/ 131 h 482"/>
                <a:gd name="T82" fmla="*/ 518 w 518"/>
                <a:gd name="T83" fmla="*/ 81 h 482"/>
                <a:gd name="T84" fmla="*/ 514 w 518"/>
                <a:gd name="T85" fmla="*/ 63 h 482"/>
                <a:gd name="T86" fmla="*/ 494 w 518"/>
                <a:gd name="T87" fmla="*/ 60 h 482"/>
                <a:gd name="T88" fmla="*/ 488 w 518"/>
                <a:gd name="T89" fmla="*/ 62 h 482"/>
                <a:gd name="T90" fmla="*/ 485 w 518"/>
                <a:gd name="T91" fmla="*/ 58 h 482"/>
                <a:gd name="T92" fmla="*/ 485 w 518"/>
                <a:gd name="T93" fmla="*/ 49 h 482"/>
                <a:gd name="T94" fmla="*/ 489 w 518"/>
                <a:gd name="T95" fmla="*/ 32 h 482"/>
                <a:gd name="T96" fmla="*/ 499 w 518"/>
                <a:gd name="T97" fmla="*/ 9 h 482"/>
                <a:gd name="T98" fmla="*/ 494 w 518"/>
                <a:gd name="T99" fmla="*/ 0 h 482"/>
                <a:gd name="T100" fmla="*/ 478 w 518"/>
                <a:gd name="T101" fmla="*/ 23 h 482"/>
                <a:gd name="T102" fmla="*/ 432 w 518"/>
                <a:gd name="T103" fmla="*/ 74 h 48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18"/>
                <a:gd name="T157" fmla="*/ 0 h 482"/>
                <a:gd name="T158" fmla="*/ 518 w 518"/>
                <a:gd name="T159" fmla="*/ 482 h 48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18" h="482">
                  <a:moveTo>
                    <a:pt x="432" y="74"/>
                  </a:moveTo>
                  <a:lnTo>
                    <a:pt x="425" y="67"/>
                  </a:lnTo>
                  <a:lnTo>
                    <a:pt x="358" y="154"/>
                  </a:lnTo>
                  <a:lnTo>
                    <a:pt x="339" y="198"/>
                  </a:lnTo>
                  <a:lnTo>
                    <a:pt x="329" y="202"/>
                  </a:lnTo>
                  <a:lnTo>
                    <a:pt x="316" y="225"/>
                  </a:lnTo>
                  <a:lnTo>
                    <a:pt x="309" y="230"/>
                  </a:lnTo>
                  <a:lnTo>
                    <a:pt x="292" y="232"/>
                  </a:lnTo>
                  <a:lnTo>
                    <a:pt x="284" y="221"/>
                  </a:lnTo>
                  <a:lnTo>
                    <a:pt x="284" y="237"/>
                  </a:lnTo>
                  <a:lnTo>
                    <a:pt x="251" y="246"/>
                  </a:lnTo>
                  <a:lnTo>
                    <a:pt x="191" y="234"/>
                  </a:lnTo>
                  <a:lnTo>
                    <a:pt x="188" y="239"/>
                  </a:lnTo>
                  <a:lnTo>
                    <a:pt x="178" y="241"/>
                  </a:lnTo>
                  <a:lnTo>
                    <a:pt x="151" y="236"/>
                  </a:lnTo>
                  <a:lnTo>
                    <a:pt x="134" y="237"/>
                  </a:lnTo>
                  <a:lnTo>
                    <a:pt x="123" y="230"/>
                  </a:lnTo>
                  <a:lnTo>
                    <a:pt x="116" y="234"/>
                  </a:lnTo>
                  <a:lnTo>
                    <a:pt x="112" y="246"/>
                  </a:lnTo>
                  <a:lnTo>
                    <a:pt x="80" y="251"/>
                  </a:lnTo>
                  <a:lnTo>
                    <a:pt x="63" y="244"/>
                  </a:lnTo>
                  <a:lnTo>
                    <a:pt x="44" y="244"/>
                  </a:lnTo>
                  <a:lnTo>
                    <a:pt x="48" y="220"/>
                  </a:lnTo>
                  <a:lnTo>
                    <a:pt x="39" y="225"/>
                  </a:lnTo>
                  <a:lnTo>
                    <a:pt x="32" y="218"/>
                  </a:lnTo>
                  <a:lnTo>
                    <a:pt x="16" y="209"/>
                  </a:lnTo>
                  <a:lnTo>
                    <a:pt x="16" y="193"/>
                  </a:lnTo>
                  <a:lnTo>
                    <a:pt x="0" y="195"/>
                  </a:lnTo>
                  <a:lnTo>
                    <a:pt x="69" y="382"/>
                  </a:lnTo>
                  <a:lnTo>
                    <a:pt x="81" y="431"/>
                  </a:lnTo>
                  <a:lnTo>
                    <a:pt x="416" y="482"/>
                  </a:lnTo>
                  <a:lnTo>
                    <a:pt x="441" y="456"/>
                  </a:lnTo>
                  <a:lnTo>
                    <a:pt x="448" y="452"/>
                  </a:lnTo>
                  <a:lnTo>
                    <a:pt x="446" y="444"/>
                  </a:lnTo>
                  <a:lnTo>
                    <a:pt x="445" y="276"/>
                  </a:lnTo>
                  <a:lnTo>
                    <a:pt x="469" y="243"/>
                  </a:lnTo>
                  <a:lnTo>
                    <a:pt x="477" y="223"/>
                  </a:lnTo>
                  <a:lnTo>
                    <a:pt x="473" y="151"/>
                  </a:lnTo>
                  <a:lnTo>
                    <a:pt x="478" y="128"/>
                  </a:lnTo>
                  <a:lnTo>
                    <a:pt x="497" y="133"/>
                  </a:lnTo>
                  <a:lnTo>
                    <a:pt x="518" y="131"/>
                  </a:lnTo>
                  <a:lnTo>
                    <a:pt x="518" y="81"/>
                  </a:lnTo>
                  <a:lnTo>
                    <a:pt x="514" y="63"/>
                  </a:lnTo>
                  <a:lnTo>
                    <a:pt x="494" y="60"/>
                  </a:lnTo>
                  <a:lnTo>
                    <a:pt x="488" y="62"/>
                  </a:lnTo>
                  <a:lnTo>
                    <a:pt x="485" y="58"/>
                  </a:lnTo>
                  <a:lnTo>
                    <a:pt x="485" y="49"/>
                  </a:lnTo>
                  <a:lnTo>
                    <a:pt x="489" y="32"/>
                  </a:lnTo>
                  <a:lnTo>
                    <a:pt x="499" y="9"/>
                  </a:lnTo>
                  <a:lnTo>
                    <a:pt x="494" y="0"/>
                  </a:lnTo>
                  <a:lnTo>
                    <a:pt x="478" y="23"/>
                  </a:lnTo>
                  <a:lnTo>
                    <a:pt x="432" y="74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95" name="Freeform 132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3522" y="2311"/>
              <a:ext cx="5" cy="15"/>
            </a:xfrm>
            <a:custGeom>
              <a:avLst/>
              <a:gdLst>
                <a:gd name="T0" fmla="*/ 29 w 33"/>
                <a:gd name="T1" fmla="*/ 0 h 96"/>
                <a:gd name="T2" fmla="*/ 22 w 33"/>
                <a:gd name="T3" fmla="*/ 9 h 96"/>
                <a:gd name="T4" fmla="*/ 9 w 33"/>
                <a:gd name="T5" fmla="*/ 34 h 96"/>
                <a:gd name="T6" fmla="*/ 14 w 33"/>
                <a:gd name="T7" fmla="*/ 43 h 96"/>
                <a:gd name="T8" fmla="*/ 4 w 33"/>
                <a:gd name="T9" fmla="*/ 66 h 96"/>
                <a:gd name="T10" fmla="*/ 0 w 33"/>
                <a:gd name="T11" fmla="*/ 83 h 96"/>
                <a:gd name="T12" fmla="*/ 0 w 33"/>
                <a:gd name="T13" fmla="*/ 92 h 96"/>
                <a:gd name="T14" fmla="*/ 3 w 33"/>
                <a:gd name="T15" fmla="*/ 96 h 96"/>
                <a:gd name="T16" fmla="*/ 9 w 33"/>
                <a:gd name="T17" fmla="*/ 94 h 96"/>
                <a:gd name="T18" fmla="*/ 14 w 33"/>
                <a:gd name="T19" fmla="*/ 87 h 96"/>
                <a:gd name="T20" fmla="*/ 33 w 33"/>
                <a:gd name="T21" fmla="*/ 46 h 96"/>
                <a:gd name="T22" fmla="*/ 29 w 33"/>
                <a:gd name="T23" fmla="*/ 0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3"/>
                <a:gd name="T37" fmla="*/ 0 h 96"/>
                <a:gd name="T38" fmla="*/ 33 w 33"/>
                <a:gd name="T39" fmla="*/ 96 h 9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3" h="96">
                  <a:moveTo>
                    <a:pt x="29" y="0"/>
                  </a:moveTo>
                  <a:lnTo>
                    <a:pt x="22" y="9"/>
                  </a:lnTo>
                  <a:lnTo>
                    <a:pt x="9" y="34"/>
                  </a:lnTo>
                  <a:lnTo>
                    <a:pt x="14" y="43"/>
                  </a:lnTo>
                  <a:lnTo>
                    <a:pt x="4" y="66"/>
                  </a:lnTo>
                  <a:lnTo>
                    <a:pt x="0" y="83"/>
                  </a:lnTo>
                  <a:lnTo>
                    <a:pt x="0" y="92"/>
                  </a:lnTo>
                  <a:lnTo>
                    <a:pt x="3" y="96"/>
                  </a:lnTo>
                  <a:lnTo>
                    <a:pt x="9" y="94"/>
                  </a:lnTo>
                  <a:lnTo>
                    <a:pt x="14" y="87"/>
                  </a:lnTo>
                  <a:lnTo>
                    <a:pt x="33" y="46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96" name="Freeform 133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3470" y="2328"/>
              <a:ext cx="118" cy="150"/>
            </a:xfrm>
            <a:custGeom>
              <a:avLst/>
              <a:gdLst>
                <a:gd name="T0" fmla="*/ 430 w 787"/>
                <a:gd name="T1" fmla="*/ 5 h 1010"/>
                <a:gd name="T2" fmla="*/ 411 w 787"/>
                <a:gd name="T3" fmla="*/ 0 h 1010"/>
                <a:gd name="T4" fmla="*/ 406 w 787"/>
                <a:gd name="T5" fmla="*/ 23 h 1010"/>
                <a:gd name="T6" fmla="*/ 410 w 787"/>
                <a:gd name="T7" fmla="*/ 95 h 1010"/>
                <a:gd name="T8" fmla="*/ 402 w 787"/>
                <a:gd name="T9" fmla="*/ 115 h 1010"/>
                <a:gd name="T10" fmla="*/ 378 w 787"/>
                <a:gd name="T11" fmla="*/ 148 h 1010"/>
                <a:gd name="T12" fmla="*/ 379 w 787"/>
                <a:gd name="T13" fmla="*/ 316 h 1010"/>
                <a:gd name="T14" fmla="*/ 381 w 787"/>
                <a:gd name="T15" fmla="*/ 324 h 1010"/>
                <a:gd name="T16" fmla="*/ 407 w 787"/>
                <a:gd name="T17" fmla="*/ 376 h 1010"/>
                <a:gd name="T18" fmla="*/ 414 w 787"/>
                <a:gd name="T19" fmla="*/ 455 h 1010"/>
                <a:gd name="T20" fmla="*/ 0 w 787"/>
                <a:gd name="T21" fmla="*/ 729 h 1010"/>
                <a:gd name="T22" fmla="*/ 4 w 787"/>
                <a:gd name="T23" fmla="*/ 766 h 1010"/>
                <a:gd name="T24" fmla="*/ 13 w 787"/>
                <a:gd name="T25" fmla="*/ 800 h 1010"/>
                <a:gd name="T26" fmla="*/ 82 w 787"/>
                <a:gd name="T27" fmla="*/ 927 h 1010"/>
                <a:gd name="T28" fmla="*/ 87 w 787"/>
                <a:gd name="T29" fmla="*/ 941 h 1010"/>
                <a:gd name="T30" fmla="*/ 87 w 787"/>
                <a:gd name="T31" fmla="*/ 957 h 1010"/>
                <a:gd name="T32" fmla="*/ 119 w 787"/>
                <a:gd name="T33" fmla="*/ 1010 h 1010"/>
                <a:gd name="T34" fmla="*/ 223 w 787"/>
                <a:gd name="T35" fmla="*/ 968 h 1010"/>
                <a:gd name="T36" fmla="*/ 255 w 787"/>
                <a:gd name="T37" fmla="*/ 964 h 1010"/>
                <a:gd name="T38" fmla="*/ 288 w 787"/>
                <a:gd name="T39" fmla="*/ 975 h 1010"/>
                <a:gd name="T40" fmla="*/ 304 w 787"/>
                <a:gd name="T41" fmla="*/ 973 h 1010"/>
                <a:gd name="T42" fmla="*/ 332 w 787"/>
                <a:gd name="T43" fmla="*/ 952 h 1010"/>
                <a:gd name="T44" fmla="*/ 336 w 787"/>
                <a:gd name="T45" fmla="*/ 934 h 1010"/>
                <a:gd name="T46" fmla="*/ 336 w 787"/>
                <a:gd name="T47" fmla="*/ 915 h 1010"/>
                <a:gd name="T48" fmla="*/ 341 w 787"/>
                <a:gd name="T49" fmla="*/ 888 h 1010"/>
                <a:gd name="T50" fmla="*/ 352 w 787"/>
                <a:gd name="T51" fmla="*/ 872 h 1010"/>
                <a:gd name="T52" fmla="*/ 368 w 787"/>
                <a:gd name="T53" fmla="*/ 856 h 1010"/>
                <a:gd name="T54" fmla="*/ 382 w 787"/>
                <a:gd name="T55" fmla="*/ 855 h 1010"/>
                <a:gd name="T56" fmla="*/ 411 w 787"/>
                <a:gd name="T57" fmla="*/ 856 h 1010"/>
                <a:gd name="T58" fmla="*/ 435 w 787"/>
                <a:gd name="T59" fmla="*/ 851 h 1010"/>
                <a:gd name="T60" fmla="*/ 456 w 787"/>
                <a:gd name="T61" fmla="*/ 837 h 1010"/>
                <a:gd name="T62" fmla="*/ 465 w 787"/>
                <a:gd name="T63" fmla="*/ 823 h 1010"/>
                <a:gd name="T64" fmla="*/ 471 w 787"/>
                <a:gd name="T65" fmla="*/ 793 h 1010"/>
                <a:gd name="T66" fmla="*/ 483 w 787"/>
                <a:gd name="T67" fmla="*/ 766 h 1010"/>
                <a:gd name="T68" fmla="*/ 500 w 787"/>
                <a:gd name="T69" fmla="*/ 751 h 1010"/>
                <a:gd name="T70" fmla="*/ 528 w 787"/>
                <a:gd name="T71" fmla="*/ 736 h 1010"/>
                <a:gd name="T72" fmla="*/ 574 w 787"/>
                <a:gd name="T73" fmla="*/ 731 h 1010"/>
                <a:gd name="T74" fmla="*/ 591 w 787"/>
                <a:gd name="T75" fmla="*/ 724 h 1010"/>
                <a:gd name="T76" fmla="*/ 586 w 787"/>
                <a:gd name="T77" fmla="*/ 691 h 1010"/>
                <a:gd name="T78" fmla="*/ 589 w 787"/>
                <a:gd name="T79" fmla="*/ 586 h 1010"/>
                <a:gd name="T80" fmla="*/ 600 w 787"/>
                <a:gd name="T81" fmla="*/ 557 h 1010"/>
                <a:gd name="T82" fmla="*/ 612 w 787"/>
                <a:gd name="T83" fmla="*/ 554 h 1010"/>
                <a:gd name="T84" fmla="*/ 623 w 787"/>
                <a:gd name="T85" fmla="*/ 557 h 1010"/>
                <a:gd name="T86" fmla="*/ 646 w 787"/>
                <a:gd name="T87" fmla="*/ 563 h 1010"/>
                <a:gd name="T88" fmla="*/ 658 w 787"/>
                <a:gd name="T89" fmla="*/ 556 h 1010"/>
                <a:gd name="T90" fmla="*/ 692 w 787"/>
                <a:gd name="T91" fmla="*/ 471 h 1010"/>
                <a:gd name="T92" fmla="*/ 730 w 787"/>
                <a:gd name="T93" fmla="*/ 427 h 1010"/>
                <a:gd name="T94" fmla="*/ 757 w 787"/>
                <a:gd name="T95" fmla="*/ 386 h 1010"/>
                <a:gd name="T96" fmla="*/ 787 w 787"/>
                <a:gd name="T97" fmla="*/ 328 h 1010"/>
                <a:gd name="T98" fmla="*/ 786 w 787"/>
                <a:gd name="T99" fmla="*/ 316 h 1010"/>
                <a:gd name="T100" fmla="*/ 750 w 787"/>
                <a:gd name="T101" fmla="*/ 296 h 1010"/>
                <a:gd name="T102" fmla="*/ 730 w 787"/>
                <a:gd name="T103" fmla="*/ 273 h 1010"/>
                <a:gd name="T104" fmla="*/ 668 w 787"/>
                <a:gd name="T105" fmla="*/ 183 h 1010"/>
                <a:gd name="T106" fmla="*/ 652 w 787"/>
                <a:gd name="T107" fmla="*/ 176 h 1010"/>
                <a:gd name="T108" fmla="*/ 615 w 787"/>
                <a:gd name="T109" fmla="*/ 178 h 1010"/>
                <a:gd name="T110" fmla="*/ 597 w 787"/>
                <a:gd name="T111" fmla="*/ 169 h 1010"/>
                <a:gd name="T112" fmla="*/ 523 w 787"/>
                <a:gd name="T113" fmla="*/ 118 h 1010"/>
                <a:gd name="T114" fmla="*/ 489 w 787"/>
                <a:gd name="T115" fmla="*/ 83 h 1010"/>
                <a:gd name="T116" fmla="*/ 471 w 787"/>
                <a:gd name="T117" fmla="*/ 58 h 1010"/>
                <a:gd name="T118" fmla="*/ 451 w 787"/>
                <a:gd name="T119" fmla="*/ 16 h 1010"/>
                <a:gd name="T120" fmla="*/ 451 w 787"/>
                <a:gd name="T121" fmla="*/ 3 h 1010"/>
                <a:gd name="T122" fmla="*/ 430 w 787"/>
                <a:gd name="T123" fmla="*/ 5 h 10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87"/>
                <a:gd name="T187" fmla="*/ 0 h 1010"/>
                <a:gd name="T188" fmla="*/ 787 w 787"/>
                <a:gd name="T189" fmla="*/ 1010 h 101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87" h="1010">
                  <a:moveTo>
                    <a:pt x="430" y="5"/>
                  </a:moveTo>
                  <a:lnTo>
                    <a:pt x="411" y="0"/>
                  </a:lnTo>
                  <a:lnTo>
                    <a:pt x="406" y="23"/>
                  </a:lnTo>
                  <a:lnTo>
                    <a:pt x="410" y="95"/>
                  </a:lnTo>
                  <a:lnTo>
                    <a:pt x="402" y="115"/>
                  </a:lnTo>
                  <a:lnTo>
                    <a:pt x="378" y="148"/>
                  </a:lnTo>
                  <a:lnTo>
                    <a:pt x="379" y="316"/>
                  </a:lnTo>
                  <a:lnTo>
                    <a:pt x="381" y="324"/>
                  </a:lnTo>
                  <a:lnTo>
                    <a:pt x="407" y="376"/>
                  </a:lnTo>
                  <a:lnTo>
                    <a:pt x="414" y="455"/>
                  </a:lnTo>
                  <a:lnTo>
                    <a:pt x="0" y="729"/>
                  </a:lnTo>
                  <a:lnTo>
                    <a:pt x="4" y="766"/>
                  </a:lnTo>
                  <a:lnTo>
                    <a:pt x="13" y="800"/>
                  </a:lnTo>
                  <a:lnTo>
                    <a:pt x="82" y="927"/>
                  </a:lnTo>
                  <a:lnTo>
                    <a:pt x="87" y="941"/>
                  </a:lnTo>
                  <a:lnTo>
                    <a:pt x="87" y="957"/>
                  </a:lnTo>
                  <a:lnTo>
                    <a:pt x="119" y="1010"/>
                  </a:lnTo>
                  <a:lnTo>
                    <a:pt x="223" y="968"/>
                  </a:lnTo>
                  <a:lnTo>
                    <a:pt x="255" y="964"/>
                  </a:lnTo>
                  <a:lnTo>
                    <a:pt x="288" y="975"/>
                  </a:lnTo>
                  <a:lnTo>
                    <a:pt x="304" y="973"/>
                  </a:lnTo>
                  <a:lnTo>
                    <a:pt x="332" y="952"/>
                  </a:lnTo>
                  <a:lnTo>
                    <a:pt x="336" y="934"/>
                  </a:lnTo>
                  <a:lnTo>
                    <a:pt x="336" y="915"/>
                  </a:lnTo>
                  <a:lnTo>
                    <a:pt x="341" y="888"/>
                  </a:lnTo>
                  <a:lnTo>
                    <a:pt x="352" y="872"/>
                  </a:lnTo>
                  <a:lnTo>
                    <a:pt x="368" y="856"/>
                  </a:lnTo>
                  <a:lnTo>
                    <a:pt x="382" y="855"/>
                  </a:lnTo>
                  <a:lnTo>
                    <a:pt x="411" y="856"/>
                  </a:lnTo>
                  <a:lnTo>
                    <a:pt x="435" y="851"/>
                  </a:lnTo>
                  <a:lnTo>
                    <a:pt x="456" y="837"/>
                  </a:lnTo>
                  <a:lnTo>
                    <a:pt x="465" y="823"/>
                  </a:lnTo>
                  <a:lnTo>
                    <a:pt x="471" y="793"/>
                  </a:lnTo>
                  <a:lnTo>
                    <a:pt x="483" y="766"/>
                  </a:lnTo>
                  <a:lnTo>
                    <a:pt x="500" y="751"/>
                  </a:lnTo>
                  <a:lnTo>
                    <a:pt x="528" y="736"/>
                  </a:lnTo>
                  <a:lnTo>
                    <a:pt x="574" y="731"/>
                  </a:lnTo>
                  <a:lnTo>
                    <a:pt x="591" y="724"/>
                  </a:lnTo>
                  <a:lnTo>
                    <a:pt x="586" y="691"/>
                  </a:lnTo>
                  <a:lnTo>
                    <a:pt x="589" y="586"/>
                  </a:lnTo>
                  <a:lnTo>
                    <a:pt x="600" y="557"/>
                  </a:lnTo>
                  <a:lnTo>
                    <a:pt x="612" y="554"/>
                  </a:lnTo>
                  <a:lnTo>
                    <a:pt x="623" y="557"/>
                  </a:lnTo>
                  <a:lnTo>
                    <a:pt x="646" y="563"/>
                  </a:lnTo>
                  <a:lnTo>
                    <a:pt x="658" y="556"/>
                  </a:lnTo>
                  <a:lnTo>
                    <a:pt x="692" y="471"/>
                  </a:lnTo>
                  <a:lnTo>
                    <a:pt x="730" y="427"/>
                  </a:lnTo>
                  <a:lnTo>
                    <a:pt x="757" y="386"/>
                  </a:lnTo>
                  <a:lnTo>
                    <a:pt x="787" y="328"/>
                  </a:lnTo>
                  <a:lnTo>
                    <a:pt x="786" y="316"/>
                  </a:lnTo>
                  <a:lnTo>
                    <a:pt x="750" y="296"/>
                  </a:lnTo>
                  <a:lnTo>
                    <a:pt x="730" y="273"/>
                  </a:lnTo>
                  <a:lnTo>
                    <a:pt x="668" y="183"/>
                  </a:lnTo>
                  <a:lnTo>
                    <a:pt x="652" y="176"/>
                  </a:lnTo>
                  <a:lnTo>
                    <a:pt x="615" y="178"/>
                  </a:lnTo>
                  <a:lnTo>
                    <a:pt x="597" y="169"/>
                  </a:lnTo>
                  <a:lnTo>
                    <a:pt x="523" y="118"/>
                  </a:lnTo>
                  <a:lnTo>
                    <a:pt x="489" y="83"/>
                  </a:lnTo>
                  <a:lnTo>
                    <a:pt x="471" y="58"/>
                  </a:lnTo>
                  <a:lnTo>
                    <a:pt x="451" y="16"/>
                  </a:lnTo>
                  <a:lnTo>
                    <a:pt x="451" y="3"/>
                  </a:lnTo>
                  <a:lnTo>
                    <a:pt x="430" y="5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97" name="Freeform 134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3522" y="2311"/>
              <a:ext cx="5" cy="15"/>
            </a:xfrm>
            <a:custGeom>
              <a:avLst/>
              <a:gdLst>
                <a:gd name="T0" fmla="*/ 22 w 33"/>
                <a:gd name="T1" fmla="*/ 9 h 96"/>
                <a:gd name="T2" fmla="*/ 9 w 33"/>
                <a:gd name="T3" fmla="*/ 34 h 96"/>
                <a:gd name="T4" fmla="*/ 14 w 33"/>
                <a:gd name="T5" fmla="*/ 43 h 96"/>
                <a:gd name="T6" fmla="*/ 4 w 33"/>
                <a:gd name="T7" fmla="*/ 66 h 96"/>
                <a:gd name="T8" fmla="*/ 0 w 33"/>
                <a:gd name="T9" fmla="*/ 83 h 96"/>
                <a:gd name="T10" fmla="*/ 0 w 33"/>
                <a:gd name="T11" fmla="*/ 92 h 96"/>
                <a:gd name="T12" fmla="*/ 3 w 33"/>
                <a:gd name="T13" fmla="*/ 96 h 96"/>
                <a:gd name="T14" fmla="*/ 9 w 33"/>
                <a:gd name="T15" fmla="*/ 94 h 96"/>
                <a:gd name="T16" fmla="*/ 14 w 33"/>
                <a:gd name="T17" fmla="*/ 87 h 96"/>
                <a:gd name="T18" fmla="*/ 33 w 33"/>
                <a:gd name="T19" fmla="*/ 46 h 96"/>
                <a:gd name="T20" fmla="*/ 29 w 33"/>
                <a:gd name="T21" fmla="*/ 0 h 96"/>
                <a:gd name="T22" fmla="*/ 22 w 33"/>
                <a:gd name="T23" fmla="*/ 9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3"/>
                <a:gd name="T37" fmla="*/ 0 h 96"/>
                <a:gd name="T38" fmla="*/ 33 w 33"/>
                <a:gd name="T39" fmla="*/ 96 h 9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3" h="96">
                  <a:moveTo>
                    <a:pt x="22" y="9"/>
                  </a:moveTo>
                  <a:lnTo>
                    <a:pt x="9" y="34"/>
                  </a:lnTo>
                  <a:lnTo>
                    <a:pt x="14" y="43"/>
                  </a:lnTo>
                  <a:lnTo>
                    <a:pt x="4" y="66"/>
                  </a:lnTo>
                  <a:lnTo>
                    <a:pt x="0" y="83"/>
                  </a:lnTo>
                  <a:lnTo>
                    <a:pt x="0" y="92"/>
                  </a:lnTo>
                  <a:lnTo>
                    <a:pt x="3" y="96"/>
                  </a:lnTo>
                  <a:lnTo>
                    <a:pt x="9" y="94"/>
                  </a:lnTo>
                  <a:lnTo>
                    <a:pt x="14" y="87"/>
                  </a:lnTo>
                  <a:lnTo>
                    <a:pt x="33" y="46"/>
                  </a:lnTo>
                  <a:lnTo>
                    <a:pt x="29" y="0"/>
                  </a:lnTo>
                  <a:lnTo>
                    <a:pt x="22" y="9"/>
                  </a:lnTo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98" name="Freeform 135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3523" y="1928"/>
              <a:ext cx="253" cy="178"/>
            </a:xfrm>
            <a:custGeom>
              <a:avLst/>
              <a:gdLst>
                <a:gd name="T0" fmla="*/ 107 w 1681"/>
                <a:gd name="T1" fmla="*/ 607 h 1204"/>
                <a:gd name="T2" fmla="*/ 123 w 1681"/>
                <a:gd name="T3" fmla="*/ 495 h 1204"/>
                <a:gd name="T4" fmla="*/ 195 w 1681"/>
                <a:gd name="T5" fmla="*/ 450 h 1204"/>
                <a:gd name="T6" fmla="*/ 231 w 1681"/>
                <a:gd name="T7" fmla="*/ 437 h 1204"/>
                <a:gd name="T8" fmla="*/ 303 w 1681"/>
                <a:gd name="T9" fmla="*/ 437 h 1204"/>
                <a:gd name="T10" fmla="*/ 391 w 1681"/>
                <a:gd name="T11" fmla="*/ 485 h 1204"/>
                <a:gd name="T12" fmla="*/ 405 w 1681"/>
                <a:gd name="T13" fmla="*/ 540 h 1204"/>
                <a:gd name="T14" fmla="*/ 400 w 1681"/>
                <a:gd name="T15" fmla="*/ 591 h 1204"/>
                <a:gd name="T16" fmla="*/ 509 w 1681"/>
                <a:gd name="T17" fmla="*/ 622 h 1204"/>
                <a:gd name="T18" fmla="*/ 586 w 1681"/>
                <a:gd name="T19" fmla="*/ 646 h 1204"/>
                <a:gd name="T20" fmla="*/ 630 w 1681"/>
                <a:gd name="T21" fmla="*/ 759 h 1204"/>
                <a:gd name="T22" fmla="*/ 761 w 1681"/>
                <a:gd name="T23" fmla="*/ 900 h 1204"/>
                <a:gd name="T24" fmla="*/ 935 w 1681"/>
                <a:gd name="T25" fmla="*/ 1013 h 1204"/>
                <a:gd name="T26" fmla="*/ 1021 w 1681"/>
                <a:gd name="T27" fmla="*/ 1054 h 1204"/>
                <a:gd name="T28" fmla="*/ 1036 w 1681"/>
                <a:gd name="T29" fmla="*/ 1119 h 1204"/>
                <a:gd name="T30" fmla="*/ 1130 w 1681"/>
                <a:gd name="T31" fmla="*/ 1176 h 1204"/>
                <a:gd name="T32" fmla="*/ 1175 w 1681"/>
                <a:gd name="T33" fmla="*/ 1109 h 1204"/>
                <a:gd name="T34" fmla="*/ 1211 w 1681"/>
                <a:gd name="T35" fmla="*/ 1026 h 1204"/>
                <a:gd name="T36" fmla="*/ 1192 w 1681"/>
                <a:gd name="T37" fmla="*/ 939 h 1204"/>
                <a:gd name="T38" fmla="*/ 1130 w 1681"/>
                <a:gd name="T39" fmla="*/ 902 h 1204"/>
                <a:gd name="T40" fmla="*/ 1220 w 1681"/>
                <a:gd name="T41" fmla="*/ 853 h 1204"/>
                <a:gd name="T42" fmla="*/ 1254 w 1681"/>
                <a:gd name="T43" fmla="*/ 805 h 1204"/>
                <a:gd name="T44" fmla="*/ 1246 w 1681"/>
                <a:gd name="T45" fmla="*/ 772 h 1204"/>
                <a:gd name="T46" fmla="*/ 1306 w 1681"/>
                <a:gd name="T47" fmla="*/ 750 h 1204"/>
                <a:gd name="T48" fmla="*/ 1310 w 1681"/>
                <a:gd name="T49" fmla="*/ 676 h 1204"/>
                <a:gd name="T50" fmla="*/ 1385 w 1681"/>
                <a:gd name="T51" fmla="*/ 678 h 1204"/>
                <a:gd name="T52" fmla="*/ 1446 w 1681"/>
                <a:gd name="T53" fmla="*/ 680 h 1204"/>
                <a:gd name="T54" fmla="*/ 1416 w 1681"/>
                <a:gd name="T55" fmla="*/ 735 h 1204"/>
                <a:gd name="T56" fmla="*/ 1467 w 1681"/>
                <a:gd name="T57" fmla="*/ 756 h 1204"/>
                <a:gd name="T58" fmla="*/ 1504 w 1681"/>
                <a:gd name="T59" fmla="*/ 747 h 1204"/>
                <a:gd name="T60" fmla="*/ 1564 w 1681"/>
                <a:gd name="T61" fmla="*/ 754 h 1204"/>
                <a:gd name="T62" fmla="*/ 1612 w 1681"/>
                <a:gd name="T63" fmla="*/ 726 h 1204"/>
                <a:gd name="T64" fmla="*/ 1641 w 1681"/>
                <a:gd name="T65" fmla="*/ 712 h 1204"/>
                <a:gd name="T66" fmla="*/ 1630 w 1681"/>
                <a:gd name="T67" fmla="*/ 666 h 1204"/>
                <a:gd name="T68" fmla="*/ 1589 w 1681"/>
                <a:gd name="T69" fmla="*/ 639 h 1204"/>
                <a:gd name="T70" fmla="*/ 1552 w 1681"/>
                <a:gd name="T71" fmla="*/ 594 h 1204"/>
                <a:gd name="T72" fmla="*/ 1526 w 1681"/>
                <a:gd name="T73" fmla="*/ 607 h 1204"/>
                <a:gd name="T74" fmla="*/ 1454 w 1681"/>
                <a:gd name="T75" fmla="*/ 610 h 1204"/>
                <a:gd name="T76" fmla="*/ 1417 w 1681"/>
                <a:gd name="T77" fmla="*/ 584 h 1204"/>
                <a:gd name="T78" fmla="*/ 1428 w 1681"/>
                <a:gd name="T79" fmla="*/ 534 h 1204"/>
                <a:gd name="T80" fmla="*/ 1466 w 1681"/>
                <a:gd name="T81" fmla="*/ 506 h 1204"/>
                <a:gd name="T82" fmla="*/ 1450 w 1681"/>
                <a:gd name="T83" fmla="*/ 478 h 1204"/>
                <a:gd name="T84" fmla="*/ 1372 w 1681"/>
                <a:gd name="T85" fmla="*/ 545 h 1204"/>
                <a:gd name="T86" fmla="*/ 1274 w 1681"/>
                <a:gd name="T87" fmla="*/ 623 h 1204"/>
                <a:gd name="T88" fmla="*/ 1235 w 1681"/>
                <a:gd name="T89" fmla="*/ 699 h 1204"/>
                <a:gd name="T90" fmla="*/ 1187 w 1681"/>
                <a:gd name="T91" fmla="*/ 643 h 1204"/>
                <a:gd name="T92" fmla="*/ 1056 w 1681"/>
                <a:gd name="T93" fmla="*/ 627 h 1204"/>
                <a:gd name="T94" fmla="*/ 993 w 1681"/>
                <a:gd name="T95" fmla="*/ 434 h 1204"/>
                <a:gd name="T96" fmla="*/ 909 w 1681"/>
                <a:gd name="T97" fmla="*/ 310 h 1204"/>
                <a:gd name="T98" fmla="*/ 593 w 1681"/>
                <a:gd name="T99" fmla="*/ 300 h 1204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681"/>
                <a:gd name="T151" fmla="*/ 0 h 1204"/>
                <a:gd name="T152" fmla="*/ 1681 w 1681"/>
                <a:gd name="T153" fmla="*/ 1204 h 1204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681" h="1204">
                  <a:moveTo>
                    <a:pt x="252" y="0"/>
                  </a:moveTo>
                  <a:lnTo>
                    <a:pt x="1" y="84"/>
                  </a:lnTo>
                  <a:lnTo>
                    <a:pt x="0" y="605"/>
                  </a:lnTo>
                  <a:lnTo>
                    <a:pt x="107" y="607"/>
                  </a:lnTo>
                  <a:lnTo>
                    <a:pt x="111" y="587"/>
                  </a:lnTo>
                  <a:lnTo>
                    <a:pt x="98" y="561"/>
                  </a:lnTo>
                  <a:lnTo>
                    <a:pt x="100" y="522"/>
                  </a:lnTo>
                  <a:lnTo>
                    <a:pt x="123" y="495"/>
                  </a:lnTo>
                  <a:lnTo>
                    <a:pt x="145" y="480"/>
                  </a:lnTo>
                  <a:lnTo>
                    <a:pt x="173" y="480"/>
                  </a:lnTo>
                  <a:lnTo>
                    <a:pt x="185" y="473"/>
                  </a:lnTo>
                  <a:lnTo>
                    <a:pt x="195" y="450"/>
                  </a:lnTo>
                  <a:lnTo>
                    <a:pt x="200" y="443"/>
                  </a:lnTo>
                  <a:lnTo>
                    <a:pt x="213" y="443"/>
                  </a:lnTo>
                  <a:lnTo>
                    <a:pt x="239" y="460"/>
                  </a:lnTo>
                  <a:lnTo>
                    <a:pt x="231" y="437"/>
                  </a:lnTo>
                  <a:lnTo>
                    <a:pt x="219" y="421"/>
                  </a:lnTo>
                  <a:lnTo>
                    <a:pt x="254" y="407"/>
                  </a:lnTo>
                  <a:lnTo>
                    <a:pt x="274" y="413"/>
                  </a:lnTo>
                  <a:lnTo>
                    <a:pt x="303" y="437"/>
                  </a:lnTo>
                  <a:lnTo>
                    <a:pt x="317" y="439"/>
                  </a:lnTo>
                  <a:lnTo>
                    <a:pt x="326" y="458"/>
                  </a:lnTo>
                  <a:lnTo>
                    <a:pt x="381" y="471"/>
                  </a:lnTo>
                  <a:lnTo>
                    <a:pt x="391" y="485"/>
                  </a:lnTo>
                  <a:lnTo>
                    <a:pt x="393" y="497"/>
                  </a:lnTo>
                  <a:lnTo>
                    <a:pt x="393" y="511"/>
                  </a:lnTo>
                  <a:lnTo>
                    <a:pt x="412" y="529"/>
                  </a:lnTo>
                  <a:lnTo>
                    <a:pt x="405" y="540"/>
                  </a:lnTo>
                  <a:lnTo>
                    <a:pt x="403" y="552"/>
                  </a:lnTo>
                  <a:lnTo>
                    <a:pt x="410" y="566"/>
                  </a:lnTo>
                  <a:lnTo>
                    <a:pt x="405" y="577"/>
                  </a:lnTo>
                  <a:lnTo>
                    <a:pt x="400" y="591"/>
                  </a:lnTo>
                  <a:lnTo>
                    <a:pt x="431" y="610"/>
                  </a:lnTo>
                  <a:lnTo>
                    <a:pt x="444" y="622"/>
                  </a:lnTo>
                  <a:lnTo>
                    <a:pt x="485" y="612"/>
                  </a:lnTo>
                  <a:lnTo>
                    <a:pt x="509" y="622"/>
                  </a:lnTo>
                  <a:lnTo>
                    <a:pt x="529" y="618"/>
                  </a:lnTo>
                  <a:lnTo>
                    <a:pt x="538" y="607"/>
                  </a:lnTo>
                  <a:lnTo>
                    <a:pt x="577" y="623"/>
                  </a:lnTo>
                  <a:lnTo>
                    <a:pt x="586" y="646"/>
                  </a:lnTo>
                  <a:lnTo>
                    <a:pt x="591" y="682"/>
                  </a:lnTo>
                  <a:lnTo>
                    <a:pt x="610" y="720"/>
                  </a:lnTo>
                  <a:lnTo>
                    <a:pt x="623" y="731"/>
                  </a:lnTo>
                  <a:lnTo>
                    <a:pt x="630" y="759"/>
                  </a:lnTo>
                  <a:lnTo>
                    <a:pt x="630" y="777"/>
                  </a:lnTo>
                  <a:lnTo>
                    <a:pt x="690" y="837"/>
                  </a:lnTo>
                  <a:lnTo>
                    <a:pt x="744" y="874"/>
                  </a:lnTo>
                  <a:lnTo>
                    <a:pt x="761" y="900"/>
                  </a:lnTo>
                  <a:lnTo>
                    <a:pt x="804" y="932"/>
                  </a:lnTo>
                  <a:lnTo>
                    <a:pt x="820" y="927"/>
                  </a:lnTo>
                  <a:lnTo>
                    <a:pt x="861" y="964"/>
                  </a:lnTo>
                  <a:lnTo>
                    <a:pt x="935" y="1013"/>
                  </a:lnTo>
                  <a:lnTo>
                    <a:pt x="951" y="1029"/>
                  </a:lnTo>
                  <a:lnTo>
                    <a:pt x="972" y="1026"/>
                  </a:lnTo>
                  <a:lnTo>
                    <a:pt x="998" y="1036"/>
                  </a:lnTo>
                  <a:lnTo>
                    <a:pt x="1021" y="1054"/>
                  </a:lnTo>
                  <a:lnTo>
                    <a:pt x="1044" y="1061"/>
                  </a:lnTo>
                  <a:lnTo>
                    <a:pt x="1040" y="1073"/>
                  </a:lnTo>
                  <a:lnTo>
                    <a:pt x="1035" y="1089"/>
                  </a:lnTo>
                  <a:lnTo>
                    <a:pt x="1036" y="1119"/>
                  </a:lnTo>
                  <a:lnTo>
                    <a:pt x="1033" y="1163"/>
                  </a:lnTo>
                  <a:lnTo>
                    <a:pt x="1037" y="1165"/>
                  </a:lnTo>
                  <a:lnTo>
                    <a:pt x="1119" y="1168"/>
                  </a:lnTo>
                  <a:lnTo>
                    <a:pt x="1130" y="1176"/>
                  </a:lnTo>
                  <a:lnTo>
                    <a:pt x="1146" y="1204"/>
                  </a:lnTo>
                  <a:lnTo>
                    <a:pt x="1162" y="1154"/>
                  </a:lnTo>
                  <a:lnTo>
                    <a:pt x="1159" y="1131"/>
                  </a:lnTo>
                  <a:lnTo>
                    <a:pt x="1175" y="1109"/>
                  </a:lnTo>
                  <a:lnTo>
                    <a:pt x="1187" y="1077"/>
                  </a:lnTo>
                  <a:lnTo>
                    <a:pt x="1209" y="1056"/>
                  </a:lnTo>
                  <a:lnTo>
                    <a:pt x="1217" y="1043"/>
                  </a:lnTo>
                  <a:lnTo>
                    <a:pt x="1211" y="1026"/>
                  </a:lnTo>
                  <a:lnTo>
                    <a:pt x="1191" y="1006"/>
                  </a:lnTo>
                  <a:lnTo>
                    <a:pt x="1186" y="982"/>
                  </a:lnTo>
                  <a:lnTo>
                    <a:pt x="1187" y="953"/>
                  </a:lnTo>
                  <a:lnTo>
                    <a:pt x="1192" y="939"/>
                  </a:lnTo>
                  <a:lnTo>
                    <a:pt x="1187" y="925"/>
                  </a:lnTo>
                  <a:lnTo>
                    <a:pt x="1151" y="923"/>
                  </a:lnTo>
                  <a:lnTo>
                    <a:pt x="1144" y="914"/>
                  </a:lnTo>
                  <a:lnTo>
                    <a:pt x="1130" y="902"/>
                  </a:lnTo>
                  <a:lnTo>
                    <a:pt x="1119" y="884"/>
                  </a:lnTo>
                  <a:lnTo>
                    <a:pt x="1123" y="856"/>
                  </a:lnTo>
                  <a:lnTo>
                    <a:pt x="1144" y="839"/>
                  </a:lnTo>
                  <a:lnTo>
                    <a:pt x="1220" y="853"/>
                  </a:lnTo>
                  <a:lnTo>
                    <a:pt x="1232" y="840"/>
                  </a:lnTo>
                  <a:lnTo>
                    <a:pt x="1235" y="816"/>
                  </a:lnTo>
                  <a:lnTo>
                    <a:pt x="1246" y="805"/>
                  </a:lnTo>
                  <a:lnTo>
                    <a:pt x="1254" y="805"/>
                  </a:lnTo>
                  <a:lnTo>
                    <a:pt x="1256" y="784"/>
                  </a:lnTo>
                  <a:lnTo>
                    <a:pt x="1274" y="777"/>
                  </a:lnTo>
                  <a:lnTo>
                    <a:pt x="1270" y="770"/>
                  </a:lnTo>
                  <a:lnTo>
                    <a:pt x="1246" y="772"/>
                  </a:lnTo>
                  <a:lnTo>
                    <a:pt x="1235" y="765"/>
                  </a:lnTo>
                  <a:lnTo>
                    <a:pt x="1282" y="752"/>
                  </a:lnTo>
                  <a:lnTo>
                    <a:pt x="1303" y="759"/>
                  </a:lnTo>
                  <a:lnTo>
                    <a:pt x="1306" y="750"/>
                  </a:lnTo>
                  <a:lnTo>
                    <a:pt x="1307" y="729"/>
                  </a:lnTo>
                  <a:lnTo>
                    <a:pt x="1298" y="710"/>
                  </a:lnTo>
                  <a:lnTo>
                    <a:pt x="1311" y="690"/>
                  </a:lnTo>
                  <a:lnTo>
                    <a:pt x="1310" y="676"/>
                  </a:lnTo>
                  <a:lnTo>
                    <a:pt x="1325" y="676"/>
                  </a:lnTo>
                  <a:lnTo>
                    <a:pt x="1346" y="699"/>
                  </a:lnTo>
                  <a:lnTo>
                    <a:pt x="1356" y="690"/>
                  </a:lnTo>
                  <a:lnTo>
                    <a:pt x="1385" y="678"/>
                  </a:lnTo>
                  <a:lnTo>
                    <a:pt x="1407" y="657"/>
                  </a:lnTo>
                  <a:lnTo>
                    <a:pt x="1417" y="641"/>
                  </a:lnTo>
                  <a:lnTo>
                    <a:pt x="1436" y="664"/>
                  </a:lnTo>
                  <a:lnTo>
                    <a:pt x="1446" y="680"/>
                  </a:lnTo>
                  <a:lnTo>
                    <a:pt x="1440" y="694"/>
                  </a:lnTo>
                  <a:lnTo>
                    <a:pt x="1421" y="715"/>
                  </a:lnTo>
                  <a:lnTo>
                    <a:pt x="1409" y="724"/>
                  </a:lnTo>
                  <a:lnTo>
                    <a:pt x="1416" y="735"/>
                  </a:lnTo>
                  <a:lnTo>
                    <a:pt x="1426" y="740"/>
                  </a:lnTo>
                  <a:lnTo>
                    <a:pt x="1434" y="757"/>
                  </a:lnTo>
                  <a:lnTo>
                    <a:pt x="1453" y="754"/>
                  </a:lnTo>
                  <a:lnTo>
                    <a:pt x="1467" y="756"/>
                  </a:lnTo>
                  <a:lnTo>
                    <a:pt x="1470" y="749"/>
                  </a:lnTo>
                  <a:lnTo>
                    <a:pt x="1483" y="754"/>
                  </a:lnTo>
                  <a:lnTo>
                    <a:pt x="1494" y="749"/>
                  </a:lnTo>
                  <a:lnTo>
                    <a:pt x="1504" y="747"/>
                  </a:lnTo>
                  <a:lnTo>
                    <a:pt x="1531" y="759"/>
                  </a:lnTo>
                  <a:lnTo>
                    <a:pt x="1543" y="768"/>
                  </a:lnTo>
                  <a:lnTo>
                    <a:pt x="1552" y="756"/>
                  </a:lnTo>
                  <a:lnTo>
                    <a:pt x="1564" y="754"/>
                  </a:lnTo>
                  <a:lnTo>
                    <a:pt x="1575" y="742"/>
                  </a:lnTo>
                  <a:lnTo>
                    <a:pt x="1589" y="729"/>
                  </a:lnTo>
                  <a:lnTo>
                    <a:pt x="1596" y="726"/>
                  </a:lnTo>
                  <a:lnTo>
                    <a:pt x="1612" y="726"/>
                  </a:lnTo>
                  <a:lnTo>
                    <a:pt x="1612" y="717"/>
                  </a:lnTo>
                  <a:lnTo>
                    <a:pt x="1608" y="706"/>
                  </a:lnTo>
                  <a:lnTo>
                    <a:pt x="1618" y="710"/>
                  </a:lnTo>
                  <a:lnTo>
                    <a:pt x="1641" y="712"/>
                  </a:lnTo>
                  <a:lnTo>
                    <a:pt x="1658" y="692"/>
                  </a:lnTo>
                  <a:lnTo>
                    <a:pt x="1681" y="678"/>
                  </a:lnTo>
                  <a:lnTo>
                    <a:pt x="1674" y="671"/>
                  </a:lnTo>
                  <a:lnTo>
                    <a:pt x="1630" y="666"/>
                  </a:lnTo>
                  <a:lnTo>
                    <a:pt x="1618" y="653"/>
                  </a:lnTo>
                  <a:lnTo>
                    <a:pt x="1605" y="643"/>
                  </a:lnTo>
                  <a:lnTo>
                    <a:pt x="1591" y="645"/>
                  </a:lnTo>
                  <a:lnTo>
                    <a:pt x="1589" y="639"/>
                  </a:lnTo>
                  <a:lnTo>
                    <a:pt x="1586" y="623"/>
                  </a:lnTo>
                  <a:lnTo>
                    <a:pt x="1579" y="625"/>
                  </a:lnTo>
                  <a:lnTo>
                    <a:pt x="1563" y="623"/>
                  </a:lnTo>
                  <a:lnTo>
                    <a:pt x="1552" y="594"/>
                  </a:lnTo>
                  <a:lnTo>
                    <a:pt x="1543" y="584"/>
                  </a:lnTo>
                  <a:lnTo>
                    <a:pt x="1534" y="578"/>
                  </a:lnTo>
                  <a:lnTo>
                    <a:pt x="1534" y="594"/>
                  </a:lnTo>
                  <a:lnTo>
                    <a:pt x="1526" y="607"/>
                  </a:lnTo>
                  <a:lnTo>
                    <a:pt x="1515" y="603"/>
                  </a:lnTo>
                  <a:lnTo>
                    <a:pt x="1514" y="629"/>
                  </a:lnTo>
                  <a:lnTo>
                    <a:pt x="1470" y="629"/>
                  </a:lnTo>
                  <a:lnTo>
                    <a:pt x="1454" y="610"/>
                  </a:lnTo>
                  <a:lnTo>
                    <a:pt x="1446" y="596"/>
                  </a:lnTo>
                  <a:lnTo>
                    <a:pt x="1442" y="582"/>
                  </a:lnTo>
                  <a:lnTo>
                    <a:pt x="1423" y="592"/>
                  </a:lnTo>
                  <a:lnTo>
                    <a:pt x="1417" y="584"/>
                  </a:lnTo>
                  <a:lnTo>
                    <a:pt x="1391" y="577"/>
                  </a:lnTo>
                  <a:lnTo>
                    <a:pt x="1392" y="570"/>
                  </a:lnTo>
                  <a:lnTo>
                    <a:pt x="1418" y="545"/>
                  </a:lnTo>
                  <a:lnTo>
                    <a:pt x="1428" y="534"/>
                  </a:lnTo>
                  <a:lnTo>
                    <a:pt x="1441" y="524"/>
                  </a:lnTo>
                  <a:lnTo>
                    <a:pt x="1454" y="520"/>
                  </a:lnTo>
                  <a:lnTo>
                    <a:pt x="1457" y="508"/>
                  </a:lnTo>
                  <a:lnTo>
                    <a:pt x="1466" y="506"/>
                  </a:lnTo>
                  <a:lnTo>
                    <a:pt x="1498" y="483"/>
                  </a:lnTo>
                  <a:lnTo>
                    <a:pt x="1479" y="469"/>
                  </a:lnTo>
                  <a:lnTo>
                    <a:pt x="1465" y="476"/>
                  </a:lnTo>
                  <a:lnTo>
                    <a:pt x="1450" y="478"/>
                  </a:lnTo>
                  <a:lnTo>
                    <a:pt x="1433" y="503"/>
                  </a:lnTo>
                  <a:lnTo>
                    <a:pt x="1421" y="494"/>
                  </a:lnTo>
                  <a:lnTo>
                    <a:pt x="1411" y="497"/>
                  </a:lnTo>
                  <a:lnTo>
                    <a:pt x="1372" y="545"/>
                  </a:lnTo>
                  <a:lnTo>
                    <a:pt x="1339" y="557"/>
                  </a:lnTo>
                  <a:lnTo>
                    <a:pt x="1297" y="582"/>
                  </a:lnTo>
                  <a:lnTo>
                    <a:pt x="1285" y="592"/>
                  </a:lnTo>
                  <a:lnTo>
                    <a:pt x="1274" y="623"/>
                  </a:lnTo>
                  <a:lnTo>
                    <a:pt x="1256" y="636"/>
                  </a:lnTo>
                  <a:lnTo>
                    <a:pt x="1233" y="662"/>
                  </a:lnTo>
                  <a:lnTo>
                    <a:pt x="1241" y="689"/>
                  </a:lnTo>
                  <a:lnTo>
                    <a:pt x="1235" y="699"/>
                  </a:lnTo>
                  <a:lnTo>
                    <a:pt x="1207" y="699"/>
                  </a:lnTo>
                  <a:lnTo>
                    <a:pt x="1187" y="678"/>
                  </a:lnTo>
                  <a:lnTo>
                    <a:pt x="1188" y="660"/>
                  </a:lnTo>
                  <a:lnTo>
                    <a:pt x="1187" y="643"/>
                  </a:lnTo>
                  <a:lnTo>
                    <a:pt x="1167" y="623"/>
                  </a:lnTo>
                  <a:lnTo>
                    <a:pt x="1151" y="623"/>
                  </a:lnTo>
                  <a:lnTo>
                    <a:pt x="1077" y="631"/>
                  </a:lnTo>
                  <a:lnTo>
                    <a:pt x="1056" y="627"/>
                  </a:lnTo>
                  <a:lnTo>
                    <a:pt x="1030" y="508"/>
                  </a:lnTo>
                  <a:lnTo>
                    <a:pt x="986" y="508"/>
                  </a:lnTo>
                  <a:lnTo>
                    <a:pt x="984" y="460"/>
                  </a:lnTo>
                  <a:lnTo>
                    <a:pt x="993" y="434"/>
                  </a:lnTo>
                  <a:lnTo>
                    <a:pt x="993" y="368"/>
                  </a:lnTo>
                  <a:lnTo>
                    <a:pt x="965" y="388"/>
                  </a:lnTo>
                  <a:lnTo>
                    <a:pt x="935" y="324"/>
                  </a:lnTo>
                  <a:lnTo>
                    <a:pt x="909" y="310"/>
                  </a:lnTo>
                  <a:lnTo>
                    <a:pt x="877" y="264"/>
                  </a:lnTo>
                  <a:lnTo>
                    <a:pt x="828" y="291"/>
                  </a:lnTo>
                  <a:lnTo>
                    <a:pt x="706" y="278"/>
                  </a:lnTo>
                  <a:lnTo>
                    <a:pt x="593" y="300"/>
                  </a:lnTo>
                  <a:lnTo>
                    <a:pt x="504" y="194"/>
                  </a:lnTo>
                  <a:lnTo>
                    <a:pt x="252" y="0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299" name="Freeform 136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3288" y="1969"/>
              <a:ext cx="98" cy="53"/>
            </a:xfrm>
            <a:custGeom>
              <a:avLst/>
              <a:gdLst>
                <a:gd name="T0" fmla="*/ 17 w 659"/>
                <a:gd name="T1" fmla="*/ 0 h 357"/>
                <a:gd name="T2" fmla="*/ 0 w 659"/>
                <a:gd name="T3" fmla="*/ 30 h 357"/>
                <a:gd name="T4" fmla="*/ 45 w 659"/>
                <a:gd name="T5" fmla="*/ 63 h 357"/>
                <a:gd name="T6" fmla="*/ 99 w 659"/>
                <a:gd name="T7" fmla="*/ 81 h 357"/>
                <a:gd name="T8" fmla="*/ 138 w 659"/>
                <a:gd name="T9" fmla="*/ 139 h 357"/>
                <a:gd name="T10" fmla="*/ 155 w 659"/>
                <a:gd name="T11" fmla="*/ 254 h 357"/>
                <a:gd name="T12" fmla="*/ 140 w 659"/>
                <a:gd name="T13" fmla="*/ 299 h 357"/>
                <a:gd name="T14" fmla="*/ 211 w 659"/>
                <a:gd name="T15" fmla="*/ 312 h 357"/>
                <a:gd name="T16" fmla="*/ 254 w 659"/>
                <a:gd name="T17" fmla="*/ 285 h 357"/>
                <a:gd name="T18" fmla="*/ 332 w 659"/>
                <a:gd name="T19" fmla="*/ 355 h 357"/>
                <a:gd name="T20" fmla="*/ 363 w 659"/>
                <a:gd name="T21" fmla="*/ 350 h 357"/>
                <a:gd name="T22" fmla="*/ 395 w 659"/>
                <a:gd name="T23" fmla="*/ 341 h 357"/>
                <a:gd name="T24" fmla="*/ 439 w 659"/>
                <a:gd name="T25" fmla="*/ 337 h 357"/>
                <a:gd name="T26" fmla="*/ 494 w 659"/>
                <a:gd name="T27" fmla="*/ 322 h 357"/>
                <a:gd name="T28" fmla="*/ 544 w 659"/>
                <a:gd name="T29" fmla="*/ 303 h 357"/>
                <a:gd name="T30" fmla="*/ 567 w 659"/>
                <a:gd name="T31" fmla="*/ 329 h 357"/>
                <a:gd name="T32" fmla="*/ 608 w 659"/>
                <a:gd name="T33" fmla="*/ 339 h 357"/>
                <a:gd name="T34" fmla="*/ 622 w 659"/>
                <a:gd name="T35" fmla="*/ 345 h 357"/>
                <a:gd name="T36" fmla="*/ 643 w 659"/>
                <a:gd name="T37" fmla="*/ 353 h 357"/>
                <a:gd name="T38" fmla="*/ 659 w 659"/>
                <a:gd name="T39" fmla="*/ 326 h 357"/>
                <a:gd name="T40" fmla="*/ 626 w 659"/>
                <a:gd name="T41" fmla="*/ 303 h 357"/>
                <a:gd name="T42" fmla="*/ 611 w 659"/>
                <a:gd name="T43" fmla="*/ 266 h 357"/>
                <a:gd name="T44" fmla="*/ 622 w 659"/>
                <a:gd name="T45" fmla="*/ 254 h 357"/>
                <a:gd name="T46" fmla="*/ 627 w 659"/>
                <a:gd name="T47" fmla="*/ 229 h 357"/>
                <a:gd name="T48" fmla="*/ 606 w 659"/>
                <a:gd name="T49" fmla="*/ 227 h 357"/>
                <a:gd name="T50" fmla="*/ 569 w 659"/>
                <a:gd name="T51" fmla="*/ 208 h 357"/>
                <a:gd name="T52" fmla="*/ 559 w 659"/>
                <a:gd name="T53" fmla="*/ 169 h 357"/>
                <a:gd name="T54" fmla="*/ 559 w 659"/>
                <a:gd name="T55" fmla="*/ 149 h 357"/>
                <a:gd name="T56" fmla="*/ 518 w 659"/>
                <a:gd name="T57" fmla="*/ 137 h 357"/>
                <a:gd name="T58" fmla="*/ 500 w 659"/>
                <a:gd name="T59" fmla="*/ 130 h 357"/>
                <a:gd name="T60" fmla="*/ 483 w 659"/>
                <a:gd name="T61" fmla="*/ 116 h 357"/>
                <a:gd name="T62" fmla="*/ 475 w 659"/>
                <a:gd name="T63" fmla="*/ 119 h 357"/>
                <a:gd name="T64" fmla="*/ 459 w 659"/>
                <a:gd name="T65" fmla="*/ 121 h 357"/>
                <a:gd name="T66" fmla="*/ 432 w 659"/>
                <a:gd name="T67" fmla="*/ 118 h 357"/>
                <a:gd name="T68" fmla="*/ 412 w 659"/>
                <a:gd name="T69" fmla="*/ 139 h 357"/>
                <a:gd name="T70" fmla="*/ 388 w 659"/>
                <a:gd name="T71" fmla="*/ 146 h 357"/>
                <a:gd name="T72" fmla="*/ 369 w 659"/>
                <a:gd name="T73" fmla="*/ 127 h 357"/>
                <a:gd name="T74" fmla="*/ 352 w 659"/>
                <a:gd name="T75" fmla="*/ 104 h 357"/>
                <a:gd name="T76" fmla="*/ 314 w 659"/>
                <a:gd name="T77" fmla="*/ 91 h 357"/>
                <a:gd name="T78" fmla="*/ 295 w 659"/>
                <a:gd name="T79" fmla="*/ 68 h 357"/>
                <a:gd name="T80" fmla="*/ 267 w 659"/>
                <a:gd name="T81" fmla="*/ 61 h 357"/>
                <a:gd name="T82" fmla="*/ 242 w 659"/>
                <a:gd name="T83" fmla="*/ 51 h 357"/>
                <a:gd name="T84" fmla="*/ 199 w 659"/>
                <a:gd name="T85" fmla="*/ 58 h 357"/>
                <a:gd name="T86" fmla="*/ 169 w 659"/>
                <a:gd name="T87" fmla="*/ 54 h 357"/>
                <a:gd name="T88" fmla="*/ 135 w 659"/>
                <a:gd name="T89" fmla="*/ 33 h 357"/>
                <a:gd name="T90" fmla="*/ 103 w 659"/>
                <a:gd name="T91" fmla="*/ 30 h 357"/>
                <a:gd name="T92" fmla="*/ 32 w 659"/>
                <a:gd name="T93" fmla="*/ 7 h 35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659"/>
                <a:gd name="T142" fmla="*/ 0 h 357"/>
                <a:gd name="T143" fmla="*/ 659 w 659"/>
                <a:gd name="T144" fmla="*/ 357 h 35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659" h="357">
                  <a:moveTo>
                    <a:pt x="29" y="3"/>
                  </a:moveTo>
                  <a:lnTo>
                    <a:pt x="17" y="0"/>
                  </a:lnTo>
                  <a:lnTo>
                    <a:pt x="5" y="10"/>
                  </a:lnTo>
                  <a:lnTo>
                    <a:pt x="0" y="30"/>
                  </a:lnTo>
                  <a:lnTo>
                    <a:pt x="15" y="45"/>
                  </a:lnTo>
                  <a:lnTo>
                    <a:pt x="45" y="63"/>
                  </a:lnTo>
                  <a:lnTo>
                    <a:pt x="85" y="72"/>
                  </a:lnTo>
                  <a:lnTo>
                    <a:pt x="99" y="81"/>
                  </a:lnTo>
                  <a:lnTo>
                    <a:pt x="128" y="114"/>
                  </a:lnTo>
                  <a:lnTo>
                    <a:pt x="138" y="139"/>
                  </a:lnTo>
                  <a:lnTo>
                    <a:pt x="151" y="208"/>
                  </a:lnTo>
                  <a:lnTo>
                    <a:pt x="155" y="254"/>
                  </a:lnTo>
                  <a:lnTo>
                    <a:pt x="153" y="262"/>
                  </a:lnTo>
                  <a:lnTo>
                    <a:pt x="140" y="299"/>
                  </a:lnTo>
                  <a:lnTo>
                    <a:pt x="135" y="303"/>
                  </a:lnTo>
                  <a:lnTo>
                    <a:pt x="211" y="312"/>
                  </a:lnTo>
                  <a:lnTo>
                    <a:pt x="221" y="308"/>
                  </a:lnTo>
                  <a:lnTo>
                    <a:pt x="254" y="285"/>
                  </a:lnTo>
                  <a:lnTo>
                    <a:pt x="273" y="287"/>
                  </a:lnTo>
                  <a:lnTo>
                    <a:pt x="332" y="355"/>
                  </a:lnTo>
                  <a:lnTo>
                    <a:pt x="348" y="348"/>
                  </a:lnTo>
                  <a:lnTo>
                    <a:pt x="363" y="350"/>
                  </a:lnTo>
                  <a:lnTo>
                    <a:pt x="376" y="343"/>
                  </a:lnTo>
                  <a:lnTo>
                    <a:pt x="395" y="341"/>
                  </a:lnTo>
                  <a:lnTo>
                    <a:pt x="413" y="334"/>
                  </a:lnTo>
                  <a:lnTo>
                    <a:pt x="439" y="337"/>
                  </a:lnTo>
                  <a:lnTo>
                    <a:pt x="482" y="328"/>
                  </a:lnTo>
                  <a:lnTo>
                    <a:pt x="494" y="322"/>
                  </a:lnTo>
                  <a:lnTo>
                    <a:pt x="514" y="303"/>
                  </a:lnTo>
                  <a:lnTo>
                    <a:pt x="544" y="303"/>
                  </a:lnTo>
                  <a:lnTo>
                    <a:pt x="559" y="315"/>
                  </a:lnTo>
                  <a:lnTo>
                    <a:pt x="567" y="329"/>
                  </a:lnTo>
                  <a:lnTo>
                    <a:pt x="594" y="341"/>
                  </a:lnTo>
                  <a:lnTo>
                    <a:pt x="608" y="339"/>
                  </a:lnTo>
                  <a:lnTo>
                    <a:pt x="616" y="341"/>
                  </a:lnTo>
                  <a:lnTo>
                    <a:pt x="622" y="345"/>
                  </a:lnTo>
                  <a:lnTo>
                    <a:pt x="633" y="357"/>
                  </a:lnTo>
                  <a:lnTo>
                    <a:pt x="643" y="353"/>
                  </a:lnTo>
                  <a:lnTo>
                    <a:pt x="654" y="348"/>
                  </a:lnTo>
                  <a:lnTo>
                    <a:pt x="659" y="326"/>
                  </a:lnTo>
                  <a:lnTo>
                    <a:pt x="654" y="312"/>
                  </a:lnTo>
                  <a:lnTo>
                    <a:pt x="626" y="303"/>
                  </a:lnTo>
                  <a:lnTo>
                    <a:pt x="617" y="284"/>
                  </a:lnTo>
                  <a:lnTo>
                    <a:pt x="611" y="266"/>
                  </a:lnTo>
                  <a:lnTo>
                    <a:pt x="616" y="262"/>
                  </a:lnTo>
                  <a:lnTo>
                    <a:pt x="622" y="254"/>
                  </a:lnTo>
                  <a:lnTo>
                    <a:pt x="633" y="241"/>
                  </a:lnTo>
                  <a:lnTo>
                    <a:pt x="627" y="229"/>
                  </a:lnTo>
                  <a:lnTo>
                    <a:pt x="617" y="225"/>
                  </a:lnTo>
                  <a:lnTo>
                    <a:pt x="606" y="227"/>
                  </a:lnTo>
                  <a:lnTo>
                    <a:pt x="583" y="218"/>
                  </a:lnTo>
                  <a:lnTo>
                    <a:pt x="569" y="208"/>
                  </a:lnTo>
                  <a:lnTo>
                    <a:pt x="555" y="188"/>
                  </a:lnTo>
                  <a:lnTo>
                    <a:pt x="559" y="169"/>
                  </a:lnTo>
                  <a:lnTo>
                    <a:pt x="565" y="158"/>
                  </a:lnTo>
                  <a:lnTo>
                    <a:pt x="559" y="149"/>
                  </a:lnTo>
                  <a:lnTo>
                    <a:pt x="527" y="148"/>
                  </a:lnTo>
                  <a:lnTo>
                    <a:pt x="518" y="137"/>
                  </a:lnTo>
                  <a:lnTo>
                    <a:pt x="511" y="130"/>
                  </a:lnTo>
                  <a:lnTo>
                    <a:pt x="500" y="130"/>
                  </a:lnTo>
                  <a:lnTo>
                    <a:pt x="494" y="123"/>
                  </a:lnTo>
                  <a:lnTo>
                    <a:pt x="483" y="116"/>
                  </a:lnTo>
                  <a:lnTo>
                    <a:pt x="478" y="116"/>
                  </a:lnTo>
                  <a:lnTo>
                    <a:pt x="475" y="119"/>
                  </a:lnTo>
                  <a:lnTo>
                    <a:pt x="467" y="130"/>
                  </a:lnTo>
                  <a:lnTo>
                    <a:pt x="459" y="121"/>
                  </a:lnTo>
                  <a:lnTo>
                    <a:pt x="449" y="118"/>
                  </a:lnTo>
                  <a:lnTo>
                    <a:pt x="432" y="118"/>
                  </a:lnTo>
                  <a:lnTo>
                    <a:pt x="422" y="121"/>
                  </a:lnTo>
                  <a:lnTo>
                    <a:pt x="412" y="139"/>
                  </a:lnTo>
                  <a:lnTo>
                    <a:pt x="400" y="139"/>
                  </a:lnTo>
                  <a:lnTo>
                    <a:pt x="388" y="146"/>
                  </a:lnTo>
                  <a:lnTo>
                    <a:pt x="367" y="134"/>
                  </a:lnTo>
                  <a:lnTo>
                    <a:pt x="369" y="127"/>
                  </a:lnTo>
                  <a:lnTo>
                    <a:pt x="376" y="119"/>
                  </a:lnTo>
                  <a:lnTo>
                    <a:pt x="352" y="104"/>
                  </a:lnTo>
                  <a:lnTo>
                    <a:pt x="335" y="100"/>
                  </a:lnTo>
                  <a:lnTo>
                    <a:pt x="314" y="91"/>
                  </a:lnTo>
                  <a:lnTo>
                    <a:pt x="299" y="79"/>
                  </a:lnTo>
                  <a:lnTo>
                    <a:pt x="295" y="68"/>
                  </a:lnTo>
                  <a:lnTo>
                    <a:pt x="281" y="60"/>
                  </a:lnTo>
                  <a:lnTo>
                    <a:pt x="267" y="61"/>
                  </a:lnTo>
                  <a:lnTo>
                    <a:pt x="260" y="61"/>
                  </a:lnTo>
                  <a:lnTo>
                    <a:pt x="242" y="51"/>
                  </a:lnTo>
                  <a:lnTo>
                    <a:pt x="218" y="51"/>
                  </a:lnTo>
                  <a:lnTo>
                    <a:pt x="199" y="58"/>
                  </a:lnTo>
                  <a:lnTo>
                    <a:pt x="185" y="58"/>
                  </a:lnTo>
                  <a:lnTo>
                    <a:pt x="169" y="54"/>
                  </a:lnTo>
                  <a:lnTo>
                    <a:pt x="144" y="44"/>
                  </a:lnTo>
                  <a:lnTo>
                    <a:pt x="135" y="33"/>
                  </a:lnTo>
                  <a:lnTo>
                    <a:pt x="111" y="33"/>
                  </a:lnTo>
                  <a:lnTo>
                    <a:pt x="103" y="30"/>
                  </a:lnTo>
                  <a:lnTo>
                    <a:pt x="70" y="8"/>
                  </a:lnTo>
                  <a:lnTo>
                    <a:pt x="32" y="7"/>
                  </a:lnTo>
                  <a:lnTo>
                    <a:pt x="29" y="3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300" name="Freeform 137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3470" y="1989"/>
              <a:ext cx="209" cy="150"/>
            </a:xfrm>
            <a:custGeom>
              <a:avLst/>
              <a:gdLst>
                <a:gd name="T0" fmla="*/ 673 w 1391"/>
                <a:gd name="T1" fmla="*/ 51 h 1024"/>
                <a:gd name="T2" fmla="*/ 621 w 1391"/>
                <a:gd name="T3" fmla="*/ 6 h 1024"/>
                <a:gd name="T4" fmla="*/ 578 w 1391"/>
                <a:gd name="T5" fmla="*/ 30 h 1024"/>
                <a:gd name="T6" fmla="*/ 547 w 1391"/>
                <a:gd name="T7" fmla="*/ 36 h 1024"/>
                <a:gd name="T8" fmla="*/ 520 w 1391"/>
                <a:gd name="T9" fmla="*/ 73 h 1024"/>
                <a:gd name="T10" fmla="*/ 447 w 1391"/>
                <a:gd name="T11" fmla="*/ 115 h 1024"/>
                <a:gd name="T12" fmla="*/ 454 w 1391"/>
                <a:gd name="T13" fmla="*/ 200 h 1024"/>
                <a:gd name="T14" fmla="*/ 303 w 1391"/>
                <a:gd name="T15" fmla="*/ 207 h 1024"/>
                <a:gd name="T16" fmla="*/ 243 w 1391"/>
                <a:gd name="T17" fmla="*/ 115 h 1024"/>
                <a:gd name="T18" fmla="*/ 120 w 1391"/>
                <a:gd name="T19" fmla="*/ 57 h 1024"/>
                <a:gd name="T20" fmla="*/ 0 w 1391"/>
                <a:gd name="T21" fmla="*/ 138 h 1024"/>
                <a:gd name="T22" fmla="*/ 13 w 1391"/>
                <a:gd name="T23" fmla="*/ 170 h 1024"/>
                <a:gd name="T24" fmla="*/ 38 w 1391"/>
                <a:gd name="T25" fmla="*/ 205 h 1024"/>
                <a:gd name="T26" fmla="*/ 37 w 1391"/>
                <a:gd name="T27" fmla="*/ 136 h 1024"/>
                <a:gd name="T28" fmla="*/ 70 w 1391"/>
                <a:gd name="T29" fmla="*/ 92 h 1024"/>
                <a:gd name="T30" fmla="*/ 144 w 1391"/>
                <a:gd name="T31" fmla="*/ 97 h 1024"/>
                <a:gd name="T32" fmla="*/ 157 w 1391"/>
                <a:gd name="T33" fmla="*/ 175 h 1024"/>
                <a:gd name="T34" fmla="*/ 222 w 1391"/>
                <a:gd name="T35" fmla="*/ 246 h 1024"/>
                <a:gd name="T36" fmla="*/ 189 w 1391"/>
                <a:gd name="T37" fmla="*/ 264 h 1024"/>
                <a:gd name="T38" fmla="*/ 180 w 1391"/>
                <a:gd name="T39" fmla="*/ 271 h 1024"/>
                <a:gd name="T40" fmla="*/ 163 w 1391"/>
                <a:gd name="T41" fmla="*/ 282 h 1024"/>
                <a:gd name="T42" fmla="*/ 126 w 1391"/>
                <a:gd name="T43" fmla="*/ 294 h 1024"/>
                <a:gd name="T44" fmla="*/ 111 w 1391"/>
                <a:gd name="T45" fmla="*/ 261 h 1024"/>
                <a:gd name="T46" fmla="*/ 102 w 1391"/>
                <a:gd name="T47" fmla="*/ 280 h 1024"/>
                <a:gd name="T48" fmla="*/ 61 w 1391"/>
                <a:gd name="T49" fmla="*/ 266 h 1024"/>
                <a:gd name="T50" fmla="*/ 38 w 1391"/>
                <a:gd name="T51" fmla="*/ 285 h 1024"/>
                <a:gd name="T52" fmla="*/ 28 w 1391"/>
                <a:gd name="T53" fmla="*/ 358 h 1024"/>
                <a:gd name="T54" fmla="*/ 47 w 1391"/>
                <a:gd name="T55" fmla="*/ 382 h 1024"/>
                <a:gd name="T56" fmla="*/ 92 w 1391"/>
                <a:gd name="T57" fmla="*/ 382 h 1024"/>
                <a:gd name="T58" fmla="*/ 94 w 1391"/>
                <a:gd name="T59" fmla="*/ 412 h 1024"/>
                <a:gd name="T60" fmla="*/ 123 w 1391"/>
                <a:gd name="T61" fmla="*/ 444 h 1024"/>
                <a:gd name="T62" fmla="*/ 96 w 1391"/>
                <a:gd name="T63" fmla="*/ 446 h 1024"/>
                <a:gd name="T64" fmla="*/ 66 w 1391"/>
                <a:gd name="T65" fmla="*/ 456 h 1024"/>
                <a:gd name="T66" fmla="*/ 75 w 1391"/>
                <a:gd name="T67" fmla="*/ 467 h 1024"/>
                <a:gd name="T68" fmla="*/ 110 w 1391"/>
                <a:gd name="T69" fmla="*/ 485 h 1024"/>
                <a:gd name="T70" fmla="*/ 148 w 1391"/>
                <a:gd name="T71" fmla="*/ 532 h 1024"/>
                <a:gd name="T72" fmla="*/ 135 w 1391"/>
                <a:gd name="T73" fmla="*/ 633 h 1024"/>
                <a:gd name="T74" fmla="*/ 161 w 1391"/>
                <a:gd name="T75" fmla="*/ 744 h 1024"/>
                <a:gd name="T76" fmla="*/ 234 w 1391"/>
                <a:gd name="T77" fmla="*/ 679 h 1024"/>
                <a:gd name="T78" fmla="*/ 335 w 1391"/>
                <a:gd name="T79" fmla="*/ 650 h 1024"/>
                <a:gd name="T80" fmla="*/ 389 w 1391"/>
                <a:gd name="T81" fmla="*/ 620 h 1024"/>
                <a:gd name="T82" fmla="*/ 542 w 1391"/>
                <a:gd name="T83" fmla="*/ 691 h 1024"/>
                <a:gd name="T84" fmla="*/ 655 w 1391"/>
                <a:gd name="T85" fmla="*/ 730 h 1024"/>
                <a:gd name="T86" fmla="*/ 838 w 1391"/>
                <a:gd name="T87" fmla="*/ 851 h 1024"/>
                <a:gd name="T88" fmla="*/ 849 w 1391"/>
                <a:gd name="T89" fmla="*/ 979 h 1024"/>
                <a:gd name="T90" fmla="*/ 967 w 1391"/>
                <a:gd name="T91" fmla="*/ 1024 h 1024"/>
                <a:gd name="T92" fmla="*/ 1031 w 1391"/>
                <a:gd name="T93" fmla="*/ 992 h 1024"/>
                <a:gd name="T94" fmla="*/ 1147 w 1391"/>
                <a:gd name="T95" fmla="*/ 901 h 1024"/>
                <a:gd name="T96" fmla="*/ 1183 w 1391"/>
                <a:gd name="T97" fmla="*/ 818 h 1024"/>
                <a:gd name="T98" fmla="*/ 1270 w 1391"/>
                <a:gd name="T99" fmla="*/ 746 h 1024"/>
                <a:gd name="T100" fmla="*/ 1380 w 1391"/>
                <a:gd name="T101" fmla="*/ 756 h 1024"/>
                <a:gd name="T102" fmla="*/ 1387 w 1391"/>
                <a:gd name="T103" fmla="*/ 666 h 1024"/>
                <a:gd name="T104" fmla="*/ 1345 w 1391"/>
                <a:gd name="T105" fmla="*/ 629 h 1024"/>
                <a:gd name="T106" fmla="*/ 1282 w 1391"/>
                <a:gd name="T107" fmla="*/ 606 h 1024"/>
                <a:gd name="T108" fmla="*/ 1151 w 1391"/>
                <a:gd name="T109" fmla="*/ 525 h 1024"/>
                <a:gd name="T110" fmla="*/ 1037 w 1391"/>
                <a:gd name="T111" fmla="*/ 430 h 1024"/>
                <a:gd name="T112" fmla="*/ 970 w 1391"/>
                <a:gd name="T113" fmla="*/ 324 h 1024"/>
                <a:gd name="T114" fmla="*/ 933 w 1391"/>
                <a:gd name="T115" fmla="*/ 239 h 1024"/>
                <a:gd name="T116" fmla="*/ 876 w 1391"/>
                <a:gd name="T117" fmla="*/ 211 h 1024"/>
                <a:gd name="T118" fmla="*/ 791 w 1391"/>
                <a:gd name="T119" fmla="*/ 215 h 1024"/>
                <a:gd name="T120" fmla="*/ 752 w 1391"/>
                <a:gd name="T121" fmla="*/ 170 h 1024"/>
                <a:gd name="T122" fmla="*/ 752 w 1391"/>
                <a:gd name="T123" fmla="*/ 133 h 1024"/>
                <a:gd name="T124" fmla="*/ 740 w 1391"/>
                <a:gd name="T125" fmla="*/ 90 h 10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91"/>
                <a:gd name="T190" fmla="*/ 0 h 1024"/>
                <a:gd name="T191" fmla="*/ 1391 w 1391"/>
                <a:gd name="T192" fmla="*/ 1024 h 102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91" h="1024">
                  <a:moveTo>
                    <a:pt x="738" y="78"/>
                  </a:moveTo>
                  <a:lnTo>
                    <a:pt x="728" y="64"/>
                  </a:lnTo>
                  <a:lnTo>
                    <a:pt x="673" y="51"/>
                  </a:lnTo>
                  <a:lnTo>
                    <a:pt x="664" y="32"/>
                  </a:lnTo>
                  <a:lnTo>
                    <a:pt x="650" y="30"/>
                  </a:lnTo>
                  <a:lnTo>
                    <a:pt x="621" y="6"/>
                  </a:lnTo>
                  <a:lnTo>
                    <a:pt x="601" y="0"/>
                  </a:lnTo>
                  <a:lnTo>
                    <a:pt x="566" y="14"/>
                  </a:lnTo>
                  <a:lnTo>
                    <a:pt x="578" y="30"/>
                  </a:lnTo>
                  <a:lnTo>
                    <a:pt x="586" y="53"/>
                  </a:lnTo>
                  <a:lnTo>
                    <a:pt x="560" y="36"/>
                  </a:lnTo>
                  <a:lnTo>
                    <a:pt x="547" y="36"/>
                  </a:lnTo>
                  <a:lnTo>
                    <a:pt x="542" y="43"/>
                  </a:lnTo>
                  <a:lnTo>
                    <a:pt x="532" y="66"/>
                  </a:lnTo>
                  <a:lnTo>
                    <a:pt x="520" y="73"/>
                  </a:lnTo>
                  <a:lnTo>
                    <a:pt x="492" y="73"/>
                  </a:lnTo>
                  <a:lnTo>
                    <a:pt x="470" y="88"/>
                  </a:lnTo>
                  <a:lnTo>
                    <a:pt x="447" y="115"/>
                  </a:lnTo>
                  <a:lnTo>
                    <a:pt x="445" y="154"/>
                  </a:lnTo>
                  <a:lnTo>
                    <a:pt x="458" y="180"/>
                  </a:lnTo>
                  <a:lnTo>
                    <a:pt x="454" y="200"/>
                  </a:lnTo>
                  <a:lnTo>
                    <a:pt x="340" y="198"/>
                  </a:lnTo>
                  <a:lnTo>
                    <a:pt x="324" y="203"/>
                  </a:lnTo>
                  <a:lnTo>
                    <a:pt x="303" y="207"/>
                  </a:lnTo>
                  <a:lnTo>
                    <a:pt x="283" y="191"/>
                  </a:lnTo>
                  <a:lnTo>
                    <a:pt x="255" y="147"/>
                  </a:lnTo>
                  <a:lnTo>
                    <a:pt x="243" y="115"/>
                  </a:lnTo>
                  <a:lnTo>
                    <a:pt x="186" y="66"/>
                  </a:lnTo>
                  <a:lnTo>
                    <a:pt x="164" y="51"/>
                  </a:lnTo>
                  <a:lnTo>
                    <a:pt x="120" y="57"/>
                  </a:lnTo>
                  <a:lnTo>
                    <a:pt x="63" y="74"/>
                  </a:lnTo>
                  <a:lnTo>
                    <a:pt x="24" y="108"/>
                  </a:lnTo>
                  <a:lnTo>
                    <a:pt x="0" y="138"/>
                  </a:lnTo>
                  <a:lnTo>
                    <a:pt x="12" y="147"/>
                  </a:lnTo>
                  <a:lnTo>
                    <a:pt x="14" y="159"/>
                  </a:lnTo>
                  <a:lnTo>
                    <a:pt x="13" y="170"/>
                  </a:lnTo>
                  <a:lnTo>
                    <a:pt x="28" y="189"/>
                  </a:lnTo>
                  <a:lnTo>
                    <a:pt x="40" y="225"/>
                  </a:lnTo>
                  <a:lnTo>
                    <a:pt x="38" y="205"/>
                  </a:lnTo>
                  <a:lnTo>
                    <a:pt x="35" y="191"/>
                  </a:lnTo>
                  <a:lnTo>
                    <a:pt x="43" y="147"/>
                  </a:lnTo>
                  <a:lnTo>
                    <a:pt x="37" y="136"/>
                  </a:lnTo>
                  <a:lnTo>
                    <a:pt x="41" y="117"/>
                  </a:lnTo>
                  <a:lnTo>
                    <a:pt x="49" y="99"/>
                  </a:lnTo>
                  <a:lnTo>
                    <a:pt x="70" y="92"/>
                  </a:lnTo>
                  <a:lnTo>
                    <a:pt x="115" y="85"/>
                  </a:lnTo>
                  <a:lnTo>
                    <a:pt x="139" y="88"/>
                  </a:lnTo>
                  <a:lnTo>
                    <a:pt x="144" y="97"/>
                  </a:lnTo>
                  <a:lnTo>
                    <a:pt x="144" y="124"/>
                  </a:lnTo>
                  <a:lnTo>
                    <a:pt x="152" y="134"/>
                  </a:lnTo>
                  <a:lnTo>
                    <a:pt x="157" y="175"/>
                  </a:lnTo>
                  <a:lnTo>
                    <a:pt x="200" y="208"/>
                  </a:lnTo>
                  <a:lnTo>
                    <a:pt x="214" y="225"/>
                  </a:lnTo>
                  <a:lnTo>
                    <a:pt x="222" y="246"/>
                  </a:lnTo>
                  <a:lnTo>
                    <a:pt x="221" y="261"/>
                  </a:lnTo>
                  <a:lnTo>
                    <a:pt x="200" y="269"/>
                  </a:lnTo>
                  <a:lnTo>
                    <a:pt x="189" y="264"/>
                  </a:lnTo>
                  <a:lnTo>
                    <a:pt x="185" y="255"/>
                  </a:lnTo>
                  <a:lnTo>
                    <a:pt x="176" y="257"/>
                  </a:lnTo>
                  <a:lnTo>
                    <a:pt x="180" y="271"/>
                  </a:lnTo>
                  <a:lnTo>
                    <a:pt x="185" y="283"/>
                  </a:lnTo>
                  <a:lnTo>
                    <a:pt x="182" y="291"/>
                  </a:lnTo>
                  <a:lnTo>
                    <a:pt x="163" y="282"/>
                  </a:lnTo>
                  <a:lnTo>
                    <a:pt x="151" y="289"/>
                  </a:lnTo>
                  <a:lnTo>
                    <a:pt x="139" y="292"/>
                  </a:lnTo>
                  <a:lnTo>
                    <a:pt x="126" y="294"/>
                  </a:lnTo>
                  <a:lnTo>
                    <a:pt x="120" y="282"/>
                  </a:lnTo>
                  <a:lnTo>
                    <a:pt x="119" y="262"/>
                  </a:lnTo>
                  <a:lnTo>
                    <a:pt x="111" y="261"/>
                  </a:lnTo>
                  <a:lnTo>
                    <a:pt x="107" y="261"/>
                  </a:lnTo>
                  <a:lnTo>
                    <a:pt x="108" y="269"/>
                  </a:lnTo>
                  <a:lnTo>
                    <a:pt x="102" y="280"/>
                  </a:lnTo>
                  <a:lnTo>
                    <a:pt x="86" y="271"/>
                  </a:lnTo>
                  <a:lnTo>
                    <a:pt x="68" y="276"/>
                  </a:lnTo>
                  <a:lnTo>
                    <a:pt x="61" y="266"/>
                  </a:lnTo>
                  <a:lnTo>
                    <a:pt x="49" y="236"/>
                  </a:lnTo>
                  <a:lnTo>
                    <a:pt x="40" y="268"/>
                  </a:lnTo>
                  <a:lnTo>
                    <a:pt x="38" y="285"/>
                  </a:lnTo>
                  <a:lnTo>
                    <a:pt x="34" y="305"/>
                  </a:lnTo>
                  <a:lnTo>
                    <a:pt x="26" y="317"/>
                  </a:lnTo>
                  <a:lnTo>
                    <a:pt x="28" y="358"/>
                  </a:lnTo>
                  <a:lnTo>
                    <a:pt x="34" y="375"/>
                  </a:lnTo>
                  <a:lnTo>
                    <a:pt x="41" y="391"/>
                  </a:lnTo>
                  <a:lnTo>
                    <a:pt x="47" y="382"/>
                  </a:lnTo>
                  <a:lnTo>
                    <a:pt x="62" y="388"/>
                  </a:lnTo>
                  <a:lnTo>
                    <a:pt x="78" y="388"/>
                  </a:lnTo>
                  <a:lnTo>
                    <a:pt x="92" y="382"/>
                  </a:lnTo>
                  <a:lnTo>
                    <a:pt x="111" y="384"/>
                  </a:lnTo>
                  <a:lnTo>
                    <a:pt x="100" y="396"/>
                  </a:lnTo>
                  <a:lnTo>
                    <a:pt x="94" y="412"/>
                  </a:lnTo>
                  <a:lnTo>
                    <a:pt x="98" y="430"/>
                  </a:lnTo>
                  <a:lnTo>
                    <a:pt x="108" y="432"/>
                  </a:lnTo>
                  <a:lnTo>
                    <a:pt x="123" y="444"/>
                  </a:lnTo>
                  <a:lnTo>
                    <a:pt x="120" y="451"/>
                  </a:lnTo>
                  <a:lnTo>
                    <a:pt x="115" y="451"/>
                  </a:lnTo>
                  <a:lnTo>
                    <a:pt x="96" y="446"/>
                  </a:lnTo>
                  <a:lnTo>
                    <a:pt x="80" y="448"/>
                  </a:lnTo>
                  <a:lnTo>
                    <a:pt x="74" y="442"/>
                  </a:lnTo>
                  <a:lnTo>
                    <a:pt x="66" y="456"/>
                  </a:lnTo>
                  <a:lnTo>
                    <a:pt x="63" y="463"/>
                  </a:lnTo>
                  <a:lnTo>
                    <a:pt x="66" y="477"/>
                  </a:lnTo>
                  <a:lnTo>
                    <a:pt x="75" y="467"/>
                  </a:lnTo>
                  <a:lnTo>
                    <a:pt x="100" y="476"/>
                  </a:lnTo>
                  <a:lnTo>
                    <a:pt x="108" y="476"/>
                  </a:lnTo>
                  <a:lnTo>
                    <a:pt x="110" y="485"/>
                  </a:lnTo>
                  <a:lnTo>
                    <a:pt x="119" y="500"/>
                  </a:lnTo>
                  <a:lnTo>
                    <a:pt x="144" y="520"/>
                  </a:lnTo>
                  <a:lnTo>
                    <a:pt x="148" y="532"/>
                  </a:lnTo>
                  <a:lnTo>
                    <a:pt x="139" y="566"/>
                  </a:lnTo>
                  <a:lnTo>
                    <a:pt x="135" y="578"/>
                  </a:lnTo>
                  <a:lnTo>
                    <a:pt x="135" y="633"/>
                  </a:lnTo>
                  <a:lnTo>
                    <a:pt x="129" y="652"/>
                  </a:lnTo>
                  <a:lnTo>
                    <a:pt x="143" y="742"/>
                  </a:lnTo>
                  <a:lnTo>
                    <a:pt x="161" y="744"/>
                  </a:lnTo>
                  <a:lnTo>
                    <a:pt x="186" y="737"/>
                  </a:lnTo>
                  <a:lnTo>
                    <a:pt x="208" y="717"/>
                  </a:lnTo>
                  <a:lnTo>
                    <a:pt x="234" y="679"/>
                  </a:lnTo>
                  <a:lnTo>
                    <a:pt x="256" y="659"/>
                  </a:lnTo>
                  <a:lnTo>
                    <a:pt x="274" y="650"/>
                  </a:lnTo>
                  <a:lnTo>
                    <a:pt x="335" y="650"/>
                  </a:lnTo>
                  <a:lnTo>
                    <a:pt x="349" y="649"/>
                  </a:lnTo>
                  <a:lnTo>
                    <a:pt x="372" y="627"/>
                  </a:lnTo>
                  <a:lnTo>
                    <a:pt x="389" y="620"/>
                  </a:lnTo>
                  <a:lnTo>
                    <a:pt x="456" y="629"/>
                  </a:lnTo>
                  <a:lnTo>
                    <a:pt x="475" y="656"/>
                  </a:lnTo>
                  <a:lnTo>
                    <a:pt x="542" y="691"/>
                  </a:lnTo>
                  <a:lnTo>
                    <a:pt x="599" y="700"/>
                  </a:lnTo>
                  <a:lnTo>
                    <a:pt x="628" y="709"/>
                  </a:lnTo>
                  <a:lnTo>
                    <a:pt x="655" y="730"/>
                  </a:lnTo>
                  <a:lnTo>
                    <a:pt x="763" y="843"/>
                  </a:lnTo>
                  <a:lnTo>
                    <a:pt x="828" y="839"/>
                  </a:lnTo>
                  <a:lnTo>
                    <a:pt x="838" y="851"/>
                  </a:lnTo>
                  <a:lnTo>
                    <a:pt x="839" y="937"/>
                  </a:lnTo>
                  <a:lnTo>
                    <a:pt x="844" y="978"/>
                  </a:lnTo>
                  <a:lnTo>
                    <a:pt x="849" y="979"/>
                  </a:lnTo>
                  <a:lnTo>
                    <a:pt x="859" y="986"/>
                  </a:lnTo>
                  <a:lnTo>
                    <a:pt x="942" y="1018"/>
                  </a:lnTo>
                  <a:lnTo>
                    <a:pt x="967" y="1024"/>
                  </a:lnTo>
                  <a:lnTo>
                    <a:pt x="991" y="1022"/>
                  </a:lnTo>
                  <a:lnTo>
                    <a:pt x="1020" y="1004"/>
                  </a:lnTo>
                  <a:lnTo>
                    <a:pt x="1031" y="992"/>
                  </a:lnTo>
                  <a:lnTo>
                    <a:pt x="1031" y="964"/>
                  </a:lnTo>
                  <a:lnTo>
                    <a:pt x="1035" y="953"/>
                  </a:lnTo>
                  <a:lnTo>
                    <a:pt x="1147" y="901"/>
                  </a:lnTo>
                  <a:lnTo>
                    <a:pt x="1170" y="885"/>
                  </a:lnTo>
                  <a:lnTo>
                    <a:pt x="1174" y="878"/>
                  </a:lnTo>
                  <a:lnTo>
                    <a:pt x="1183" y="818"/>
                  </a:lnTo>
                  <a:lnTo>
                    <a:pt x="1202" y="770"/>
                  </a:lnTo>
                  <a:lnTo>
                    <a:pt x="1252" y="758"/>
                  </a:lnTo>
                  <a:lnTo>
                    <a:pt x="1270" y="746"/>
                  </a:lnTo>
                  <a:lnTo>
                    <a:pt x="1291" y="724"/>
                  </a:lnTo>
                  <a:lnTo>
                    <a:pt x="1315" y="742"/>
                  </a:lnTo>
                  <a:lnTo>
                    <a:pt x="1380" y="756"/>
                  </a:lnTo>
                  <a:lnTo>
                    <a:pt x="1383" y="712"/>
                  </a:lnTo>
                  <a:lnTo>
                    <a:pt x="1382" y="682"/>
                  </a:lnTo>
                  <a:lnTo>
                    <a:pt x="1387" y="666"/>
                  </a:lnTo>
                  <a:lnTo>
                    <a:pt x="1391" y="654"/>
                  </a:lnTo>
                  <a:lnTo>
                    <a:pt x="1368" y="647"/>
                  </a:lnTo>
                  <a:lnTo>
                    <a:pt x="1345" y="629"/>
                  </a:lnTo>
                  <a:lnTo>
                    <a:pt x="1319" y="619"/>
                  </a:lnTo>
                  <a:lnTo>
                    <a:pt x="1298" y="622"/>
                  </a:lnTo>
                  <a:lnTo>
                    <a:pt x="1282" y="606"/>
                  </a:lnTo>
                  <a:lnTo>
                    <a:pt x="1208" y="557"/>
                  </a:lnTo>
                  <a:lnTo>
                    <a:pt x="1167" y="520"/>
                  </a:lnTo>
                  <a:lnTo>
                    <a:pt x="1151" y="525"/>
                  </a:lnTo>
                  <a:lnTo>
                    <a:pt x="1108" y="493"/>
                  </a:lnTo>
                  <a:lnTo>
                    <a:pt x="1091" y="467"/>
                  </a:lnTo>
                  <a:lnTo>
                    <a:pt x="1037" y="430"/>
                  </a:lnTo>
                  <a:lnTo>
                    <a:pt x="977" y="370"/>
                  </a:lnTo>
                  <a:lnTo>
                    <a:pt x="977" y="352"/>
                  </a:lnTo>
                  <a:lnTo>
                    <a:pt x="970" y="324"/>
                  </a:lnTo>
                  <a:lnTo>
                    <a:pt x="957" y="313"/>
                  </a:lnTo>
                  <a:lnTo>
                    <a:pt x="938" y="275"/>
                  </a:lnTo>
                  <a:lnTo>
                    <a:pt x="933" y="239"/>
                  </a:lnTo>
                  <a:lnTo>
                    <a:pt x="924" y="216"/>
                  </a:lnTo>
                  <a:lnTo>
                    <a:pt x="885" y="200"/>
                  </a:lnTo>
                  <a:lnTo>
                    <a:pt x="876" y="211"/>
                  </a:lnTo>
                  <a:lnTo>
                    <a:pt x="856" y="215"/>
                  </a:lnTo>
                  <a:lnTo>
                    <a:pt x="832" y="205"/>
                  </a:lnTo>
                  <a:lnTo>
                    <a:pt x="791" y="215"/>
                  </a:lnTo>
                  <a:lnTo>
                    <a:pt x="778" y="203"/>
                  </a:lnTo>
                  <a:lnTo>
                    <a:pt x="747" y="184"/>
                  </a:lnTo>
                  <a:lnTo>
                    <a:pt x="752" y="170"/>
                  </a:lnTo>
                  <a:lnTo>
                    <a:pt x="757" y="159"/>
                  </a:lnTo>
                  <a:lnTo>
                    <a:pt x="750" y="145"/>
                  </a:lnTo>
                  <a:lnTo>
                    <a:pt x="752" y="133"/>
                  </a:lnTo>
                  <a:lnTo>
                    <a:pt x="759" y="122"/>
                  </a:lnTo>
                  <a:lnTo>
                    <a:pt x="740" y="104"/>
                  </a:lnTo>
                  <a:lnTo>
                    <a:pt x="740" y="90"/>
                  </a:lnTo>
                  <a:lnTo>
                    <a:pt x="738" y="78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301" name="Freeform 138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3361" y="2006"/>
              <a:ext cx="80" cy="73"/>
            </a:xfrm>
            <a:custGeom>
              <a:avLst/>
              <a:gdLst>
                <a:gd name="T0" fmla="*/ 139 w 521"/>
                <a:gd name="T1" fmla="*/ 2 h 495"/>
                <a:gd name="T2" fmla="*/ 122 w 521"/>
                <a:gd name="T3" fmla="*/ 23 h 495"/>
                <a:gd name="T4" fmla="*/ 123 w 521"/>
                <a:gd name="T5" fmla="*/ 45 h 495"/>
                <a:gd name="T6" fmla="*/ 160 w 521"/>
                <a:gd name="T7" fmla="*/ 73 h 495"/>
                <a:gd name="T8" fmla="*/ 160 w 521"/>
                <a:gd name="T9" fmla="*/ 109 h 495"/>
                <a:gd name="T10" fmla="*/ 139 w 521"/>
                <a:gd name="T11" fmla="*/ 118 h 495"/>
                <a:gd name="T12" fmla="*/ 122 w 521"/>
                <a:gd name="T13" fmla="*/ 102 h 495"/>
                <a:gd name="T14" fmla="*/ 100 w 521"/>
                <a:gd name="T15" fmla="*/ 102 h 495"/>
                <a:gd name="T16" fmla="*/ 65 w 521"/>
                <a:gd name="T17" fmla="*/ 76 h 495"/>
                <a:gd name="T18" fmla="*/ 20 w 521"/>
                <a:gd name="T19" fmla="*/ 64 h 495"/>
                <a:gd name="T20" fmla="*/ 5 w 521"/>
                <a:gd name="T21" fmla="*/ 97 h 495"/>
                <a:gd name="T22" fmla="*/ 13 w 521"/>
                <a:gd name="T23" fmla="*/ 111 h 495"/>
                <a:gd name="T24" fmla="*/ 22 w 521"/>
                <a:gd name="T25" fmla="*/ 121 h 495"/>
                <a:gd name="T26" fmla="*/ 50 w 521"/>
                <a:gd name="T27" fmla="*/ 137 h 495"/>
                <a:gd name="T28" fmla="*/ 38 w 521"/>
                <a:gd name="T29" fmla="*/ 160 h 495"/>
                <a:gd name="T30" fmla="*/ 49 w 521"/>
                <a:gd name="T31" fmla="*/ 201 h 495"/>
                <a:gd name="T32" fmla="*/ 82 w 521"/>
                <a:gd name="T33" fmla="*/ 229 h 495"/>
                <a:gd name="T34" fmla="*/ 91 w 521"/>
                <a:gd name="T35" fmla="*/ 245 h 495"/>
                <a:gd name="T36" fmla="*/ 59 w 521"/>
                <a:gd name="T37" fmla="*/ 261 h 495"/>
                <a:gd name="T38" fmla="*/ 74 w 521"/>
                <a:gd name="T39" fmla="*/ 275 h 495"/>
                <a:gd name="T40" fmla="*/ 96 w 521"/>
                <a:gd name="T41" fmla="*/ 298 h 495"/>
                <a:gd name="T42" fmla="*/ 117 w 521"/>
                <a:gd name="T43" fmla="*/ 319 h 495"/>
                <a:gd name="T44" fmla="*/ 143 w 521"/>
                <a:gd name="T45" fmla="*/ 335 h 495"/>
                <a:gd name="T46" fmla="*/ 153 w 521"/>
                <a:gd name="T47" fmla="*/ 368 h 495"/>
                <a:gd name="T48" fmla="*/ 143 w 521"/>
                <a:gd name="T49" fmla="*/ 381 h 495"/>
                <a:gd name="T50" fmla="*/ 143 w 521"/>
                <a:gd name="T51" fmla="*/ 402 h 495"/>
                <a:gd name="T52" fmla="*/ 154 w 521"/>
                <a:gd name="T53" fmla="*/ 388 h 495"/>
                <a:gd name="T54" fmla="*/ 200 w 521"/>
                <a:gd name="T55" fmla="*/ 349 h 495"/>
                <a:gd name="T56" fmla="*/ 280 w 521"/>
                <a:gd name="T57" fmla="*/ 314 h 495"/>
                <a:gd name="T58" fmla="*/ 317 w 521"/>
                <a:gd name="T59" fmla="*/ 344 h 495"/>
                <a:gd name="T60" fmla="*/ 316 w 521"/>
                <a:gd name="T61" fmla="*/ 361 h 495"/>
                <a:gd name="T62" fmla="*/ 289 w 521"/>
                <a:gd name="T63" fmla="*/ 381 h 495"/>
                <a:gd name="T64" fmla="*/ 304 w 521"/>
                <a:gd name="T65" fmla="*/ 405 h 495"/>
                <a:gd name="T66" fmla="*/ 286 w 521"/>
                <a:gd name="T67" fmla="*/ 444 h 495"/>
                <a:gd name="T68" fmla="*/ 317 w 521"/>
                <a:gd name="T69" fmla="*/ 476 h 495"/>
                <a:gd name="T70" fmla="*/ 361 w 521"/>
                <a:gd name="T71" fmla="*/ 495 h 495"/>
                <a:gd name="T72" fmla="*/ 373 w 521"/>
                <a:gd name="T73" fmla="*/ 423 h 495"/>
                <a:gd name="T74" fmla="*/ 381 w 521"/>
                <a:gd name="T75" fmla="*/ 400 h 495"/>
                <a:gd name="T76" fmla="*/ 390 w 521"/>
                <a:gd name="T77" fmla="*/ 375 h 495"/>
                <a:gd name="T78" fmla="*/ 401 w 521"/>
                <a:gd name="T79" fmla="*/ 397 h 495"/>
                <a:gd name="T80" fmla="*/ 413 w 521"/>
                <a:gd name="T81" fmla="*/ 363 h 495"/>
                <a:gd name="T82" fmla="*/ 427 w 521"/>
                <a:gd name="T83" fmla="*/ 361 h 495"/>
                <a:gd name="T84" fmla="*/ 418 w 521"/>
                <a:gd name="T85" fmla="*/ 335 h 495"/>
                <a:gd name="T86" fmla="*/ 434 w 521"/>
                <a:gd name="T87" fmla="*/ 240 h 495"/>
                <a:gd name="T88" fmla="*/ 463 w 521"/>
                <a:gd name="T89" fmla="*/ 227 h 495"/>
                <a:gd name="T90" fmla="*/ 480 w 521"/>
                <a:gd name="T91" fmla="*/ 217 h 495"/>
                <a:gd name="T92" fmla="*/ 521 w 521"/>
                <a:gd name="T93" fmla="*/ 227 h 495"/>
                <a:gd name="T94" fmla="*/ 519 w 521"/>
                <a:gd name="T95" fmla="*/ 208 h 495"/>
                <a:gd name="T96" fmla="*/ 495 w 521"/>
                <a:gd name="T97" fmla="*/ 185 h 495"/>
                <a:gd name="T98" fmla="*/ 458 w 521"/>
                <a:gd name="T99" fmla="*/ 183 h 495"/>
                <a:gd name="T100" fmla="*/ 438 w 521"/>
                <a:gd name="T101" fmla="*/ 158 h 495"/>
                <a:gd name="T102" fmla="*/ 414 w 521"/>
                <a:gd name="T103" fmla="*/ 132 h 495"/>
                <a:gd name="T104" fmla="*/ 403 w 521"/>
                <a:gd name="T105" fmla="*/ 83 h 495"/>
                <a:gd name="T106" fmla="*/ 378 w 521"/>
                <a:gd name="T107" fmla="*/ 53 h 495"/>
                <a:gd name="T108" fmla="*/ 347 w 521"/>
                <a:gd name="T109" fmla="*/ 7 h 495"/>
                <a:gd name="T110" fmla="*/ 312 w 521"/>
                <a:gd name="T111" fmla="*/ 55 h 495"/>
                <a:gd name="T112" fmla="*/ 286 w 521"/>
                <a:gd name="T113" fmla="*/ 82 h 495"/>
                <a:gd name="T114" fmla="*/ 262 w 521"/>
                <a:gd name="T115" fmla="*/ 98 h 495"/>
                <a:gd name="T116" fmla="*/ 217 w 521"/>
                <a:gd name="T117" fmla="*/ 83 h 495"/>
                <a:gd name="T118" fmla="*/ 205 w 521"/>
                <a:gd name="T119" fmla="*/ 46 h 495"/>
                <a:gd name="T120" fmla="*/ 196 w 521"/>
                <a:gd name="T121" fmla="*/ 37 h 495"/>
                <a:gd name="T122" fmla="*/ 168 w 521"/>
                <a:gd name="T123" fmla="*/ 7 h 495"/>
                <a:gd name="T124" fmla="*/ 149 w 521"/>
                <a:gd name="T125" fmla="*/ 11 h 49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21"/>
                <a:gd name="T190" fmla="*/ 0 h 495"/>
                <a:gd name="T191" fmla="*/ 521 w 521"/>
                <a:gd name="T192" fmla="*/ 495 h 49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21" h="495">
                  <a:moveTo>
                    <a:pt x="149" y="0"/>
                  </a:moveTo>
                  <a:lnTo>
                    <a:pt x="139" y="2"/>
                  </a:lnTo>
                  <a:lnTo>
                    <a:pt x="128" y="15"/>
                  </a:lnTo>
                  <a:lnTo>
                    <a:pt x="122" y="23"/>
                  </a:lnTo>
                  <a:lnTo>
                    <a:pt x="117" y="27"/>
                  </a:lnTo>
                  <a:lnTo>
                    <a:pt x="123" y="45"/>
                  </a:lnTo>
                  <a:lnTo>
                    <a:pt x="132" y="64"/>
                  </a:lnTo>
                  <a:lnTo>
                    <a:pt x="160" y="73"/>
                  </a:lnTo>
                  <a:lnTo>
                    <a:pt x="165" y="87"/>
                  </a:lnTo>
                  <a:lnTo>
                    <a:pt x="160" y="109"/>
                  </a:lnTo>
                  <a:lnTo>
                    <a:pt x="149" y="114"/>
                  </a:lnTo>
                  <a:lnTo>
                    <a:pt x="139" y="118"/>
                  </a:lnTo>
                  <a:lnTo>
                    <a:pt x="128" y="106"/>
                  </a:lnTo>
                  <a:lnTo>
                    <a:pt x="122" y="102"/>
                  </a:lnTo>
                  <a:lnTo>
                    <a:pt x="114" y="100"/>
                  </a:lnTo>
                  <a:lnTo>
                    <a:pt x="100" y="102"/>
                  </a:lnTo>
                  <a:lnTo>
                    <a:pt x="73" y="90"/>
                  </a:lnTo>
                  <a:lnTo>
                    <a:pt x="65" y="76"/>
                  </a:lnTo>
                  <a:lnTo>
                    <a:pt x="50" y="64"/>
                  </a:lnTo>
                  <a:lnTo>
                    <a:pt x="20" y="64"/>
                  </a:lnTo>
                  <a:lnTo>
                    <a:pt x="0" y="83"/>
                  </a:lnTo>
                  <a:lnTo>
                    <a:pt x="5" y="97"/>
                  </a:lnTo>
                  <a:lnTo>
                    <a:pt x="17" y="102"/>
                  </a:lnTo>
                  <a:lnTo>
                    <a:pt x="13" y="111"/>
                  </a:lnTo>
                  <a:lnTo>
                    <a:pt x="10" y="116"/>
                  </a:lnTo>
                  <a:lnTo>
                    <a:pt x="22" y="121"/>
                  </a:lnTo>
                  <a:lnTo>
                    <a:pt x="42" y="127"/>
                  </a:lnTo>
                  <a:lnTo>
                    <a:pt x="50" y="137"/>
                  </a:lnTo>
                  <a:lnTo>
                    <a:pt x="57" y="151"/>
                  </a:lnTo>
                  <a:lnTo>
                    <a:pt x="38" y="160"/>
                  </a:lnTo>
                  <a:lnTo>
                    <a:pt x="37" y="178"/>
                  </a:lnTo>
                  <a:lnTo>
                    <a:pt x="49" y="201"/>
                  </a:lnTo>
                  <a:lnTo>
                    <a:pt x="73" y="220"/>
                  </a:lnTo>
                  <a:lnTo>
                    <a:pt x="82" y="229"/>
                  </a:lnTo>
                  <a:lnTo>
                    <a:pt x="91" y="231"/>
                  </a:lnTo>
                  <a:lnTo>
                    <a:pt x="91" y="245"/>
                  </a:lnTo>
                  <a:lnTo>
                    <a:pt x="83" y="261"/>
                  </a:lnTo>
                  <a:lnTo>
                    <a:pt x="59" y="261"/>
                  </a:lnTo>
                  <a:lnTo>
                    <a:pt x="61" y="266"/>
                  </a:lnTo>
                  <a:lnTo>
                    <a:pt x="74" y="275"/>
                  </a:lnTo>
                  <a:lnTo>
                    <a:pt x="86" y="296"/>
                  </a:lnTo>
                  <a:lnTo>
                    <a:pt x="96" y="298"/>
                  </a:lnTo>
                  <a:lnTo>
                    <a:pt x="106" y="312"/>
                  </a:lnTo>
                  <a:lnTo>
                    <a:pt x="117" y="319"/>
                  </a:lnTo>
                  <a:lnTo>
                    <a:pt x="145" y="322"/>
                  </a:lnTo>
                  <a:lnTo>
                    <a:pt x="143" y="335"/>
                  </a:lnTo>
                  <a:lnTo>
                    <a:pt x="132" y="342"/>
                  </a:lnTo>
                  <a:lnTo>
                    <a:pt x="153" y="368"/>
                  </a:lnTo>
                  <a:lnTo>
                    <a:pt x="135" y="377"/>
                  </a:lnTo>
                  <a:lnTo>
                    <a:pt x="143" y="381"/>
                  </a:lnTo>
                  <a:lnTo>
                    <a:pt x="147" y="395"/>
                  </a:lnTo>
                  <a:lnTo>
                    <a:pt x="143" y="402"/>
                  </a:lnTo>
                  <a:lnTo>
                    <a:pt x="144" y="404"/>
                  </a:lnTo>
                  <a:lnTo>
                    <a:pt x="154" y="388"/>
                  </a:lnTo>
                  <a:lnTo>
                    <a:pt x="182" y="375"/>
                  </a:lnTo>
                  <a:lnTo>
                    <a:pt x="200" y="349"/>
                  </a:lnTo>
                  <a:lnTo>
                    <a:pt x="267" y="303"/>
                  </a:lnTo>
                  <a:lnTo>
                    <a:pt x="280" y="314"/>
                  </a:lnTo>
                  <a:lnTo>
                    <a:pt x="295" y="331"/>
                  </a:lnTo>
                  <a:lnTo>
                    <a:pt x="317" y="344"/>
                  </a:lnTo>
                  <a:lnTo>
                    <a:pt x="319" y="351"/>
                  </a:lnTo>
                  <a:lnTo>
                    <a:pt x="316" y="361"/>
                  </a:lnTo>
                  <a:lnTo>
                    <a:pt x="287" y="368"/>
                  </a:lnTo>
                  <a:lnTo>
                    <a:pt x="289" y="381"/>
                  </a:lnTo>
                  <a:lnTo>
                    <a:pt x="308" y="391"/>
                  </a:lnTo>
                  <a:lnTo>
                    <a:pt x="304" y="405"/>
                  </a:lnTo>
                  <a:lnTo>
                    <a:pt x="280" y="421"/>
                  </a:lnTo>
                  <a:lnTo>
                    <a:pt x="286" y="444"/>
                  </a:lnTo>
                  <a:lnTo>
                    <a:pt x="303" y="449"/>
                  </a:lnTo>
                  <a:lnTo>
                    <a:pt x="317" y="476"/>
                  </a:lnTo>
                  <a:lnTo>
                    <a:pt x="329" y="476"/>
                  </a:lnTo>
                  <a:lnTo>
                    <a:pt x="361" y="495"/>
                  </a:lnTo>
                  <a:lnTo>
                    <a:pt x="378" y="439"/>
                  </a:lnTo>
                  <a:lnTo>
                    <a:pt x="373" y="423"/>
                  </a:lnTo>
                  <a:lnTo>
                    <a:pt x="384" y="411"/>
                  </a:lnTo>
                  <a:lnTo>
                    <a:pt x="381" y="400"/>
                  </a:lnTo>
                  <a:lnTo>
                    <a:pt x="382" y="381"/>
                  </a:lnTo>
                  <a:lnTo>
                    <a:pt x="390" y="375"/>
                  </a:lnTo>
                  <a:lnTo>
                    <a:pt x="396" y="381"/>
                  </a:lnTo>
                  <a:lnTo>
                    <a:pt x="401" y="397"/>
                  </a:lnTo>
                  <a:lnTo>
                    <a:pt x="406" y="398"/>
                  </a:lnTo>
                  <a:lnTo>
                    <a:pt x="413" y="363"/>
                  </a:lnTo>
                  <a:lnTo>
                    <a:pt x="417" y="356"/>
                  </a:lnTo>
                  <a:lnTo>
                    <a:pt x="427" y="361"/>
                  </a:lnTo>
                  <a:lnTo>
                    <a:pt x="427" y="349"/>
                  </a:lnTo>
                  <a:lnTo>
                    <a:pt x="418" y="335"/>
                  </a:lnTo>
                  <a:lnTo>
                    <a:pt x="431" y="280"/>
                  </a:lnTo>
                  <a:lnTo>
                    <a:pt x="434" y="240"/>
                  </a:lnTo>
                  <a:lnTo>
                    <a:pt x="445" y="231"/>
                  </a:lnTo>
                  <a:lnTo>
                    <a:pt x="463" y="227"/>
                  </a:lnTo>
                  <a:lnTo>
                    <a:pt x="468" y="218"/>
                  </a:lnTo>
                  <a:lnTo>
                    <a:pt x="480" y="217"/>
                  </a:lnTo>
                  <a:lnTo>
                    <a:pt x="507" y="218"/>
                  </a:lnTo>
                  <a:lnTo>
                    <a:pt x="521" y="227"/>
                  </a:lnTo>
                  <a:lnTo>
                    <a:pt x="521" y="218"/>
                  </a:lnTo>
                  <a:lnTo>
                    <a:pt x="519" y="208"/>
                  </a:lnTo>
                  <a:lnTo>
                    <a:pt x="508" y="195"/>
                  </a:lnTo>
                  <a:lnTo>
                    <a:pt x="495" y="185"/>
                  </a:lnTo>
                  <a:lnTo>
                    <a:pt x="479" y="181"/>
                  </a:lnTo>
                  <a:lnTo>
                    <a:pt x="458" y="183"/>
                  </a:lnTo>
                  <a:lnTo>
                    <a:pt x="438" y="169"/>
                  </a:lnTo>
                  <a:lnTo>
                    <a:pt x="438" y="158"/>
                  </a:lnTo>
                  <a:lnTo>
                    <a:pt x="426" y="148"/>
                  </a:lnTo>
                  <a:lnTo>
                    <a:pt x="414" y="132"/>
                  </a:lnTo>
                  <a:lnTo>
                    <a:pt x="406" y="118"/>
                  </a:lnTo>
                  <a:lnTo>
                    <a:pt x="403" y="83"/>
                  </a:lnTo>
                  <a:lnTo>
                    <a:pt x="390" y="64"/>
                  </a:lnTo>
                  <a:lnTo>
                    <a:pt x="378" y="53"/>
                  </a:lnTo>
                  <a:lnTo>
                    <a:pt x="368" y="29"/>
                  </a:lnTo>
                  <a:lnTo>
                    <a:pt x="347" y="7"/>
                  </a:lnTo>
                  <a:lnTo>
                    <a:pt x="335" y="36"/>
                  </a:lnTo>
                  <a:lnTo>
                    <a:pt x="312" y="55"/>
                  </a:lnTo>
                  <a:lnTo>
                    <a:pt x="301" y="60"/>
                  </a:lnTo>
                  <a:lnTo>
                    <a:pt x="286" y="82"/>
                  </a:lnTo>
                  <a:lnTo>
                    <a:pt x="280" y="95"/>
                  </a:lnTo>
                  <a:lnTo>
                    <a:pt x="262" y="98"/>
                  </a:lnTo>
                  <a:lnTo>
                    <a:pt x="243" y="89"/>
                  </a:lnTo>
                  <a:lnTo>
                    <a:pt x="217" y="83"/>
                  </a:lnTo>
                  <a:lnTo>
                    <a:pt x="217" y="64"/>
                  </a:lnTo>
                  <a:lnTo>
                    <a:pt x="205" y="46"/>
                  </a:lnTo>
                  <a:lnTo>
                    <a:pt x="198" y="46"/>
                  </a:lnTo>
                  <a:lnTo>
                    <a:pt x="196" y="37"/>
                  </a:lnTo>
                  <a:lnTo>
                    <a:pt x="173" y="20"/>
                  </a:lnTo>
                  <a:lnTo>
                    <a:pt x="168" y="7"/>
                  </a:lnTo>
                  <a:lnTo>
                    <a:pt x="160" y="7"/>
                  </a:lnTo>
                  <a:lnTo>
                    <a:pt x="149" y="11"/>
                  </a:lnTo>
                  <a:lnTo>
                    <a:pt x="149" y="0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302" name="Freeform 139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3355" y="2050"/>
              <a:ext cx="24" cy="19"/>
            </a:xfrm>
            <a:custGeom>
              <a:avLst/>
              <a:gdLst>
                <a:gd name="T0" fmla="*/ 58 w 157"/>
                <a:gd name="T1" fmla="*/ 14 h 131"/>
                <a:gd name="T2" fmla="*/ 48 w 157"/>
                <a:gd name="T3" fmla="*/ 0 h 131"/>
                <a:gd name="T4" fmla="*/ 37 w 157"/>
                <a:gd name="T5" fmla="*/ 4 h 131"/>
                <a:gd name="T6" fmla="*/ 30 w 157"/>
                <a:gd name="T7" fmla="*/ 7 h 131"/>
                <a:gd name="T8" fmla="*/ 0 w 157"/>
                <a:gd name="T9" fmla="*/ 4 h 131"/>
                <a:gd name="T10" fmla="*/ 10 w 157"/>
                <a:gd name="T11" fmla="*/ 16 h 131"/>
                <a:gd name="T12" fmla="*/ 34 w 157"/>
                <a:gd name="T13" fmla="*/ 65 h 131"/>
                <a:gd name="T14" fmla="*/ 58 w 157"/>
                <a:gd name="T15" fmla="*/ 78 h 131"/>
                <a:gd name="T16" fmla="*/ 71 w 157"/>
                <a:gd name="T17" fmla="*/ 103 h 131"/>
                <a:gd name="T18" fmla="*/ 87 w 157"/>
                <a:gd name="T19" fmla="*/ 117 h 131"/>
                <a:gd name="T20" fmla="*/ 104 w 157"/>
                <a:gd name="T21" fmla="*/ 124 h 131"/>
                <a:gd name="T22" fmla="*/ 128 w 157"/>
                <a:gd name="T23" fmla="*/ 125 h 131"/>
                <a:gd name="T24" fmla="*/ 145 w 157"/>
                <a:gd name="T25" fmla="*/ 124 h 131"/>
                <a:gd name="T26" fmla="*/ 157 w 157"/>
                <a:gd name="T27" fmla="*/ 131 h 131"/>
                <a:gd name="T28" fmla="*/ 139 w 157"/>
                <a:gd name="T29" fmla="*/ 85 h 131"/>
                <a:gd name="T30" fmla="*/ 141 w 157"/>
                <a:gd name="T31" fmla="*/ 69 h 131"/>
                <a:gd name="T32" fmla="*/ 128 w 157"/>
                <a:gd name="T33" fmla="*/ 60 h 131"/>
                <a:gd name="T34" fmla="*/ 122 w 157"/>
                <a:gd name="T35" fmla="*/ 58 h 131"/>
                <a:gd name="T36" fmla="*/ 120 w 157"/>
                <a:gd name="T37" fmla="*/ 44 h 131"/>
                <a:gd name="T38" fmla="*/ 124 w 157"/>
                <a:gd name="T39" fmla="*/ 30 h 131"/>
                <a:gd name="T40" fmla="*/ 102 w 157"/>
                <a:gd name="T41" fmla="*/ 30 h 131"/>
                <a:gd name="T42" fmla="*/ 88 w 157"/>
                <a:gd name="T43" fmla="*/ 37 h 131"/>
                <a:gd name="T44" fmla="*/ 78 w 157"/>
                <a:gd name="T45" fmla="*/ 34 h 131"/>
                <a:gd name="T46" fmla="*/ 62 w 157"/>
                <a:gd name="T47" fmla="*/ 25 h 131"/>
                <a:gd name="T48" fmla="*/ 58 w 157"/>
                <a:gd name="T49" fmla="*/ 14 h 1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57"/>
                <a:gd name="T76" fmla="*/ 0 h 131"/>
                <a:gd name="T77" fmla="*/ 157 w 157"/>
                <a:gd name="T78" fmla="*/ 131 h 131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57" h="131">
                  <a:moveTo>
                    <a:pt x="58" y="14"/>
                  </a:moveTo>
                  <a:lnTo>
                    <a:pt x="48" y="0"/>
                  </a:lnTo>
                  <a:lnTo>
                    <a:pt x="37" y="4"/>
                  </a:lnTo>
                  <a:lnTo>
                    <a:pt x="30" y="7"/>
                  </a:lnTo>
                  <a:lnTo>
                    <a:pt x="0" y="4"/>
                  </a:lnTo>
                  <a:lnTo>
                    <a:pt x="10" y="16"/>
                  </a:lnTo>
                  <a:lnTo>
                    <a:pt x="34" y="65"/>
                  </a:lnTo>
                  <a:lnTo>
                    <a:pt x="58" y="78"/>
                  </a:lnTo>
                  <a:lnTo>
                    <a:pt x="71" y="103"/>
                  </a:lnTo>
                  <a:lnTo>
                    <a:pt x="87" y="117"/>
                  </a:lnTo>
                  <a:lnTo>
                    <a:pt x="104" y="124"/>
                  </a:lnTo>
                  <a:lnTo>
                    <a:pt x="128" y="125"/>
                  </a:lnTo>
                  <a:lnTo>
                    <a:pt x="145" y="124"/>
                  </a:lnTo>
                  <a:lnTo>
                    <a:pt x="157" y="131"/>
                  </a:lnTo>
                  <a:lnTo>
                    <a:pt x="139" y="85"/>
                  </a:lnTo>
                  <a:lnTo>
                    <a:pt x="141" y="69"/>
                  </a:lnTo>
                  <a:lnTo>
                    <a:pt x="128" y="60"/>
                  </a:lnTo>
                  <a:lnTo>
                    <a:pt x="122" y="58"/>
                  </a:lnTo>
                  <a:lnTo>
                    <a:pt x="120" y="44"/>
                  </a:lnTo>
                  <a:lnTo>
                    <a:pt x="124" y="30"/>
                  </a:lnTo>
                  <a:lnTo>
                    <a:pt x="102" y="30"/>
                  </a:lnTo>
                  <a:lnTo>
                    <a:pt x="88" y="37"/>
                  </a:lnTo>
                  <a:lnTo>
                    <a:pt x="78" y="34"/>
                  </a:lnTo>
                  <a:lnTo>
                    <a:pt x="62" y="25"/>
                  </a:lnTo>
                  <a:lnTo>
                    <a:pt x="58" y="14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303" name="Freeform 140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3355" y="2050"/>
              <a:ext cx="24" cy="19"/>
            </a:xfrm>
            <a:custGeom>
              <a:avLst/>
              <a:gdLst>
                <a:gd name="T0" fmla="*/ 48 w 157"/>
                <a:gd name="T1" fmla="*/ 0 h 131"/>
                <a:gd name="T2" fmla="*/ 37 w 157"/>
                <a:gd name="T3" fmla="*/ 4 h 131"/>
                <a:gd name="T4" fmla="*/ 30 w 157"/>
                <a:gd name="T5" fmla="*/ 7 h 131"/>
                <a:gd name="T6" fmla="*/ 0 w 157"/>
                <a:gd name="T7" fmla="*/ 4 h 131"/>
                <a:gd name="T8" fmla="*/ 10 w 157"/>
                <a:gd name="T9" fmla="*/ 16 h 131"/>
                <a:gd name="T10" fmla="*/ 34 w 157"/>
                <a:gd name="T11" fmla="*/ 65 h 131"/>
                <a:gd name="T12" fmla="*/ 58 w 157"/>
                <a:gd name="T13" fmla="*/ 78 h 131"/>
                <a:gd name="T14" fmla="*/ 71 w 157"/>
                <a:gd name="T15" fmla="*/ 103 h 131"/>
                <a:gd name="T16" fmla="*/ 87 w 157"/>
                <a:gd name="T17" fmla="*/ 117 h 131"/>
                <a:gd name="T18" fmla="*/ 104 w 157"/>
                <a:gd name="T19" fmla="*/ 124 h 131"/>
                <a:gd name="T20" fmla="*/ 128 w 157"/>
                <a:gd name="T21" fmla="*/ 125 h 131"/>
                <a:gd name="T22" fmla="*/ 145 w 157"/>
                <a:gd name="T23" fmla="*/ 124 h 131"/>
                <a:gd name="T24" fmla="*/ 157 w 157"/>
                <a:gd name="T25" fmla="*/ 131 h 131"/>
                <a:gd name="T26" fmla="*/ 139 w 157"/>
                <a:gd name="T27" fmla="*/ 85 h 131"/>
                <a:gd name="T28" fmla="*/ 141 w 157"/>
                <a:gd name="T29" fmla="*/ 69 h 131"/>
                <a:gd name="T30" fmla="*/ 128 w 157"/>
                <a:gd name="T31" fmla="*/ 60 h 131"/>
                <a:gd name="T32" fmla="*/ 122 w 157"/>
                <a:gd name="T33" fmla="*/ 58 h 131"/>
                <a:gd name="T34" fmla="*/ 120 w 157"/>
                <a:gd name="T35" fmla="*/ 44 h 131"/>
                <a:gd name="T36" fmla="*/ 124 w 157"/>
                <a:gd name="T37" fmla="*/ 30 h 131"/>
                <a:gd name="T38" fmla="*/ 102 w 157"/>
                <a:gd name="T39" fmla="*/ 30 h 131"/>
                <a:gd name="T40" fmla="*/ 88 w 157"/>
                <a:gd name="T41" fmla="*/ 37 h 131"/>
                <a:gd name="T42" fmla="*/ 78 w 157"/>
                <a:gd name="T43" fmla="*/ 34 h 131"/>
                <a:gd name="T44" fmla="*/ 62 w 157"/>
                <a:gd name="T45" fmla="*/ 25 h 131"/>
                <a:gd name="T46" fmla="*/ 58 w 157"/>
                <a:gd name="T47" fmla="*/ 14 h 131"/>
                <a:gd name="T48" fmla="*/ 48 w 157"/>
                <a:gd name="T49" fmla="*/ 0 h 1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57"/>
                <a:gd name="T76" fmla="*/ 0 h 131"/>
                <a:gd name="T77" fmla="*/ 157 w 157"/>
                <a:gd name="T78" fmla="*/ 131 h 131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57" h="131">
                  <a:moveTo>
                    <a:pt x="48" y="0"/>
                  </a:moveTo>
                  <a:lnTo>
                    <a:pt x="37" y="4"/>
                  </a:lnTo>
                  <a:lnTo>
                    <a:pt x="30" y="7"/>
                  </a:lnTo>
                  <a:lnTo>
                    <a:pt x="0" y="4"/>
                  </a:lnTo>
                  <a:lnTo>
                    <a:pt x="10" y="16"/>
                  </a:lnTo>
                  <a:lnTo>
                    <a:pt x="34" y="65"/>
                  </a:lnTo>
                  <a:lnTo>
                    <a:pt x="58" y="78"/>
                  </a:lnTo>
                  <a:lnTo>
                    <a:pt x="71" y="103"/>
                  </a:lnTo>
                  <a:lnTo>
                    <a:pt x="87" y="117"/>
                  </a:lnTo>
                  <a:lnTo>
                    <a:pt x="104" y="124"/>
                  </a:lnTo>
                  <a:lnTo>
                    <a:pt x="128" y="125"/>
                  </a:lnTo>
                  <a:lnTo>
                    <a:pt x="145" y="124"/>
                  </a:lnTo>
                  <a:lnTo>
                    <a:pt x="157" y="131"/>
                  </a:lnTo>
                  <a:lnTo>
                    <a:pt x="139" y="85"/>
                  </a:lnTo>
                  <a:lnTo>
                    <a:pt x="141" y="69"/>
                  </a:lnTo>
                  <a:lnTo>
                    <a:pt x="128" y="60"/>
                  </a:lnTo>
                  <a:lnTo>
                    <a:pt x="122" y="58"/>
                  </a:lnTo>
                  <a:lnTo>
                    <a:pt x="120" y="44"/>
                  </a:lnTo>
                  <a:lnTo>
                    <a:pt x="124" y="30"/>
                  </a:lnTo>
                  <a:lnTo>
                    <a:pt x="102" y="30"/>
                  </a:lnTo>
                  <a:lnTo>
                    <a:pt x="88" y="37"/>
                  </a:lnTo>
                  <a:lnTo>
                    <a:pt x="78" y="34"/>
                  </a:lnTo>
                  <a:lnTo>
                    <a:pt x="62" y="25"/>
                  </a:lnTo>
                  <a:lnTo>
                    <a:pt x="58" y="14"/>
                  </a:lnTo>
                  <a:lnTo>
                    <a:pt x="48" y="0"/>
                  </a:lnTo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304" name="Freeform 141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3336" y="2018"/>
              <a:ext cx="49" cy="51"/>
            </a:xfrm>
            <a:custGeom>
              <a:avLst/>
              <a:gdLst>
                <a:gd name="T0" fmla="*/ 36 w 315"/>
                <a:gd name="T1" fmla="*/ 90 h 342"/>
                <a:gd name="T2" fmla="*/ 20 w 315"/>
                <a:gd name="T3" fmla="*/ 165 h 342"/>
                <a:gd name="T4" fmla="*/ 94 w 315"/>
                <a:gd name="T5" fmla="*/ 187 h 342"/>
                <a:gd name="T6" fmla="*/ 147 w 315"/>
                <a:gd name="T7" fmla="*/ 218 h 342"/>
                <a:gd name="T8" fmla="*/ 165 w 315"/>
                <a:gd name="T9" fmla="*/ 211 h 342"/>
                <a:gd name="T10" fmla="*/ 179 w 315"/>
                <a:gd name="T11" fmla="*/ 236 h 342"/>
                <a:gd name="T12" fmla="*/ 205 w 315"/>
                <a:gd name="T13" fmla="*/ 248 h 342"/>
                <a:gd name="T14" fmla="*/ 241 w 315"/>
                <a:gd name="T15" fmla="*/ 241 h 342"/>
                <a:gd name="T16" fmla="*/ 239 w 315"/>
                <a:gd name="T17" fmla="*/ 269 h 342"/>
                <a:gd name="T18" fmla="*/ 258 w 315"/>
                <a:gd name="T19" fmla="*/ 280 h 342"/>
                <a:gd name="T20" fmla="*/ 274 w 315"/>
                <a:gd name="T21" fmla="*/ 342 h 342"/>
                <a:gd name="T22" fmla="*/ 306 w 315"/>
                <a:gd name="T23" fmla="*/ 321 h 342"/>
                <a:gd name="T24" fmla="*/ 309 w 315"/>
                <a:gd name="T25" fmla="*/ 312 h 342"/>
                <a:gd name="T26" fmla="*/ 297 w 315"/>
                <a:gd name="T27" fmla="*/ 294 h 342"/>
                <a:gd name="T28" fmla="*/ 294 w 315"/>
                <a:gd name="T29" fmla="*/ 259 h 342"/>
                <a:gd name="T30" fmla="*/ 307 w 315"/>
                <a:gd name="T31" fmla="*/ 239 h 342"/>
                <a:gd name="T32" fmla="*/ 268 w 315"/>
                <a:gd name="T33" fmla="*/ 229 h 342"/>
                <a:gd name="T34" fmla="*/ 248 w 315"/>
                <a:gd name="T35" fmla="*/ 213 h 342"/>
                <a:gd name="T36" fmla="*/ 223 w 315"/>
                <a:gd name="T37" fmla="*/ 183 h 342"/>
                <a:gd name="T38" fmla="*/ 245 w 315"/>
                <a:gd name="T39" fmla="*/ 178 h 342"/>
                <a:gd name="T40" fmla="*/ 253 w 315"/>
                <a:gd name="T41" fmla="*/ 148 h 342"/>
                <a:gd name="T42" fmla="*/ 235 w 315"/>
                <a:gd name="T43" fmla="*/ 137 h 342"/>
                <a:gd name="T44" fmla="*/ 199 w 315"/>
                <a:gd name="T45" fmla="*/ 95 h 342"/>
                <a:gd name="T46" fmla="*/ 219 w 315"/>
                <a:gd name="T47" fmla="*/ 68 h 342"/>
                <a:gd name="T48" fmla="*/ 204 w 315"/>
                <a:gd name="T49" fmla="*/ 44 h 342"/>
                <a:gd name="T50" fmla="*/ 172 w 315"/>
                <a:gd name="T51" fmla="*/ 33 h 342"/>
                <a:gd name="T52" fmla="*/ 179 w 315"/>
                <a:gd name="T53" fmla="*/ 19 h 342"/>
                <a:gd name="T54" fmla="*/ 162 w 315"/>
                <a:gd name="T55" fmla="*/ 0 h 342"/>
                <a:gd name="T56" fmla="*/ 107 w 315"/>
                <a:gd name="T57" fmla="*/ 15 h 342"/>
                <a:gd name="T58" fmla="*/ 63 w 315"/>
                <a:gd name="T59" fmla="*/ 19 h 342"/>
                <a:gd name="T60" fmla="*/ 31 w 315"/>
                <a:gd name="T61" fmla="*/ 28 h 342"/>
                <a:gd name="T62" fmla="*/ 0 w 315"/>
                <a:gd name="T63" fmla="*/ 33 h 34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15"/>
                <a:gd name="T97" fmla="*/ 0 h 342"/>
                <a:gd name="T98" fmla="*/ 315 w 315"/>
                <a:gd name="T99" fmla="*/ 342 h 34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15" h="342">
                  <a:moveTo>
                    <a:pt x="36" y="77"/>
                  </a:moveTo>
                  <a:lnTo>
                    <a:pt x="36" y="90"/>
                  </a:lnTo>
                  <a:lnTo>
                    <a:pt x="19" y="141"/>
                  </a:lnTo>
                  <a:lnTo>
                    <a:pt x="20" y="165"/>
                  </a:lnTo>
                  <a:lnTo>
                    <a:pt x="32" y="179"/>
                  </a:lnTo>
                  <a:lnTo>
                    <a:pt x="94" y="187"/>
                  </a:lnTo>
                  <a:lnTo>
                    <a:pt x="117" y="215"/>
                  </a:lnTo>
                  <a:lnTo>
                    <a:pt x="147" y="218"/>
                  </a:lnTo>
                  <a:lnTo>
                    <a:pt x="154" y="215"/>
                  </a:lnTo>
                  <a:lnTo>
                    <a:pt x="165" y="211"/>
                  </a:lnTo>
                  <a:lnTo>
                    <a:pt x="175" y="225"/>
                  </a:lnTo>
                  <a:lnTo>
                    <a:pt x="179" y="236"/>
                  </a:lnTo>
                  <a:lnTo>
                    <a:pt x="195" y="245"/>
                  </a:lnTo>
                  <a:lnTo>
                    <a:pt x="205" y="248"/>
                  </a:lnTo>
                  <a:lnTo>
                    <a:pt x="219" y="241"/>
                  </a:lnTo>
                  <a:lnTo>
                    <a:pt x="241" y="241"/>
                  </a:lnTo>
                  <a:lnTo>
                    <a:pt x="237" y="255"/>
                  </a:lnTo>
                  <a:lnTo>
                    <a:pt x="239" y="269"/>
                  </a:lnTo>
                  <a:lnTo>
                    <a:pt x="245" y="271"/>
                  </a:lnTo>
                  <a:lnTo>
                    <a:pt x="258" y="280"/>
                  </a:lnTo>
                  <a:lnTo>
                    <a:pt x="256" y="296"/>
                  </a:lnTo>
                  <a:lnTo>
                    <a:pt x="274" y="342"/>
                  </a:lnTo>
                  <a:lnTo>
                    <a:pt x="291" y="340"/>
                  </a:lnTo>
                  <a:lnTo>
                    <a:pt x="306" y="321"/>
                  </a:lnTo>
                  <a:lnTo>
                    <a:pt x="305" y="319"/>
                  </a:lnTo>
                  <a:lnTo>
                    <a:pt x="309" y="312"/>
                  </a:lnTo>
                  <a:lnTo>
                    <a:pt x="305" y="298"/>
                  </a:lnTo>
                  <a:lnTo>
                    <a:pt x="297" y="294"/>
                  </a:lnTo>
                  <a:lnTo>
                    <a:pt x="315" y="285"/>
                  </a:lnTo>
                  <a:lnTo>
                    <a:pt x="294" y="259"/>
                  </a:lnTo>
                  <a:lnTo>
                    <a:pt x="305" y="252"/>
                  </a:lnTo>
                  <a:lnTo>
                    <a:pt x="307" y="239"/>
                  </a:lnTo>
                  <a:lnTo>
                    <a:pt x="279" y="236"/>
                  </a:lnTo>
                  <a:lnTo>
                    <a:pt x="268" y="229"/>
                  </a:lnTo>
                  <a:lnTo>
                    <a:pt x="258" y="215"/>
                  </a:lnTo>
                  <a:lnTo>
                    <a:pt x="248" y="213"/>
                  </a:lnTo>
                  <a:lnTo>
                    <a:pt x="236" y="192"/>
                  </a:lnTo>
                  <a:lnTo>
                    <a:pt x="223" y="183"/>
                  </a:lnTo>
                  <a:lnTo>
                    <a:pt x="221" y="178"/>
                  </a:lnTo>
                  <a:lnTo>
                    <a:pt x="245" y="178"/>
                  </a:lnTo>
                  <a:lnTo>
                    <a:pt x="253" y="162"/>
                  </a:lnTo>
                  <a:lnTo>
                    <a:pt x="253" y="148"/>
                  </a:lnTo>
                  <a:lnTo>
                    <a:pt x="244" y="146"/>
                  </a:lnTo>
                  <a:lnTo>
                    <a:pt x="235" y="137"/>
                  </a:lnTo>
                  <a:lnTo>
                    <a:pt x="211" y="118"/>
                  </a:lnTo>
                  <a:lnTo>
                    <a:pt x="199" y="95"/>
                  </a:lnTo>
                  <a:lnTo>
                    <a:pt x="200" y="77"/>
                  </a:lnTo>
                  <a:lnTo>
                    <a:pt x="219" y="68"/>
                  </a:lnTo>
                  <a:lnTo>
                    <a:pt x="212" y="54"/>
                  </a:lnTo>
                  <a:lnTo>
                    <a:pt x="204" y="44"/>
                  </a:lnTo>
                  <a:lnTo>
                    <a:pt x="184" y="38"/>
                  </a:lnTo>
                  <a:lnTo>
                    <a:pt x="172" y="33"/>
                  </a:lnTo>
                  <a:lnTo>
                    <a:pt x="175" y="28"/>
                  </a:lnTo>
                  <a:lnTo>
                    <a:pt x="179" y="19"/>
                  </a:lnTo>
                  <a:lnTo>
                    <a:pt x="167" y="14"/>
                  </a:lnTo>
                  <a:lnTo>
                    <a:pt x="162" y="0"/>
                  </a:lnTo>
                  <a:lnTo>
                    <a:pt x="150" y="6"/>
                  </a:lnTo>
                  <a:lnTo>
                    <a:pt x="107" y="15"/>
                  </a:lnTo>
                  <a:lnTo>
                    <a:pt x="81" y="12"/>
                  </a:lnTo>
                  <a:lnTo>
                    <a:pt x="63" y="19"/>
                  </a:lnTo>
                  <a:lnTo>
                    <a:pt x="44" y="21"/>
                  </a:lnTo>
                  <a:lnTo>
                    <a:pt x="31" y="28"/>
                  </a:lnTo>
                  <a:lnTo>
                    <a:pt x="16" y="26"/>
                  </a:lnTo>
                  <a:lnTo>
                    <a:pt x="0" y="33"/>
                  </a:lnTo>
                  <a:lnTo>
                    <a:pt x="36" y="77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305" name="Freeform 142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3345" y="2050"/>
              <a:ext cx="283" cy="284"/>
            </a:xfrm>
            <a:custGeom>
              <a:avLst/>
              <a:gdLst>
                <a:gd name="T0" fmla="*/ 38 w 1881"/>
                <a:gd name="T1" fmla="*/ 10 h 1918"/>
                <a:gd name="T2" fmla="*/ 0 w 1881"/>
                <a:gd name="T3" fmla="*/ 79 h 1918"/>
                <a:gd name="T4" fmla="*/ 20 w 1881"/>
                <a:gd name="T5" fmla="*/ 181 h 1918"/>
                <a:gd name="T6" fmla="*/ 16 w 1881"/>
                <a:gd name="T7" fmla="*/ 248 h 1918"/>
                <a:gd name="T8" fmla="*/ 36 w 1881"/>
                <a:gd name="T9" fmla="*/ 287 h 1918"/>
                <a:gd name="T10" fmla="*/ 70 w 1881"/>
                <a:gd name="T11" fmla="*/ 356 h 1918"/>
                <a:gd name="T12" fmla="*/ 211 w 1881"/>
                <a:gd name="T13" fmla="*/ 537 h 1918"/>
                <a:gd name="T14" fmla="*/ 156 w 1881"/>
                <a:gd name="T15" fmla="*/ 692 h 1918"/>
                <a:gd name="T16" fmla="*/ 200 w 1881"/>
                <a:gd name="T17" fmla="*/ 876 h 1918"/>
                <a:gd name="T18" fmla="*/ 240 w 1881"/>
                <a:gd name="T19" fmla="*/ 929 h 1918"/>
                <a:gd name="T20" fmla="*/ 360 w 1881"/>
                <a:gd name="T21" fmla="*/ 1045 h 1918"/>
                <a:gd name="T22" fmla="*/ 354 w 1881"/>
                <a:gd name="T23" fmla="*/ 1158 h 1918"/>
                <a:gd name="T24" fmla="*/ 397 w 1881"/>
                <a:gd name="T25" fmla="*/ 1228 h 1918"/>
                <a:gd name="T26" fmla="*/ 440 w 1881"/>
                <a:gd name="T27" fmla="*/ 1291 h 1918"/>
                <a:gd name="T28" fmla="*/ 486 w 1881"/>
                <a:gd name="T29" fmla="*/ 1236 h 1918"/>
                <a:gd name="T30" fmla="*/ 527 w 1881"/>
                <a:gd name="T31" fmla="*/ 1281 h 1918"/>
                <a:gd name="T32" fmla="*/ 617 w 1881"/>
                <a:gd name="T33" fmla="*/ 1325 h 1918"/>
                <a:gd name="T34" fmla="*/ 715 w 1881"/>
                <a:gd name="T35" fmla="*/ 1540 h 1918"/>
                <a:gd name="T36" fmla="*/ 866 w 1881"/>
                <a:gd name="T37" fmla="*/ 1665 h 1918"/>
                <a:gd name="T38" fmla="*/ 1038 w 1881"/>
                <a:gd name="T39" fmla="*/ 1748 h 1918"/>
                <a:gd name="T40" fmla="*/ 1105 w 1881"/>
                <a:gd name="T41" fmla="*/ 1697 h 1918"/>
                <a:gd name="T42" fmla="*/ 1161 w 1881"/>
                <a:gd name="T43" fmla="*/ 1658 h 1918"/>
                <a:gd name="T44" fmla="*/ 1238 w 1881"/>
                <a:gd name="T45" fmla="*/ 1676 h 1918"/>
                <a:gd name="T46" fmla="*/ 1275 w 1881"/>
                <a:gd name="T47" fmla="*/ 1757 h 1918"/>
                <a:gd name="T48" fmla="*/ 1300 w 1881"/>
                <a:gd name="T49" fmla="*/ 1822 h 1918"/>
                <a:gd name="T50" fmla="*/ 1377 w 1881"/>
                <a:gd name="T51" fmla="*/ 1852 h 1918"/>
                <a:gd name="T52" fmla="*/ 1592 w 1881"/>
                <a:gd name="T53" fmla="*/ 1880 h 1918"/>
                <a:gd name="T54" fmla="*/ 1694 w 1881"/>
                <a:gd name="T55" fmla="*/ 1918 h 1918"/>
                <a:gd name="T56" fmla="*/ 1751 w 1881"/>
                <a:gd name="T57" fmla="*/ 1776 h 1918"/>
                <a:gd name="T58" fmla="*/ 1872 w 1881"/>
                <a:gd name="T59" fmla="*/ 1727 h 1918"/>
                <a:gd name="T60" fmla="*/ 1844 w 1881"/>
                <a:gd name="T61" fmla="*/ 1639 h 1918"/>
                <a:gd name="T62" fmla="*/ 1806 w 1881"/>
                <a:gd name="T63" fmla="*/ 1506 h 1918"/>
                <a:gd name="T64" fmla="*/ 1737 w 1881"/>
                <a:gd name="T65" fmla="*/ 1174 h 1918"/>
                <a:gd name="T66" fmla="*/ 1657 w 1881"/>
                <a:gd name="T67" fmla="*/ 1101 h 1918"/>
                <a:gd name="T68" fmla="*/ 1618 w 1881"/>
                <a:gd name="T69" fmla="*/ 895 h 1918"/>
                <a:gd name="T70" fmla="*/ 1608 w 1881"/>
                <a:gd name="T71" fmla="*/ 810 h 1918"/>
                <a:gd name="T72" fmla="*/ 1639 w 1881"/>
                <a:gd name="T73" fmla="*/ 722 h 1918"/>
                <a:gd name="T74" fmla="*/ 1672 w 1881"/>
                <a:gd name="T75" fmla="*/ 521 h 1918"/>
                <a:gd name="T76" fmla="*/ 1488 w 1881"/>
                <a:gd name="T77" fmla="*/ 314 h 1918"/>
                <a:gd name="T78" fmla="*/ 1308 w 1881"/>
                <a:gd name="T79" fmla="*/ 240 h 1918"/>
                <a:gd name="T80" fmla="*/ 1182 w 1881"/>
                <a:gd name="T81" fmla="*/ 233 h 1918"/>
                <a:gd name="T82" fmla="*/ 1067 w 1881"/>
                <a:gd name="T83" fmla="*/ 263 h 1918"/>
                <a:gd name="T84" fmla="*/ 976 w 1881"/>
                <a:gd name="T85" fmla="*/ 326 h 1918"/>
                <a:gd name="T86" fmla="*/ 890 w 1881"/>
                <a:gd name="T87" fmla="*/ 421 h 1918"/>
                <a:gd name="T88" fmla="*/ 606 w 1881"/>
                <a:gd name="T89" fmla="*/ 388 h 1918"/>
                <a:gd name="T90" fmla="*/ 489 w 1881"/>
                <a:gd name="T91" fmla="*/ 321 h 1918"/>
                <a:gd name="T92" fmla="*/ 466 w 1881"/>
                <a:gd name="T93" fmla="*/ 197 h 1918"/>
                <a:gd name="T94" fmla="*/ 391 w 1881"/>
                <a:gd name="T95" fmla="*/ 146 h 1918"/>
                <a:gd name="T96" fmla="*/ 394 w 1881"/>
                <a:gd name="T97" fmla="*/ 83 h 1918"/>
                <a:gd name="T98" fmla="*/ 422 w 1881"/>
                <a:gd name="T99" fmla="*/ 46 h 1918"/>
                <a:gd name="T100" fmla="*/ 305 w 1881"/>
                <a:gd name="T101" fmla="*/ 51 h 1918"/>
                <a:gd name="T102" fmla="*/ 217 w 1881"/>
                <a:gd name="T103" fmla="*/ 127 h 1918"/>
                <a:gd name="T104" fmla="*/ 147 w 1881"/>
                <a:gd name="T105" fmla="*/ 113 h 1918"/>
                <a:gd name="T106" fmla="*/ 70 w 1881"/>
                <a:gd name="T107" fmla="*/ 12 h 191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881"/>
                <a:gd name="T163" fmla="*/ 0 h 1918"/>
                <a:gd name="T164" fmla="*/ 1881 w 1881"/>
                <a:gd name="T165" fmla="*/ 1918 h 191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881" h="1918">
                  <a:moveTo>
                    <a:pt x="70" y="12"/>
                  </a:moveTo>
                  <a:lnTo>
                    <a:pt x="60" y="0"/>
                  </a:lnTo>
                  <a:lnTo>
                    <a:pt x="56" y="12"/>
                  </a:lnTo>
                  <a:lnTo>
                    <a:pt x="38" y="10"/>
                  </a:lnTo>
                  <a:lnTo>
                    <a:pt x="28" y="19"/>
                  </a:lnTo>
                  <a:lnTo>
                    <a:pt x="28" y="46"/>
                  </a:lnTo>
                  <a:lnTo>
                    <a:pt x="1" y="63"/>
                  </a:lnTo>
                  <a:lnTo>
                    <a:pt x="0" y="79"/>
                  </a:lnTo>
                  <a:lnTo>
                    <a:pt x="12" y="120"/>
                  </a:lnTo>
                  <a:lnTo>
                    <a:pt x="6" y="143"/>
                  </a:lnTo>
                  <a:lnTo>
                    <a:pt x="16" y="174"/>
                  </a:lnTo>
                  <a:lnTo>
                    <a:pt x="20" y="181"/>
                  </a:lnTo>
                  <a:lnTo>
                    <a:pt x="25" y="174"/>
                  </a:lnTo>
                  <a:lnTo>
                    <a:pt x="37" y="187"/>
                  </a:lnTo>
                  <a:lnTo>
                    <a:pt x="38" y="199"/>
                  </a:lnTo>
                  <a:lnTo>
                    <a:pt x="16" y="248"/>
                  </a:lnTo>
                  <a:lnTo>
                    <a:pt x="13" y="257"/>
                  </a:lnTo>
                  <a:lnTo>
                    <a:pt x="24" y="266"/>
                  </a:lnTo>
                  <a:lnTo>
                    <a:pt x="41" y="271"/>
                  </a:lnTo>
                  <a:lnTo>
                    <a:pt x="36" y="287"/>
                  </a:lnTo>
                  <a:lnTo>
                    <a:pt x="40" y="312"/>
                  </a:lnTo>
                  <a:lnTo>
                    <a:pt x="57" y="335"/>
                  </a:lnTo>
                  <a:lnTo>
                    <a:pt x="70" y="337"/>
                  </a:lnTo>
                  <a:lnTo>
                    <a:pt x="70" y="356"/>
                  </a:lnTo>
                  <a:lnTo>
                    <a:pt x="127" y="507"/>
                  </a:lnTo>
                  <a:lnTo>
                    <a:pt x="130" y="518"/>
                  </a:lnTo>
                  <a:lnTo>
                    <a:pt x="163" y="530"/>
                  </a:lnTo>
                  <a:lnTo>
                    <a:pt x="211" y="537"/>
                  </a:lnTo>
                  <a:lnTo>
                    <a:pt x="189" y="572"/>
                  </a:lnTo>
                  <a:lnTo>
                    <a:pt x="189" y="588"/>
                  </a:lnTo>
                  <a:lnTo>
                    <a:pt x="207" y="634"/>
                  </a:lnTo>
                  <a:lnTo>
                    <a:pt x="156" y="692"/>
                  </a:lnTo>
                  <a:lnTo>
                    <a:pt x="147" y="736"/>
                  </a:lnTo>
                  <a:lnTo>
                    <a:pt x="141" y="787"/>
                  </a:lnTo>
                  <a:lnTo>
                    <a:pt x="141" y="800"/>
                  </a:lnTo>
                  <a:lnTo>
                    <a:pt x="200" y="876"/>
                  </a:lnTo>
                  <a:lnTo>
                    <a:pt x="199" y="923"/>
                  </a:lnTo>
                  <a:lnTo>
                    <a:pt x="201" y="932"/>
                  </a:lnTo>
                  <a:lnTo>
                    <a:pt x="216" y="927"/>
                  </a:lnTo>
                  <a:lnTo>
                    <a:pt x="240" y="929"/>
                  </a:lnTo>
                  <a:lnTo>
                    <a:pt x="295" y="981"/>
                  </a:lnTo>
                  <a:lnTo>
                    <a:pt x="314" y="994"/>
                  </a:lnTo>
                  <a:lnTo>
                    <a:pt x="348" y="1029"/>
                  </a:lnTo>
                  <a:lnTo>
                    <a:pt x="360" y="1045"/>
                  </a:lnTo>
                  <a:lnTo>
                    <a:pt x="366" y="1059"/>
                  </a:lnTo>
                  <a:lnTo>
                    <a:pt x="364" y="1089"/>
                  </a:lnTo>
                  <a:lnTo>
                    <a:pt x="355" y="1124"/>
                  </a:lnTo>
                  <a:lnTo>
                    <a:pt x="354" y="1158"/>
                  </a:lnTo>
                  <a:lnTo>
                    <a:pt x="355" y="1177"/>
                  </a:lnTo>
                  <a:lnTo>
                    <a:pt x="388" y="1177"/>
                  </a:lnTo>
                  <a:lnTo>
                    <a:pt x="396" y="1205"/>
                  </a:lnTo>
                  <a:lnTo>
                    <a:pt x="397" y="1228"/>
                  </a:lnTo>
                  <a:lnTo>
                    <a:pt x="394" y="1240"/>
                  </a:lnTo>
                  <a:lnTo>
                    <a:pt x="424" y="1272"/>
                  </a:lnTo>
                  <a:lnTo>
                    <a:pt x="438" y="1284"/>
                  </a:lnTo>
                  <a:lnTo>
                    <a:pt x="440" y="1291"/>
                  </a:lnTo>
                  <a:lnTo>
                    <a:pt x="457" y="1291"/>
                  </a:lnTo>
                  <a:lnTo>
                    <a:pt x="464" y="1281"/>
                  </a:lnTo>
                  <a:lnTo>
                    <a:pt x="478" y="1242"/>
                  </a:lnTo>
                  <a:lnTo>
                    <a:pt x="486" y="1236"/>
                  </a:lnTo>
                  <a:lnTo>
                    <a:pt x="506" y="1229"/>
                  </a:lnTo>
                  <a:lnTo>
                    <a:pt x="507" y="1263"/>
                  </a:lnTo>
                  <a:lnTo>
                    <a:pt x="515" y="1279"/>
                  </a:lnTo>
                  <a:lnTo>
                    <a:pt x="527" y="1281"/>
                  </a:lnTo>
                  <a:lnTo>
                    <a:pt x="534" y="1288"/>
                  </a:lnTo>
                  <a:lnTo>
                    <a:pt x="555" y="1291"/>
                  </a:lnTo>
                  <a:lnTo>
                    <a:pt x="594" y="1282"/>
                  </a:lnTo>
                  <a:lnTo>
                    <a:pt x="617" y="1325"/>
                  </a:lnTo>
                  <a:lnTo>
                    <a:pt x="650" y="1367"/>
                  </a:lnTo>
                  <a:lnTo>
                    <a:pt x="650" y="1402"/>
                  </a:lnTo>
                  <a:lnTo>
                    <a:pt x="659" y="1416"/>
                  </a:lnTo>
                  <a:lnTo>
                    <a:pt x="715" y="1540"/>
                  </a:lnTo>
                  <a:lnTo>
                    <a:pt x="740" y="1566"/>
                  </a:lnTo>
                  <a:lnTo>
                    <a:pt x="773" y="1573"/>
                  </a:lnTo>
                  <a:lnTo>
                    <a:pt x="818" y="1598"/>
                  </a:lnTo>
                  <a:lnTo>
                    <a:pt x="866" y="1665"/>
                  </a:lnTo>
                  <a:lnTo>
                    <a:pt x="913" y="1683"/>
                  </a:lnTo>
                  <a:lnTo>
                    <a:pt x="939" y="1702"/>
                  </a:lnTo>
                  <a:lnTo>
                    <a:pt x="980" y="1709"/>
                  </a:lnTo>
                  <a:lnTo>
                    <a:pt x="1038" y="1748"/>
                  </a:lnTo>
                  <a:lnTo>
                    <a:pt x="1047" y="1744"/>
                  </a:lnTo>
                  <a:lnTo>
                    <a:pt x="1064" y="1729"/>
                  </a:lnTo>
                  <a:lnTo>
                    <a:pt x="1082" y="1704"/>
                  </a:lnTo>
                  <a:lnTo>
                    <a:pt x="1105" y="1697"/>
                  </a:lnTo>
                  <a:lnTo>
                    <a:pt x="1113" y="1676"/>
                  </a:lnTo>
                  <a:lnTo>
                    <a:pt x="1137" y="1670"/>
                  </a:lnTo>
                  <a:lnTo>
                    <a:pt x="1152" y="1670"/>
                  </a:lnTo>
                  <a:lnTo>
                    <a:pt x="1161" y="1658"/>
                  </a:lnTo>
                  <a:lnTo>
                    <a:pt x="1177" y="1656"/>
                  </a:lnTo>
                  <a:lnTo>
                    <a:pt x="1213" y="1658"/>
                  </a:lnTo>
                  <a:lnTo>
                    <a:pt x="1236" y="1665"/>
                  </a:lnTo>
                  <a:lnTo>
                    <a:pt x="1238" y="1676"/>
                  </a:lnTo>
                  <a:lnTo>
                    <a:pt x="1248" y="1674"/>
                  </a:lnTo>
                  <a:lnTo>
                    <a:pt x="1262" y="1702"/>
                  </a:lnTo>
                  <a:lnTo>
                    <a:pt x="1262" y="1737"/>
                  </a:lnTo>
                  <a:lnTo>
                    <a:pt x="1275" y="1757"/>
                  </a:lnTo>
                  <a:lnTo>
                    <a:pt x="1279" y="1787"/>
                  </a:lnTo>
                  <a:lnTo>
                    <a:pt x="1292" y="1794"/>
                  </a:lnTo>
                  <a:lnTo>
                    <a:pt x="1292" y="1822"/>
                  </a:lnTo>
                  <a:lnTo>
                    <a:pt x="1300" y="1822"/>
                  </a:lnTo>
                  <a:lnTo>
                    <a:pt x="1313" y="1833"/>
                  </a:lnTo>
                  <a:lnTo>
                    <a:pt x="1348" y="1840"/>
                  </a:lnTo>
                  <a:lnTo>
                    <a:pt x="1356" y="1854"/>
                  </a:lnTo>
                  <a:lnTo>
                    <a:pt x="1377" y="1852"/>
                  </a:lnTo>
                  <a:lnTo>
                    <a:pt x="1439" y="1854"/>
                  </a:lnTo>
                  <a:lnTo>
                    <a:pt x="1467" y="1882"/>
                  </a:lnTo>
                  <a:lnTo>
                    <a:pt x="1494" y="1879"/>
                  </a:lnTo>
                  <a:lnTo>
                    <a:pt x="1592" y="1880"/>
                  </a:lnTo>
                  <a:lnTo>
                    <a:pt x="1610" y="1884"/>
                  </a:lnTo>
                  <a:lnTo>
                    <a:pt x="1636" y="1898"/>
                  </a:lnTo>
                  <a:lnTo>
                    <a:pt x="1647" y="1910"/>
                  </a:lnTo>
                  <a:lnTo>
                    <a:pt x="1694" y="1918"/>
                  </a:lnTo>
                  <a:lnTo>
                    <a:pt x="1717" y="1917"/>
                  </a:lnTo>
                  <a:lnTo>
                    <a:pt x="1726" y="1843"/>
                  </a:lnTo>
                  <a:lnTo>
                    <a:pt x="1741" y="1797"/>
                  </a:lnTo>
                  <a:lnTo>
                    <a:pt x="1751" y="1776"/>
                  </a:lnTo>
                  <a:lnTo>
                    <a:pt x="1787" y="1750"/>
                  </a:lnTo>
                  <a:lnTo>
                    <a:pt x="1819" y="1736"/>
                  </a:lnTo>
                  <a:lnTo>
                    <a:pt x="1864" y="1730"/>
                  </a:lnTo>
                  <a:lnTo>
                    <a:pt x="1872" y="1727"/>
                  </a:lnTo>
                  <a:lnTo>
                    <a:pt x="1880" y="1713"/>
                  </a:lnTo>
                  <a:lnTo>
                    <a:pt x="1881" y="1658"/>
                  </a:lnTo>
                  <a:lnTo>
                    <a:pt x="1873" y="1642"/>
                  </a:lnTo>
                  <a:lnTo>
                    <a:pt x="1844" y="1639"/>
                  </a:lnTo>
                  <a:lnTo>
                    <a:pt x="1836" y="1617"/>
                  </a:lnTo>
                  <a:lnTo>
                    <a:pt x="1832" y="1540"/>
                  </a:lnTo>
                  <a:lnTo>
                    <a:pt x="1824" y="1519"/>
                  </a:lnTo>
                  <a:lnTo>
                    <a:pt x="1806" y="1506"/>
                  </a:lnTo>
                  <a:lnTo>
                    <a:pt x="1755" y="1483"/>
                  </a:lnTo>
                  <a:lnTo>
                    <a:pt x="1725" y="1462"/>
                  </a:lnTo>
                  <a:lnTo>
                    <a:pt x="1643" y="1312"/>
                  </a:lnTo>
                  <a:lnTo>
                    <a:pt x="1737" y="1174"/>
                  </a:lnTo>
                  <a:lnTo>
                    <a:pt x="1734" y="1149"/>
                  </a:lnTo>
                  <a:lnTo>
                    <a:pt x="1729" y="1128"/>
                  </a:lnTo>
                  <a:lnTo>
                    <a:pt x="1710" y="1117"/>
                  </a:lnTo>
                  <a:lnTo>
                    <a:pt x="1657" y="1101"/>
                  </a:lnTo>
                  <a:lnTo>
                    <a:pt x="1648" y="1100"/>
                  </a:lnTo>
                  <a:lnTo>
                    <a:pt x="1639" y="1087"/>
                  </a:lnTo>
                  <a:lnTo>
                    <a:pt x="1615" y="904"/>
                  </a:lnTo>
                  <a:lnTo>
                    <a:pt x="1618" y="895"/>
                  </a:lnTo>
                  <a:lnTo>
                    <a:pt x="1645" y="840"/>
                  </a:lnTo>
                  <a:lnTo>
                    <a:pt x="1645" y="830"/>
                  </a:lnTo>
                  <a:lnTo>
                    <a:pt x="1612" y="816"/>
                  </a:lnTo>
                  <a:lnTo>
                    <a:pt x="1608" y="810"/>
                  </a:lnTo>
                  <a:lnTo>
                    <a:pt x="1602" y="770"/>
                  </a:lnTo>
                  <a:lnTo>
                    <a:pt x="1603" y="763"/>
                  </a:lnTo>
                  <a:lnTo>
                    <a:pt x="1628" y="740"/>
                  </a:lnTo>
                  <a:lnTo>
                    <a:pt x="1639" y="722"/>
                  </a:lnTo>
                  <a:lnTo>
                    <a:pt x="1675" y="578"/>
                  </a:lnTo>
                  <a:lnTo>
                    <a:pt x="1682" y="563"/>
                  </a:lnTo>
                  <a:lnTo>
                    <a:pt x="1677" y="562"/>
                  </a:lnTo>
                  <a:lnTo>
                    <a:pt x="1672" y="521"/>
                  </a:lnTo>
                  <a:lnTo>
                    <a:pt x="1671" y="435"/>
                  </a:lnTo>
                  <a:lnTo>
                    <a:pt x="1661" y="423"/>
                  </a:lnTo>
                  <a:lnTo>
                    <a:pt x="1596" y="427"/>
                  </a:lnTo>
                  <a:lnTo>
                    <a:pt x="1488" y="314"/>
                  </a:lnTo>
                  <a:lnTo>
                    <a:pt x="1461" y="293"/>
                  </a:lnTo>
                  <a:lnTo>
                    <a:pt x="1432" y="284"/>
                  </a:lnTo>
                  <a:lnTo>
                    <a:pt x="1375" y="275"/>
                  </a:lnTo>
                  <a:lnTo>
                    <a:pt x="1308" y="240"/>
                  </a:lnTo>
                  <a:lnTo>
                    <a:pt x="1289" y="213"/>
                  </a:lnTo>
                  <a:lnTo>
                    <a:pt x="1222" y="204"/>
                  </a:lnTo>
                  <a:lnTo>
                    <a:pt x="1205" y="211"/>
                  </a:lnTo>
                  <a:lnTo>
                    <a:pt x="1182" y="233"/>
                  </a:lnTo>
                  <a:lnTo>
                    <a:pt x="1168" y="234"/>
                  </a:lnTo>
                  <a:lnTo>
                    <a:pt x="1107" y="234"/>
                  </a:lnTo>
                  <a:lnTo>
                    <a:pt x="1089" y="243"/>
                  </a:lnTo>
                  <a:lnTo>
                    <a:pt x="1067" y="263"/>
                  </a:lnTo>
                  <a:lnTo>
                    <a:pt x="1041" y="301"/>
                  </a:lnTo>
                  <a:lnTo>
                    <a:pt x="1019" y="321"/>
                  </a:lnTo>
                  <a:lnTo>
                    <a:pt x="994" y="328"/>
                  </a:lnTo>
                  <a:lnTo>
                    <a:pt x="976" y="326"/>
                  </a:lnTo>
                  <a:lnTo>
                    <a:pt x="981" y="381"/>
                  </a:lnTo>
                  <a:lnTo>
                    <a:pt x="972" y="402"/>
                  </a:lnTo>
                  <a:lnTo>
                    <a:pt x="954" y="416"/>
                  </a:lnTo>
                  <a:lnTo>
                    <a:pt x="890" y="421"/>
                  </a:lnTo>
                  <a:lnTo>
                    <a:pt x="757" y="450"/>
                  </a:lnTo>
                  <a:lnTo>
                    <a:pt x="720" y="446"/>
                  </a:lnTo>
                  <a:lnTo>
                    <a:pt x="637" y="416"/>
                  </a:lnTo>
                  <a:lnTo>
                    <a:pt x="606" y="388"/>
                  </a:lnTo>
                  <a:lnTo>
                    <a:pt x="585" y="344"/>
                  </a:lnTo>
                  <a:lnTo>
                    <a:pt x="568" y="337"/>
                  </a:lnTo>
                  <a:lnTo>
                    <a:pt x="531" y="335"/>
                  </a:lnTo>
                  <a:lnTo>
                    <a:pt x="489" y="321"/>
                  </a:lnTo>
                  <a:lnTo>
                    <a:pt x="469" y="305"/>
                  </a:lnTo>
                  <a:lnTo>
                    <a:pt x="459" y="275"/>
                  </a:lnTo>
                  <a:lnTo>
                    <a:pt x="465" y="240"/>
                  </a:lnTo>
                  <a:lnTo>
                    <a:pt x="466" y="197"/>
                  </a:lnTo>
                  <a:lnTo>
                    <a:pt x="434" y="178"/>
                  </a:lnTo>
                  <a:lnTo>
                    <a:pt x="422" y="178"/>
                  </a:lnTo>
                  <a:lnTo>
                    <a:pt x="408" y="151"/>
                  </a:lnTo>
                  <a:lnTo>
                    <a:pt x="391" y="146"/>
                  </a:lnTo>
                  <a:lnTo>
                    <a:pt x="385" y="123"/>
                  </a:lnTo>
                  <a:lnTo>
                    <a:pt x="409" y="107"/>
                  </a:lnTo>
                  <a:lnTo>
                    <a:pt x="413" y="93"/>
                  </a:lnTo>
                  <a:lnTo>
                    <a:pt x="394" y="83"/>
                  </a:lnTo>
                  <a:lnTo>
                    <a:pt x="392" y="70"/>
                  </a:lnTo>
                  <a:lnTo>
                    <a:pt x="421" y="63"/>
                  </a:lnTo>
                  <a:lnTo>
                    <a:pt x="424" y="53"/>
                  </a:lnTo>
                  <a:lnTo>
                    <a:pt x="422" y="46"/>
                  </a:lnTo>
                  <a:lnTo>
                    <a:pt x="400" y="33"/>
                  </a:lnTo>
                  <a:lnTo>
                    <a:pt x="385" y="16"/>
                  </a:lnTo>
                  <a:lnTo>
                    <a:pt x="372" y="5"/>
                  </a:lnTo>
                  <a:lnTo>
                    <a:pt x="305" y="51"/>
                  </a:lnTo>
                  <a:lnTo>
                    <a:pt x="287" y="77"/>
                  </a:lnTo>
                  <a:lnTo>
                    <a:pt x="259" y="90"/>
                  </a:lnTo>
                  <a:lnTo>
                    <a:pt x="234" y="125"/>
                  </a:lnTo>
                  <a:lnTo>
                    <a:pt x="217" y="127"/>
                  </a:lnTo>
                  <a:lnTo>
                    <a:pt x="205" y="120"/>
                  </a:lnTo>
                  <a:lnTo>
                    <a:pt x="188" y="121"/>
                  </a:lnTo>
                  <a:lnTo>
                    <a:pt x="164" y="120"/>
                  </a:lnTo>
                  <a:lnTo>
                    <a:pt x="147" y="113"/>
                  </a:lnTo>
                  <a:lnTo>
                    <a:pt x="131" y="99"/>
                  </a:lnTo>
                  <a:lnTo>
                    <a:pt x="118" y="74"/>
                  </a:lnTo>
                  <a:lnTo>
                    <a:pt x="94" y="61"/>
                  </a:lnTo>
                  <a:lnTo>
                    <a:pt x="70" y="12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306" name="Freeform 143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3268" y="2100"/>
              <a:ext cx="144" cy="162"/>
            </a:xfrm>
            <a:custGeom>
              <a:avLst/>
              <a:gdLst>
                <a:gd name="T0" fmla="*/ 502 w 960"/>
                <a:gd name="T1" fmla="*/ 3 h 1092"/>
                <a:gd name="T2" fmla="*/ 475 w 960"/>
                <a:gd name="T3" fmla="*/ 17 h 1092"/>
                <a:gd name="T4" fmla="*/ 424 w 960"/>
                <a:gd name="T5" fmla="*/ 8 h 1092"/>
                <a:gd name="T6" fmla="*/ 391 w 960"/>
                <a:gd name="T7" fmla="*/ 5 h 1092"/>
                <a:gd name="T8" fmla="*/ 368 w 960"/>
                <a:gd name="T9" fmla="*/ 17 h 1092"/>
                <a:gd name="T10" fmla="*/ 311 w 960"/>
                <a:gd name="T11" fmla="*/ 107 h 1092"/>
                <a:gd name="T12" fmla="*/ 259 w 960"/>
                <a:gd name="T13" fmla="*/ 130 h 1092"/>
                <a:gd name="T14" fmla="*/ 247 w 960"/>
                <a:gd name="T15" fmla="*/ 167 h 1092"/>
                <a:gd name="T16" fmla="*/ 257 w 960"/>
                <a:gd name="T17" fmla="*/ 226 h 1092"/>
                <a:gd name="T18" fmla="*/ 0 w 960"/>
                <a:gd name="T19" fmla="*/ 546 h 1092"/>
                <a:gd name="T20" fmla="*/ 56 w 960"/>
                <a:gd name="T21" fmla="*/ 685 h 1092"/>
                <a:gd name="T22" fmla="*/ 391 w 960"/>
                <a:gd name="T23" fmla="*/ 875 h 1092"/>
                <a:gd name="T24" fmla="*/ 418 w 960"/>
                <a:gd name="T25" fmla="*/ 922 h 1092"/>
                <a:gd name="T26" fmla="*/ 467 w 960"/>
                <a:gd name="T27" fmla="*/ 924 h 1092"/>
                <a:gd name="T28" fmla="*/ 470 w 960"/>
                <a:gd name="T29" fmla="*/ 968 h 1092"/>
                <a:gd name="T30" fmla="*/ 477 w 960"/>
                <a:gd name="T31" fmla="*/ 1028 h 1092"/>
                <a:gd name="T32" fmla="*/ 581 w 960"/>
                <a:gd name="T33" fmla="*/ 1085 h 1092"/>
                <a:gd name="T34" fmla="*/ 803 w 960"/>
                <a:gd name="T35" fmla="*/ 1025 h 1092"/>
                <a:gd name="T36" fmla="*/ 842 w 960"/>
                <a:gd name="T37" fmla="*/ 977 h 1092"/>
                <a:gd name="T38" fmla="*/ 900 w 960"/>
                <a:gd name="T39" fmla="*/ 968 h 1092"/>
                <a:gd name="T40" fmla="*/ 926 w 960"/>
                <a:gd name="T41" fmla="*/ 968 h 1092"/>
                <a:gd name="T42" fmla="*/ 960 w 960"/>
                <a:gd name="T43" fmla="*/ 961 h 1092"/>
                <a:gd name="T44" fmla="*/ 944 w 960"/>
                <a:gd name="T45" fmla="*/ 942 h 1092"/>
                <a:gd name="T46" fmla="*/ 917 w 960"/>
                <a:gd name="T47" fmla="*/ 898 h 1092"/>
                <a:gd name="T48" fmla="*/ 908 w 960"/>
                <a:gd name="T49" fmla="*/ 847 h 1092"/>
                <a:gd name="T50" fmla="*/ 874 w 960"/>
                <a:gd name="T51" fmla="*/ 828 h 1092"/>
                <a:gd name="T52" fmla="*/ 884 w 960"/>
                <a:gd name="T53" fmla="*/ 759 h 1092"/>
                <a:gd name="T54" fmla="*/ 880 w 960"/>
                <a:gd name="T55" fmla="*/ 715 h 1092"/>
                <a:gd name="T56" fmla="*/ 834 w 960"/>
                <a:gd name="T57" fmla="*/ 664 h 1092"/>
                <a:gd name="T58" fmla="*/ 760 w 960"/>
                <a:gd name="T59" fmla="*/ 599 h 1092"/>
                <a:gd name="T60" fmla="*/ 721 w 960"/>
                <a:gd name="T61" fmla="*/ 602 h 1092"/>
                <a:gd name="T62" fmla="*/ 720 w 960"/>
                <a:gd name="T63" fmla="*/ 546 h 1092"/>
                <a:gd name="T64" fmla="*/ 661 w 960"/>
                <a:gd name="T65" fmla="*/ 457 h 1092"/>
                <a:gd name="T66" fmla="*/ 676 w 960"/>
                <a:gd name="T67" fmla="*/ 362 h 1092"/>
                <a:gd name="T68" fmla="*/ 709 w 960"/>
                <a:gd name="T69" fmla="*/ 258 h 1092"/>
                <a:gd name="T70" fmla="*/ 731 w 960"/>
                <a:gd name="T71" fmla="*/ 207 h 1092"/>
                <a:gd name="T72" fmla="*/ 650 w 960"/>
                <a:gd name="T73" fmla="*/ 188 h 1092"/>
                <a:gd name="T74" fmla="*/ 590 w 960"/>
                <a:gd name="T75" fmla="*/ 26 h 1092"/>
                <a:gd name="T76" fmla="*/ 553 w 960"/>
                <a:gd name="T77" fmla="*/ 49 h 1092"/>
                <a:gd name="T78" fmla="*/ 533 w 960"/>
                <a:gd name="T79" fmla="*/ 49 h 1092"/>
                <a:gd name="T80" fmla="*/ 531 w 960"/>
                <a:gd name="T81" fmla="*/ 17 h 109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960"/>
                <a:gd name="T124" fmla="*/ 0 h 1092"/>
                <a:gd name="T125" fmla="*/ 960 w 960"/>
                <a:gd name="T126" fmla="*/ 1092 h 109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960" h="1092">
                  <a:moveTo>
                    <a:pt x="519" y="8"/>
                  </a:moveTo>
                  <a:lnTo>
                    <a:pt x="502" y="3"/>
                  </a:lnTo>
                  <a:lnTo>
                    <a:pt x="490" y="17"/>
                  </a:lnTo>
                  <a:lnTo>
                    <a:pt x="475" y="17"/>
                  </a:lnTo>
                  <a:lnTo>
                    <a:pt x="439" y="7"/>
                  </a:lnTo>
                  <a:lnTo>
                    <a:pt x="424" y="8"/>
                  </a:lnTo>
                  <a:lnTo>
                    <a:pt x="410" y="0"/>
                  </a:lnTo>
                  <a:lnTo>
                    <a:pt x="391" y="5"/>
                  </a:lnTo>
                  <a:lnTo>
                    <a:pt x="379" y="14"/>
                  </a:lnTo>
                  <a:lnTo>
                    <a:pt x="368" y="17"/>
                  </a:lnTo>
                  <a:lnTo>
                    <a:pt x="372" y="31"/>
                  </a:lnTo>
                  <a:lnTo>
                    <a:pt x="311" y="107"/>
                  </a:lnTo>
                  <a:lnTo>
                    <a:pt x="273" y="118"/>
                  </a:lnTo>
                  <a:lnTo>
                    <a:pt x="259" y="130"/>
                  </a:lnTo>
                  <a:lnTo>
                    <a:pt x="249" y="151"/>
                  </a:lnTo>
                  <a:lnTo>
                    <a:pt x="247" y="167"/>
                  </a:lnTo>
                  <a:lnTo>
                    <a:pt x="256" y="198"/>
                  </a:lnTo>
                  <a:lnTo>
                    <a:pt x="257" y="226"/>
                  </a:lnTo>
                  <a:lnTo>
                    <a:pt x="230" y="387"/>
                  </a:lnTo>
                  <a:lnTo>
                    <a:pt x="0" y="546"/>
                  </a:lnTo>
                  <a:lnTo>
                    <a:pt x="52" y="681"/>
                  </a:lnTo>
                  <a:lnTo>
                    <a:pt x="56" y="685"/>
                  </a:lnTo>
                  <a:lnTo>
                    <a:pt x="58" y="689"/>
                  </a:lnTo>
                  <a:lnTo>
                    <a:pt x="391" y="875"/>
                  </a:lnTo>
                  <a:lnTo>
                    <a:pt x="401" y="885"/>
                  </a:lnTo>
                  <a:lnTo>
                    <a:pt x="418" y="922"/>
                  </a:lnTo>
                  <a:lnTo>
                    <a:pt x="425" y="926"/>
                  </a:lnTo>
                  <a:lnTo>
                    <a:pt x="467" y="924"/>
                  </a:lnTo>
                  <a:lnTo>
                    <a:pt x="474" y="945"/>
                  </a:lnTo>
                  <a:lnTo>
                    <a:pt x="470" y="968"/>
                  </a:lnTo>
                  <a:lnTo>
                    <a:pt x="471" y="1014"/>
                  </a:lnTo>
                  <a:lnTo>
                    <a:pt x="477" y="1028"/>
                  </a:lnTo>
                  <a:lnTo>
                    <a:pt x="512" y="1044"/>
                  </a:lnTo>
                  <a:lnTo>
                    <a:pt x="581" y="1085"/>
                  </a:lnTo>
                  <a:lnTo>
                    <a:pt x="760" y="1092"/>
                  </a:lnTo>
                  <a:lnTo>
                    <a:pt x="803" y="1025"/>
                  </a:lnTo>
                  <a:lnTo>
                    <a:pt x="818" y="986"/>
                  </a:lnTo>
                  <a:lnTo>
                    <a:pt x="842" y="977"/>
                  </a:lnTo>
                  <a:lnTo>
                    <a:pt x="896" y="975"/>
                  </a:lnTo>
                  <a:lnTo>
                    <a:pt x="900" y="968"/>
                  </a:lnTo>
                  <a:lnTo>
                    <a:pt x="908" y="965"/>
                  </a:lnTo>
                  <a:lnTo>
                    <a:pt x="926" y="968"/>
                  </a:lnTo>
                  <a:lnTo>
                    <a:pt x="956" y="961"/>
                  </a:lnTo>
                  <a:lnTo>
                    <a:pt x="960" y="961"/>
                  </a:lnTo>
                  <a:lnTo>
                    <a:pt x="958" y="954"/>
                  </a:lnTo>
                  <a:lnTo>
                    <a:pt x="944" y="942"/>
                  </a:lnTo>
                  <a:lnTo>
                    <a:pt x="914" y="910"/>
                  </a:lnTo>
                  <a:lnTo>
                    <a:pt x="917" y="898"/>
                  </a:lnTo>
                  <a:lnTo>
                    <a:pt x="916" y="875"/>
                  </a:lnTo>
                  <a:lnTo>
                    <a:pt x="908" y="847"/>
                  </a:lnTo>
                  <a:lnTo>
                    <a:pt x="875" y="847"/>
                  </a:lnTo>
                  <a:lnTo>
                    <a:pt x="874" y="828"/>
                  </a:lnTo>
                  <a:lnTo>
                    <a:pt x="875" y="794"/>
                  </a:lnTo>
                  <a:lnTo>
                    <a:pt x="884" y="759"/>
                  </a:lnTo>
                  <a:lnTo>
                    <a:pt x="886" y="729"/>
                  </a:lnTo>
                  <a:lnTo>
                    <a:pt x="880" y="715"/>
                  </a:lnTo>
                  <a:lnTo>
                    <a:pt x="868" y="699"/>
                  </a:lnTo>
                  <a:lnTo>
                    <a:pt x="834" y="664"/>
                  </a:lnTo>
                  <a:lnTo>
                    <a:pt x="815" y="651"/>
                  </a:lnTo>
                  <a:lnTo>
                    <a:pt x="760" y="599"/>
                  </a:lnTo>
                  <a:lnTo>
                    <a:pt x="736" y="597"/>
                  </a:lnTo>
                  <a:lnTo>
                    <a:pt x="721" y="602"/>
                  </a:lnTo>
                  <a:lnTo>
                    <a:pt x="719" y="593"/>
                  </a:lnTo>
                  <a:lnTo>
                    <a:pt x="720" y="546"/>
                  </a:lnTo>
                  <a:lnTo>
                    <a:pt x="661" y="470"/>
                  </a:lnTo>
                  <a:lnTo>
                    <a:pt x="661" y="457"/>
                  </a:lnTo>
                  <a:lnTo>
                    <a:pt x="667" y="406"/>
                  </a:lnTo>
                  <a:lnTo>
                    <a:pt x="676" y="362"/>
                  </a:lnTo>
                  <a:lnTo>
                    <a:pt x="727" y="304"/>
                  </a:lnTo>
                  <a:lnTo>
                    <a:pt x="709" y="258"/>
                  </a:lnTo>
                  <a:lnTo>
                    <a:pt x="709" y="242"/>
                  </a:lnTo>
                  <a:lnTo>
                    <a:pt x="731" y="207"/>
                  </a:lnTo>
                  <a:lnTo>
                    <a:pt x="683" y="200"/>
                  </a:lnTo>
                  <a:lnTo>
                    <a:pt x="650" y="188"/>
                  </a:lnTo>
                  <a:lnTo>
                    <a:pt x="647" y="177"/>
                  </a:lnTo>
                  <a:lnTo>
                    <a:pt x="590" y="26"/>
                  </a:lnTo>
                  <a:lnTo>
                    <a:pt x="573" y="24"/>
                  </a:lnTo>
                  <a:lnTo>
                    <a:pt x="553" y="49"/>
                  </a:lnTo>
                  <a:lnTo>
                    <a:pt x="547" y="56"/>
                  </a:lnTo>
                  <a:lnTo>
                    <a:pt x="533" y="49"/>
                  </a:lnTo>
                  <a:lnTo>
                    <a:pt x="528" y="33"/>
                  </a:lnTo>
                  <a:lnTo>
                    <a:pt x="531" y="17"/>
                  </a:lnTo>
                  <a:lnTo>
                    <a:pt x="519" y="8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307" name="Freeform 144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3220" y="2100"/>
              <a:ext cx="103" cy="99"/>
            </a:xfrm>
            <a:custGeom>
              <a:avLst/>
              <a:gdLst>
                <a:gd name="T0" fmla="*/ 105 w 691"/>
                <a:gd name="T1" fmla="*/ 83 h 680"/>
                <a:gd name="T2" fmla="*/ 107 w 691"/>
                <a:gd name="T3" fmla="*/ 128 h 680"/>
                <a:gd name="T4" fmla="*/ 90 w 691"/>
                <a:gd name="T5" fmla="*/ 162 h 680"/>
                <a:gd name="T6" fmla="*/ 75 w 691"/>
                <a:gd name="T7" fmla="*/ 196 h 680"/>
                <a:gd name="T8" fmla="*/ 62 w 691"/>
                <a:gd name="T9" fmla="*/ 202 h 680"/>
                <a:gd name="T10" fmla="*/ 31 w 691"/>
                <a:gd name="T11" fmla="*/ 193 h 680"/>
                <a:gd name="T12" fmla="*/ 22 w 691"/>
                <a:gd name="T13" fmla="*/ 219 h 680"/>
                <a:gd name="T14" fmla="*/ 22 w 691"/>
                <a:gd name="T15" fmla="*/ 233 h 680"/>
                <a:gd name="T16" fmla="*/ 15 w 691"/>
                <a:gd name="T17" fmla="*/ 249 h 680"/>
                <a:gd name="T18" fmla="*/ 28 w 691"/>
                <a:gd name="T19" fmla="*/ 276 h 680"/>
                <a:gd name="T20" fmla="*/ 29 w 691"/>
                <a:gd name="T21" fmla="*/ 309 h 680"/>
                <a:gd name="T22" fmla="*/ 34 w 691"/>
                <a:gd name="T23" fmla="*/ 378 h 680"/>
                <a:gd name="T24" fmla="*/ 65 w 691"/>
                <a:gd name="T25" fmla="*/ 376 h 680"/>
                <a:gd name="T26" fmla="*/ 73 w 691"/>
                <a:gd name="T27" fmla="*/ 380 h 680"/>
                <a:gd name="T28" fmla="*/ 69 w 691"/>
                <a:gd name="T29" fmla="*/ 394 h 680"/>
                <a:gd name="T30" fmla="*/ 90 w 691"/>
                <a:gd name="T31" fmla="*/ 408 h 680"/>
                <a:gd name="T32" fmla="*/ 94 w 691"/>
                <a:gd name="T33" fmla="*/ 424 h 680"/>
                <a:gd name="T34" fmla="*/ 98 w 691"/>
                <a:gd name="T35" fmla="*/ 436 h 680"/>
                <a:gd name="T36" fmla="*/ 65 w 691"/>
                <a:gd name="T37" fmla="*/ 473 h 680"/>
                <a:gd name="T38" fmla="*/ 73 w 691"/>
                <a:gd name="T39" fmla="*/ 484 h 680"/>
                <a:gd name="T40" fmla="*/ 34 w 691"/>
                <a:gd name="T41" fmla="*/ 500 h 680"/>
                <a:gd name="T42" fmla="*/ 40 w 691"/>
                <a:gd name="T43" fmla="*/ 514 h 680"/>
                <a:gd name="T44" fmla="*/ 19 w 691"/>
                <a:gd name="T45" fmla="*/ 540 h 680"/>
                <a:gd name="T46" fmla="*/ 0 w 691"/>
                <a:gd name="T47" fmla="*/ 560 h 680"/>
                <a:gd name="T48" fmla="*/ 16 w 691"/>
                <a:gd name="T49" fmla="*/ 586 h 680"/>
                <a:gd name="T50" fmla="*/ 15 w 691"/>
                <a:gd name="T51" fmla="*/ 606 h 680"/>
                <a:gd name="T52" fmla="*/ 118 w 691"/>
                <a:gd name="T53" fmla="*/ 680 h 680"/>
                <a:gd name="T54" fmla="*/ 549 w 691"/>
                <a:gd name="T55" fmla="*/ 387 h 680"/>
                <a:gd name="T56" fmla="*/ 575 w 691"/>
                <a:gd name="T57" fmla="*/ 198 h 680"/>
                <a:gd name="T58" fmla="*/ 568 w 691"/>
                <a:gd name="T59" fmla="*/ 151 h 680"/>
                <a:gd name="T60" fmla="*/ 592 w 691"/>
                <a:gd name="T61" fmla="*/ 118 h 680"/>
                <a:gd name="T62" fmla="*/ 691 w 691"/>
                <a:gd name="T63" fmla="*/ 31 h 680"/>
                <a:gd name="T64" fmla="*/ 686 w 691"/>
                <a:gd name="T65" fmla="*/ 1 h 680"/>
                <a:gd name="T66" fmla="*/ 666 w 691"/>
                <a:gd name="T67" fmla="*/ 17 h 680"/>
                <a:gd name="T68" fmla="*/ 582 w 691"/>
                <a:gd name="T69" fmla="*/ 49 h 680"/>
                <a:gd name="T70" fmla="*/ 519 w 691"/>
                <a:gd name="T71" fmla="*/ 40 h 680"/>
                <a:gd name="T72" fmla="*/ 433 w 691"/>
                <a:gd name="T73" fmla="*/ 84 h 680"/>
                <a:gd name="T74" fmla="*/ 360 w 691"/>
                <a:gd name="T75" fmla="*/ 104 h 680"/>
                <a:gd name="T76" fmla="*/ 254 w 691"/>
                <a:gd name="T77" fmla="*/ 70 h 680"/>
                <a:gd name="T78" fmla="*/ 180 w 691"/>
                <a:gd name="T79" fmla="*/ 97 h 680"/>
                <a:gd name="T80" fmla="*/ 122 w 691"/>
                <a:gd name="T81" fmla="*/ 84 h 68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691"/>
                <a:gd name="T124" fmla="*/ 0 h 680"/>
                <a:gd name="T125" fmla="*/ 691 w 691"/>
                <a:gd name="T126" fmla="*/ 680 h 68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691" h="680">
                  <a:moveTo>
                    <a:pt x="111" y="84"/>
                  </a:moveTo>
                  <a:lnTo>
                    <a:pt x="105" y="83"/>
                  </a:lnTo>
                  <a:lnTo>
                    <a:pt x="103" y="102"/>
                  </a:lnTo>
                  <a:lnTo>
                    <a:pt x="107" y="128"/>
                  </a:lnTo>
                  <a:lnTo>
                    <a:pt x="118" y="155"/>
                  </a:lnTo>
                  <a:lnTo>
                    <a:pt x="90" y="162"/>
                  </a:lnTo>
                  <a:lnTo>
                    <a:pt x="85" y="186"/>
                  </a:lnTo>
                  <a:lnTo>
                    <a:pt x="75" y="196"/>
                  </a:lnTo>
                  <a:lnTo>
                    <a:pt x="66" y="193"/>
                  </a:lnTo>
                  <a:lnTo>
                    <a:pt x="62" y="202"/>
                  </a:lnTo>
                  <a:lnTo>
                    <a:pt x="45" y="193"/>
                  </a:lnTo>
                  <a:lnTo>
                    <a:pt x="31" y="193"/>
                  </a:lnTo>
                  <a:lnTo>
                    <a:pt x="34" y="200"/>
                  </a:lnTo>
                  <a:lnTo>
                    <a:pt x="22" y="219"/>
                  </a:lnTo>
                  <a:lnTo>
                    <a:pt x="17" y="219"/>
                  </a:lnTo>
                  <a:lnTo>
                    <a:pt x="22" y="233"/>
                  </a:lnTo>
                  <a:lnTo>
                    <a:pt x="16" y="240"/>
                  </a:lnTo>
                  <a:lnTo>
                    <a:pt x="15" y="249"/>
                  </a:lnTo>
                  <a:lnTo>
                    <a:pt x="10" y="256"/>
                  </a:lnTo>
                  <a:lnTo>
                    <a:pt x="28" y="276"/>
                  </a:lnTo>
                  <a:lnTo>
                    <a:pt x="32" y="306"/>
                  </a:lnTo>
                  <a:lnTo>
                    <a:pt x="29" y="309"/>
                  </a:lnTo>
                  <a:lnTo>
                    <a:pt x="24" y="345"/>
                  </a:lnTo>
                  <a:lnTo>
                    <a:pt x="34" y="378"/>
                  </a:lnTo>
                  <a:lnTo>
                    <a:pt x="50" y="380"/>
                  </a:lnTo>
                  <a:lnTo>
                    <a:pt x="65" y="376"/>
                  </a:lnTo>
                  <a:lnTo>
                    <a:pt x="70" y="373"/>
                  </a:lnTo>
                  <a:lnTo>
                    <a:pt x="73" y="380"/>
                  </a:lnTo>
                  <a:lnTo>
                    <a:pt x="78" y="383"/>
                  </a:lnTo>
                  <a:lnTo>
                    <a:pt x="69" y="394"/>
                  </a:lnTo>
                  <a:lnTo>
                    <a:pt x="79" y="397"/>
                  </a:lnTo>
                  <a:lnTo>
                    <a:pt x="90" y="408"/>
                  </a:lnTo>
                  <a:lnTo>
                    <a:pt x="91" y="420"/>
                  </a:lnTo>
                  <a:lnTo>
                    <a:pt x="94" y="424"/>
                  </a:lnTo>
                  <a:lnTo>
                    <a:pt x="94" y="433"/>
                  </a:lnTo>
                  <a:lnTo>
                    <a:pt x="98" y="436"/>
                  </a:lnTo>
                  <a:lnTo>
                    <a:pt x="69" y="466"/>
                  </a:lnTo>
                  <a:lnTo>
                    <a:pt x="65" y="473"/>
                  </a:lnTo>
                  <a:lnTo>
                    <a:pt x="66" y="477"/>
                  </a:lnTo>
                  <a:lnTo>
                    <a:pt x="73" y="484"/>
                  </a:lnTo>
                  <a:lnTo>
                    <a:pt x="48" y="486"/>
                  </a:lnTo>
                  <a:lnTo>
                    <a:pt x="34" y="500"/>
                  </a:lnTo>
                  <a:lnTo>
                    <a:pt x="31" y="509"/>
                  </a:lnTo>
                  <a:lnTo>
                    <a:pt x="40" y="514"/>
                  </a:lnTo>
                  <a:lnTo>
                    <a:pt x="42" y="517"/>
                  </a:lnTo>
                  <a:lnTo>
                    <a:pt x="19" y="540"/>
                  </a:lnTo>
                  <a:lnTo>
                    <a:pt x="17" y="547"/>
                  </a:lnTo>
                  <a:lnTo>
                    <a:pt x="0" y="560"/>
                  </a:lnTo>
                  <a:lnTo>
                    <a:pt x="7" y="579"/>
                  </a:lnTo>
                  <a:lnTo>
                    <a:pt x="16" y="586"/>
                  </a:lnTo>
                  <a:lnTo>
                    <a:pt x="17" y="597"/>
                  </a:lnTo>
                  <a:lnTo>
                    <a:pt x="15" y="606"/>
                  </a:lnTo>
                  <a:lnTo>
                    <a:pt x="103" y="671"/>
                  </a:lnTo>
                  <a:lnTo>
                    <a:pt x="118" y="680"/>
                  </a:lnTo>
                  <a:lnTo>
                    <a:pt x="130" y="680"/>
                  </a:lnTo>
                  <a:lnTo>
                    <a:pt x="549" y="387"/>
                  </a:lnTo>
                  <a:lnTo>
                    <a:pt x="576" y="226"/>
                  </a:lnTo>
                  <a:lnTo>
                    <a:pt x="575" y="198"/>
                  </a:lnTo>
                  <a:lnTo>
                    <a:pt x="566" y="167"/>
                  </a:lnTo>
                  <a:lnTo>
                    <a:pt x="568" y="151"/>
                  </a:lnTo>
                  <a:lnTo>
                    <a:pt x="578" y="130"/>
                  </a:lnTo>
                  <a:lnTo>
                    <a:pt x="592" y="118"/>
                  </a:lnTo>
                  <a:lnTo>
                    <a:pt x="630" y="107"/>
                  </a:lnTo>
                  <a:lnTo>
                    <a:pt x="691" y="31"/>
                  </a:lnTo>
                  <a:lnTo>
                    <a:pt x="687" y="17"/>
                  </a:lnTo>
                  <a:lnTo>
                    <a:pt x="686" y="1"/>
                  </a:lnTo>
                  <a:lnTo>
                    <a:pt x="675" y="0"/>
                  </a:lnTo>
                  <a:lnTo>
                    <a:pt x="666" y="17"/>
                  </a:lnTo>
                  <a:lnTo>
                    <a:pt x="635" y="37"/>
                  </a:lnTo>
                  <a:lnTo>
                    <a:pt x="582" y="49"/>
                  </a:lnTo>
                  <a:lnTo>
                    <a:pt x="551" y="47"/>
                  </a:lnTo>
                  <a:lnTo>
                    <a:pt x="519" y="40"/>
                  </a:lnTo>
                  <a:lnTo>
                    <a:pt x="499" y="44"/>
                  </a:lnTo>
                  <a:lnTo>
                    <a:pt x="433" y="84"/>
                  </a:lnTo>
                  <a:lnTo>
                    <a:pt x="408" y="93"/>
                  </a:lnTo>
                  <a:lnTo>
                    <a:pt x="360" y="104"/>
                  </a:lnTo>
                  <a:lnTo>
                    <a:pt x="266" y="67"/>
                  </a:lnTo>
                  <a:lnTo>
                    <a:pt x="254" y="70"/>
                  </a:lnTo>
                  <a:lnTo>
                    <a:pt x="213" y="91"/>
                  </a:lnTo>
                  <a:lnTo>
                    <a:pt x="180" y="97"/>
                  </a:lnTo>
                  <a:lnTo>
                    <a:pt x="155" y="95"/>
                  </a:lnTo>
                  <a:lnTo>
                    <a:pt x="122" y="84"/>
                  </a:lnTo>
                  <a:lnTo>
                    <a:pt x="111" y="84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308" name="Freeform 145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3212" y="2154"/>
              <a:ext cx="22" cy="33"/>
            </a:xfrm>
            <a:custGeom>
              <a:avLst/>
              <a:gdLst>
                <a:gd name="T0" fmla="*/ 86 w 150"/>
                <a:gd name="T1" fmla="*/ 5 h 213"/>
                <a:gd name="T2" fmla="*/ 88 w 150"/>
                <a:gd name="T3" fmla="*/ 14 h 213"/>
                <a:gd name="T4" fmla="*/ 83 w 150"/>
                <a:gd name="T5" fmla="*/ 24 h 213"/>
                <a:gd name="T6" fmla="*/ 72 w 150"/>
                <a:gd name="T7" fmla="*/ 28 h 213"/>
                <a:gd name="T8" fmla="*/ 55 w 150"/>
                <a:gd name="T9" fmla="*/ 54 h 213"/>
                <a:gd name="T10" fmla="*/ 51 w 150"/>
                <a:gd name="T11" fmla="*/ 92 h 213"/>
                <a:gd name="T12" fmla="*/ 44 w 150"/>
                <a:gd name="T13" fmla="*/ 104 h 213"/>
                <a:gd name="T14" fmla="*/ 35 w 150"/>
                <a:gd name="T15" fmla="*/ 104 h 213"/>
                <a:gd name="T16" fmla="*/ 37 w 150"/>
                <a:gd name="T17" fmla="*/ 116 h 213"/>
                <a:gd name="T18" fmla="*/ 22 w 150"/>
                <a:gd name="T19" fmla="*/ 157 h 213"/>
                <a:gd name="T20" fmla="*/ 15 w 150"/>
                <a:gd name="T21" fmla="*/ 171 h 213"/>
                <a:gd name="T22" fmla="*/ 10 w 150"/>
                <a:gd name="T23" fmla="*/ 192 h 213"/>
                <a:gd name="T24" fmla="*/ 0 w 150"/>
                <a:gd name="T25" fmla="*/ 208 h 213"/>
                <a:gd name="T26" fmla="*/ 16 w 150"/>
                <a:gd name="T27" fmla="*/ 204 h 213"/>
                <a:gd name="T28" fmla="*/ 22 w 150"/>
                <a:gd name="T29" fmla="*/ 206 h 213"/>
                <a:gd name="T30" fmla="*/ 25 w 150"/>
                <a:gd name="T31" fmla="*/ 213 h 213"/>
                <a:gd name="T32" fmla="*/ 41 w 150"/>
                <a:gd name="T33" fmla="*/ 208 h 213"/>
                <a:gd name="T34" fmla="*/ 41 w 150"/>
                <a:gd name="T35" fmla="*/ 199 h 213"/>
                <a:gd name="T36" fmla="*/ 44 w 150"/>
                <a:gd name="T37" fmla="*/ 187 h 213"/>
                <a:gd name="T38" fmla="*/ 49 w 150"/>
                <a:gd name="T39" fmla="*/ 185 h 213"/>
                <a:gd name="T40" fmla="*/ 52 w 150"/>
                <a:gd name="T41" fmla="*/ 187 h 213"/>
                <a:gd name="T42" fmla="*/ 69 w 150"/>
                <a:gd name="T43" fmla="*/ 174 h 213"/>
                <a:gd name="T44" fmla="*/ 71 w 150"/>
                <a:gd name="T45" fmla="*/ 167 h 213"/>
                <a:gd name="T46" fmla="*/ 94 w 150"/>
                <a:gd name="T47" fmla="*/ 144 h 213"/>
                <a:gd name="T48" fmla="*/ 92 w 150"/>
                <a:gd name="T49" fmla="*/ 141 h 213"/>
                <a:gd name="T50" fmla="*/ 83 w 150"/>
                <a:gd name="T51" fmla="*/ 136 h 213"/>
                <a:gd name="T52" fmla="*/ 86 w 150"/>
                <a:gd name="T53" fmla="*/ 127 h 213"/>
                <a:gd name="T54" fmla="*/ 100 w 150"/>
                <a:gd name="T55" fmla="*/ 113 h 213"/>
                <a:gd name="T56" fmla="*/ 125 w 150"/>
                <a:gd name="T57" fmla="*/ 111 h 213"/>
                <a:gd name="T58" fmla="*/ 118 w 150"/>
                <a:gd name="T59" fmla="*/ 104 h 213"/>
                <a:gd name="T60" fmla="*/ 117 w 150"/>
                <a:gd name="T61" fmla="*/ 100 h 213"/>
                <a:gd name="T62" fmla="*/ 121 w 150"/>
                <a:gd name="T63" fmla="*/ 93 h 213"/>
                <a:gd name="T64" fmla="*/ 150 w 150"/>
                <a:gd name="T65" fmla="*/ 63 h 213"/>
                <a:gd name="T66" fmla="*/ 146 w 150"/>
                <a:gd name="T67" fmla="*/ 60 h 213"/>
                <a:gd name="T68" fmla="*/ 146 w 150"/>
                <a:gd name="T69" fmla="*/ 51 h 213"/>
                <a:gd name="T70" fmla="*/ 143 w 150"/>
                <a:gd name="T71" fmla="*/ 47 h 213"/>
                <a:gd name="T72" fmla="*/ 142 w 150"/>
                <a:gd name="T73" fmla="*/ 35 h 213"/>
                <a:gd name="T74" fmla="*/ 131 w 150"/>
                <a:gd name="T75" fmla="*/ 24 h 213"/>
                <a:gd name="T76" fmla="*/ 121 w 150"/>
                <a:gd name="T77" fmla="*/ 21 h 213"/>
                <a:gd name="T78" fmla="*/ 130 w 150"/>
                <a:gd name="T79" fmla="*/ 10 h 213"/>
                <a:gd name="T80" fmla="*/ 125 w 150"/>
                <a:gd name="T81" fmla="*/ 7 h 213"/>
                <a:gd name="T82" fmla="*/ 122 w 150"/>
                <a:gd name="T83" fmla="*/ 0 h 213"/>
                <a:gd name="T84" fmla="*/ 117 w 150"/>
                <a:gd name="T85" fmla="*/ 3 h 213"/>
                <a:gd name="T86" fmla="*/ 102 w 150"/>
                <a:gd name="T87" fmla="*/ 7 h 213"/>
                <a:gd name="T88" fmla="*/ 86 w 150"/>
                <a:gd name="T89" fmla="*/ 5 h 21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50"/>
                <a:gd name="T136" fmla="*/ 0 h 213"/>
                <a:gd name="T137" fmla="*/ 150 w 150"/>
                <a:gd name="T138" fmla="*/ 213 h 21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50" h="213">
                  <a:moveTo>
                    <a:pt x="86" y="5"/>
                  </a:moveTo>
                  <a:lnTo>
                    <a:pt x="88" y="14"/>
                  </a:lnTo>
                  <a:lnTo>
                    <a:pt x="83" y="24"/>
                  </a:lnTo>
                  <a:lnTo>
                    <a:pt x="72" y="28"/>
                  </a:lnTo>
                  <a:lnTo>
                    <a:pt x="55" y="54"/>
                  </a:lnTo>
                  <a:lnTo>
                    <a:pt x="51" y="92"/>
                  </a:lnTo>
                  <a:lnTo>
                    <a:pt x="44" y="104"/>
                  </a:lnTo>
                  <a:lnTo>
                    <a:pt x="35" y="104"/>
                  </a:lnTo>
                  <a:lnTo>
                    <a:pt x="37" y="116"/>
                  </a:lnTo>
                  <a:lnTo>
                    <a:pt x="22" y="157"/>
                  </a:lnTo>
                  <a:lnTo>
                    <a:pt x="15" y="171"/>
                  </a:lnTo>
                  <a:lnTo>
                    <a:pt x="10" y="192"/>
                  </a:lnTo>
                  <a:lnTo>
                    <a:pt x="0" y="208"/>
                  </a:lnTo>
                  <a:lnTo>
                    <a:pt x="16" y="204"/>
                  </a:lnTo>
                  <a:lnTo>
                    <a:pt x="22" y="206"/>
                  </a:lnTo>
                  <a:lnTo>
                    <a:pt x="25" y="213"/>
                  </a:lnTo>
                  <a:lnTo>
                    <a:pt x="41" y="208"/>
                  </a:lnTo>
                  <a:lnTo>
                    <a:pt x="41" y="199"/>
                  </a:lnTo>
                  <a:lnTo>
                    <a:pt x="44" y="187"/>
                  </a:lnTo>
                  <a:lnTo>
                    <a:pt x="49" y="185"/>
                  </a:lnTo>
                  <a:lnTo>
                    <a:pt x="52" y="187"/>
                  </a:lnTo>
                  <a:lnTo>
                    <a:pt x="69" y="174"/>
                  </a:lnTo>
                  <a:lnTo>
                    <a:pt x="71" y="167"/>
                  </a:lnTo>
                  <a:lnTo>
                    <a:pt x="94" y="144"/>
                  </a:lnTo>
                  <a:lnTo>
                    <a:pt x="92" y="141"/>
                  </a:lnTo>
                  <a:lnTo>
                    <a:pt x="83" y="136"/>
                  </a:lnTo>
                  <a:lnTo>
                    <a:pt x="86" y="127"/>
                  </a:lnTo>
                  <a:lnTo>
                    <a:pt x="100" y="113"/>
                  </a:lnTo>
                  <a:lnTo>
                    <a:pt x="125" y="111"/>
                  </a:lnTo>
                  <a:lnTo>
                    <a:pt x="118" y="104"/>
                  </a:lnTo>
                  <a:lnTo>
                    <a:pt x="117" y="100"/>
                  </a:lnTo>
                  <a:lnTo>
                    <a:pt x="121" y="93"/>
                  </a:lnTo>
                  <a:lnTo>
                    <a:pt x="150" y="63"/>
                  </a:lnTo>
                  <a:lnTo>
                    <a:pt x="146" y="60"/>
                  </a:lnTo>
                  <a:lnTo>
                    <a:pt x="146" y="51"/>
                  </a:lnTo>
                  <a:lnTo>
                    <a:pt x="143" y="47"/>
                  </a:lnTo>
                  <a:lnTo>
                    <a:pt x="142" y="35"/>
                  </a:lnTo>
                  <a:lnTo>
                    <a:pt x="131" y="24"/>
                  </a:lnTo>
                  <a:lnTo>
                    <a:pt x="121" y="21"/>
                  </a:lnTo>
                  <a:lnTo>
                    <a:pt x="130" y="10"/>
                  </a:lnTo>
                  <a:lnTo>
                    <a:pt x="125" y="7"/>
                  </a:lnTo>
                  <a:lnTo>
                    <a:pt x="122" y="0"/>
                  </a:lnTo>
                  <a:lnTo>
                    <a:pt x="117" y="3"/>
                  </a:lnTo>
                  <a:lnTo>
                    <a:pt x="102" y="7"/>
                  </a:lnTo>
                  <a:lnTo>
                    <a:pt x="86" y="5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309" name="Freeform 146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3381" y="2243"/>
              <a:ext cx="29" cy="29"/>
            </a:xfrm>
            <a:custGeom>
              <a:avLst/>
              <a:gdLst>
                <a:gd name="T0" fmla="*/ 126 w 189"/>
                <a:gd name="T1" fmla="*/ 90 h 187"/>
                <a:gd name="T2" fmla="*/ 108 w 189"/>
                <a:gd name="T3" fmla="*/ 80 h 187"/>
                <a:gd name="T4" fmla="*/ 131 w 189"/>
                <a:gd name="T5" fmla="*/ 50 h 187"/>
                <a:gd name="T6" fmla="*/ 145 w 189"/>
                <a:gd name="T7" fmla="*/ 51 h 187"/>
                <a:gd name="T8" fmla="*/ 139 w 189"/>
                <a:gd name="T9" fmla="*/ 11 h 187"/>
                <a:gd name="T10" fmla="*/ 136 w 189"/>
                <a:gd name="T11" fmla="*/ 0 h 187"/>
                <a:gd name="T12" fmla="*/ 82 w 189"/>
                <a:gd name="T13" fmla="*/ 2 h 187"/>
                <a:gd name="T14" fmla="*/ 58 w 189"/>
                <a:gd name="T15" fmla="*/ 11 h 187"/>
                <a:gd name="T16" fmla="*/ 43 w 189"/>
                <a:gd name="T17" fmla="*/ 50 h 187"/>
                <a:gd name="T18" fmla="*/ 0 w 189"/>
                <a:gd name="T19" fmla="*/ 117 h 187"/>
                <a:gd name="T20" fmla="*/ 73 w 189"/>
                <a:gd name="T21" fmla="*/ 133 h 187"/>
                <a:gd name="T22" fmla="*/ 90 w 189"/>
                <a:gd name="T23" fmla="*/ 134 h 187"/>
                <a:gd name="T24" fmla="*/ 106 w 189"/>
                <a:gd name="T25" fmla="*/ 170 h 187"/>
                <a:gd name="T26" fmla="*/ 114 w 189"/>
                <a:gd name="T27" fmla="*/ 184 h 187"/>
                <a:gd name="T28" fmla="*/ 160 w 189"/>
                <a:gd name="T29" fmla="*/ 187 h 187"/>
                <a:gd name="T30" fmla="*/ 189 w 189"/>
                <a:gd name="T31" fmla="*/ 184 h 187"/>
                <a:gd name="T32" fmla="*/ 159 w 189"/>
                <a:gd name="T33" fmla="*/ 80 h 187"/>
                <a:gd name="T34" fmla="*/ 145 w 189"/>
                <a:gd name="T35" fmla="*/ 78 h 187"/>
                <a:gd name="T36" fmla="*/ 126 w 189"/>
                <a:gd name="T37" fmla="*/ 90 h 18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89"/>
                <a:gd name="T58" fmla="*/ 0 h 187"/>
                <a:gd name="T59" fmla="*/ 189 w 189"/>
                <a:gd name="T60" fmla="*/ 187 h 18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89" h="187">
                  <a:moveTo>
                    <a:pt x="126" y="90"/>
                  </a:moveTo>
                  <a:lnTo>
                    <a:pt x="108" y="80"/>
                  </a:lnTo>
                  <a:lnTo>
                    <a:pt x="131" y="50"/>
                  </a:lnTo>
                  <a:lnTo>
                    <a:pt x="145" y="51"/>
                  </a:lnTo>
                  <a:lnTo>
                    <a:pt x="139" y="11"/>
                  </a:lnTo>
                  <a:lnTo>
                    <a:pt x="136" y="0"/>
                  </a:lnTo>
                  <a:lnTo>
                    <a:pt x="82" y="2"/>
                  </a:lnTo>
                  <a:lnTo>
                    <a:pt x="58" y="11"/>
                  </a:lnTo>
                  <a:lnTo>
                    <a:pt x="43" y="50"/>
                  </a:lnTo>
                  <a:lnTo>
                    <a:pt x="0" y="117"/>
                  </a:lnTo>
                  <a:lnTo>
                    <a:pt x="73" y="133"/>
                  </a:lnTo>
                  <a:lnTo>
                    <a:pt x="90" y="134"/>
                  </a:lnTo>
                  <a:lnTo>
                    <a:pt x="106" y="170"/>
                  </a:lnTo>
                  <a:lnTo>
                    <a:pt x="114" y="184"/>
                  </a:lnTo>
                  <a:lnTo>
                    <a:pt x="160" y="187"/>
                  </a:lnTo>
                  <a:lnTo>
                    <a:pt x="189" y="184"/>
                  </a:lnTo>
                  <a:lnTo>
                    <a:pt x="159" y="80"/>
                  </a:lnTo>
                  <a:lnTo>
                    <a:pt x="145" y="78"/>
                  </a:lnTo>
                  <a:lnTo>
                    <a:pt x="126" y="90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310" name="Freeform 147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5408" y="3524"/>
              <a:ext cx="88" cy="144"/>
            </a:xfrm>
            <a:custGeom>
              <a:avLst/>
              <a:gdLst>
                <a:gd name="T0" fmla="*/ 161 w 584"/>
                <a:gd name="T1" fmla="*/ 120 h 968"/>
                <a:gd name="T2" fmla="*/ 154 w 584"/>
                <a:gd name="T3" fmla="*/ 107 h 968"/>
                <a:gd name="T4" fmla="*/ 140 w 584"/>
                <a:gd name="T5" fmla="*/ 118 h 968"/>
                <a:gd name="T6" fmla="*/ 135 w 584"/>
                <a:gd name="T7" fmla="*/ 93 h 968"/>
                <a:gd name="T8" fmla="*/ 81 w 584"/>
                <a:gd name="T9" fmla="*/ 67 h 968"/>
                <a:gd name="T10" fmla="*/ 68 w 584"/>
                <a:gd name="T11" fmla="*/ 74 h 968"/>
                <a:gd name="T12" fmla="*/ 33 w 584"/>
                <a:gd name="T13" fmla="*/ 28 h 968"/>
                <a:gd name="T14" fmla="*/ 37 w 584"/>
                <a:gd name="T15" fmla="*/ 0 h 968"/>
                <a:gd name="T16" fmla="*/ 16 w 584"/>
                <a:gd name="T17" fmla="*/ 9 h 968"/>
                <a:gd name="T18" fmla="*/ 0 w 584"/>
                <a:gd name="T19" fmla="*/ 5 h 968"/>
                <a:gd name="T20" fmla="*/ 30 w 584"/>
                <a:gd name="T21" fmla="*/ 46 h 968"/>
                <a:gd name="T22" fmla="*/ 42 w 584"/>
                <a:gd name="T23" fmla="*/ 79 h 968"/>
                <a:gd name="T24" fmla="*/ 52 w 584"/>
                <a:gd name="T25" fmla="*/ 113 h 968"/>
                <a:gd name="T26" fmla="*/ 126 w 584"/>
                <a:gd name="T27" fmla="*/ 236 h 968"/>
                <a:gd name="T28" fmla="*/ 142 w 584"/>
                <a:gd name="T29" fmla="*/ 254 h 968"/>
                <a:gd name="T30" fmla="*/ 118 w 584"/>
                <a:gd name="T31" fmla="*/ 213 h 968"/>
                <a:gd name="T32" fmla="*/ 140 w 584"/>
                <a:gd name="T33" fmla="*/ 220 h 968"/>
                <a:gd name="T34" fmla="*/ 160 w 584"/>
                <a:gd name="T35" fmla="*/ 261 h 968"/>
                <a:gd name="T36" fmla="*/ 180 w 584"/>
                <a:gd name="T37" fmla="*/ 310 h 968"/>
                <a:gd name="T38" fmla="*/ 204 w 584"/>
                <a:gd name="T39" fmla="*/ 404 h 968"/>
                <a:gd name="T40" fmla="*/ 225 w 584"/>
                <a:gd name="T41" fmla="*/ 479 h 968"/>
                <a:gd name="T42" fmla="*/ 203 w 584"/>
                <a:gd name="T43" fmla="*/ 525 h 968"/>
                <a:gd name="T44" fmla="*/ 197 w 584"/>
                <a:gd name="T45" fmla="*/ 599 h 968"/>
                <a:gd name="T46" fmla="*/ 118 w 584"/>
                <a:gd name="T47" fmla="*/ 650 h 968"/>
                <a:gd name="T48" fmla="*/ 119 w 584"/>
                <a:gd name="T49" fmla="*/ 669 h 968"/>
                <a:gd name="T50" fmla="*/ 221 w 584"/>
                <a:gd name="T51" fmla="*/ 735 h 968"/>
                <a:gd name="T52" fmla="*/ 266 w 584"/>
                <a:gd name="T53" fmla="*/ 779 h 968"/>
                <a:gd name="T54" fmla="*/ 250 w 584"/>
                <a:gd name="T55" fmla="*/ 832 h 968"/>
                <a:gd name="T56" fmla="*/ 224 w 584"/>
                <a:gd name="T57" fmla="*/ 897 h 968"/>
                <a:gd name="T58" fmla="*/ 230 w 584"/>
                <a:gd name="T59" fmla="*/ 938 h 968"/>
                <a:gd name="T60" fmla="*/ 266 w 584"/>
                <a:gd name="T61" fmla="*/ 968 h 968"/>
                <a:gd name="T62" fmla="*/ 330 w 584"/>
                <a:gd name="T63" fmla="*/ 911 h 968"/>
                <a:gd name="T64" fmla="*/ 435 w 584"/>
                <a:gd name="T65" fmla="*/ 743 h 968"/>
                <a:gd name="T66" fmla="*/ 443 w 584"/>
                <a:gd name="T67" fmla="*/ 719 h 968"/>
                <a:gd name="T68" fmla="*/ 429 w 584"/>
                <a:gd name="T69" fmla="*/ 662 h 968"/>
                <a:gd name="T70" fmla="*/ 461 w 584"/>
                <a:gd name="T71" fmla="*/ 632 h 968"/>
                <a:gd name="T72" fmla="*/ 519 w 584"/>
                <a:gd name="T73" fmla="*/ 620 h 968"/>
                <a:gd name="T74" fmla="*/ 552 w 584"/>
                <a:gd name="T75" fmla="*/ 574 h 968"/>
                <a:gd name="T76" fmla="*/ 584 w 584"/>
                <a:gd name="T77" fmla="*/ 495 h 968"/>
                <a:gd name="T78" fmla="*/ 581 w 584"/>
                <a:gd name="T79" fmla="*/ 454 h 968"/>
                <a:gd name="T80" fmla="*/ 549 w 584"/>
                <a:gd name="T81" fmla="*/ 442 h 968"/>
                <a:gd name="T82" fmla="*/ 480 w 584"/>
                <a:gd name="T83" fmla="*/ 493 h 968"/>
                <a:gd name="T84" fmla="*/ 439 w 584"/>
                <a:gd name="T85" fmla="*/ 491 h 968"/>
                <a:gd name="T86" fmla="*/ 330 w 584"/>
                <a:gd name="T87" fmla="*/ 379 h 968"/>
                <a:gd name="T88" fmla="*/ 296 w 584"/>
                <a:gd name="T89" fmla="*/ 323 h 968"/>
                <a:gd name="T90" fmla="*/ 284 w 584"/>
                <a:gd name="T91" fmla="*/ 339 h 968"/>
                <a:gd name="T92" fmla="*/ 295 w 584"/>
                <a:gd name="T93" fmla="*/ 384 h 968"/>
                <a:gd name="T94" fmla="*/ 256 w 584"/>
                <a:gd name="T95" fmla="*/ 369 h 968"/>
                <a:gd name="T96" fmla="*/ 256 w 584"/>
                <a:gd name="T97" fmla="*/ 353 h 968"/>
                <a:gd name="T98" fmla="*/ 251 w 584"/>
                <a:gd name="T99" fmla="*/ 339 h 968"/>
                <a:gd name="T100" fmla="*/ 229 w 584"/>
                <a:gd name="T101" fmla="*/ 340 h 968"/>
                <a:gd name="T102" fmla="*/ 225 w 584"/>
                <a:gd name="T103" fmla="*/ 324 h 968"/>
                <a:gd name="T104" fmla="*/ 197 w 584"/>
                <a:gd name="T105" fmla="*/ 298 h 968"/>
                <a:gd name="T106" fmla="*/ 216 w 584"/>
                <a:gd name="T107" fmla="*/ 302 h 968"/>
                <a:gd name="T108" fmla="*/ 217 w 584"/>
                <a:gd name="T109" fmla="*/ 289 h 968"/>
                <a:gd name="T110" fmla="*/ 214 w 584"/>
                <a:gd name="T111" fmla="*/ 261 h 968"/>
                <a:gd name="T112" fmla="*/ 210 w 584"/>
                <a:gd name="T113" fmla="*/ 234 h 968"/>
                <a:gd name="T114" fmla="*/ 173 w 584"/>
                <a:gd name="T115" fmla="*/ 192 h 968"/>
                <a:gd name="T116" fmla="*/ 187 w 584"/>
                <a:gd name="T117" fmla="*/ 189 h 968"/>
                <a:gd name="T118" fmla="*/ 185 w 584"/>
                <a:gd name="T119" fmla="*/ 169 h 968"/>
                <a:gd name="T120" fmla="*/ 181 w 584"/>
                <a:gd name="T121" fmla="*/ 152 h 96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4"/>
                <a:gd name="T184" fmla="*/ 0 h 968"/>
                <a:gd name="T185" fmla="*/ 584 w 584"/>
                <a:gd name="T186" fmla="*/ 968 h 96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4" h="968">
                  <a:moveTo>
                    <a:pt x="172" y="139"/>
                  </a:moveTo>
                  <a:lnTo>
                    <a:pt x="161" y="120"/>
                  </a:lnTo>
                  <a:lnTo>
                    <a:pt x="163" y="109"/>
                  </a:lnTo>
                  <a:lnTo>
                    <a:pt x="154" y="107"/>
                  </a:lnTo>
                  <a:lnTo>
                    <a:pt x="148" y="120"/>
                  </a:lnTo>
                  <a:lnTo>
                    <a:pt x="140" y="118"/>
                  </a:lnTo>
                  <a:lnTo>
                    <a:pt x="140" y="109"/>
                  </a:lnTo>
                  <a:lnTo>
                    <a:pt x="135" y="93"/>
                  </a:lnTo>
                  <a:lnTo>
                    <a:pt x="103" y="83"/>
                  </a:lnTo>
                  <a:lnTo>
                    <a:pt x="81" y="67"/>
                  </a:lnTo>
                  <a:lnTo>
                    <a:pt x="69" y="67"/>
                  </a:lnTo>
                  <a:lnTo>
                    <a:pt x="68" y="74"/>
                  </a:lnTo>
                  <a:lnTo>
                    <a:pt x="50" y="58"/>
                  </a:lnTo>
                  <a:lnTo>
                    <a:pt x="33" y="28"/>
                  </a:lnTo>
                  <a:lnTo>
                    <a:pt x="41" y="16"/>
                  </a:lnTo>
                  <a:lnTo>
                    <a:pt x="37" y="0"/>
                  </a:lnTo>
                  <a:lnTo>
                    <a:pt x="30" y="5"/>
                  </a:lnTo>
                  <a:lnTo>
                    <a:pt x="16" y="9"/>
                  </a:lnTo>
                  <a:lnTo>
                    <a:pt x="7" y="2"/>
                  </a:lnTo>
                  <a:lnTo>
                    <a:pt x="0" y="5"/>
                  </a:lnTo>
                  <a:lnTo>
                    <a:pt x="14" y="21"/>
                  </a:lnTo>
                  <a:lnTo>
                    <a:pt x="30" y="46"/>
                  </a:lnTo>
                  <a:lnTo>
                    <a:pt x="40" y="69"/>
                  </a:lnTo>
                  <a:lnTo>
                    <a:pt x="42" y="79"/>
                  </a:lnTo>
                  <a:lnTo>
                    <a:pt x="40" y="97"/>
                  </a:lnTo>
                  <a:lnTo>
                    <a:pt x="52" y="113"/>
                  </a:lnTo>
                  <a:lnTo>
                    <a:pt x="52" y="120"/>
                  </a:lnTo>
                  <a:lnTo>
                    <a:pt x="126" y="236"/>
                  </a:lnTo>
                  <a:lnTo>
                    <a:pt x="135" y="254"/>
                  </a:lnTo>
                  <a:lnTo>
                    <a:pt x="142" y="254"/>
                  </a:lnTo>
                  <a:lnTo>
                    <a:pt x="139" y="245"/>
                  </a:lnTo>
                  <a:lnTo>
                    <a:pt x="118" y="213"/>
                  </a:lnTo>
                  <a:lnTo>
                    <a:pt x="112" y="199"/>
                  </a:lnTo>
                  <a:lnTo>
                    <a:pt x="140" y="220"/>
                  </a:lnTo>
                  <a:lnTo>
                    <a:pt x="152" y="242"/>
                  </a:lnTo>
                  <a:lnTo>
                    <a:pt x="160" y="261"/>
                  </a:lnTo>
                  <a:lnTo>
                    <a:pt x="155" y="270"/>
                  </a:lnTo>
                  <a:lnTo>
                    <a:pt x="180" y="310"/>
                  </a:lnTo>
                  <a:lnTo>
                    <a:pt x="209" y="369"/>
                  </a:lnTo>
                  <a:lnTo>
                    <a:pt x="204" y="404"/>
                  </a:lnTo>
                  <a:lnTo>
                    <a:pt x="226" y="456"/>
                  </a:lnTo>
                  <a:lnTo>
                    <a:pt x="225" y="479"/>
                  </a:lnTo>
                  <a:lnTo>
                    <a:pt x="208" y="505"/>
                  </a:lnTo>
                  <a:lnTo>
                    <a:pt x="203" y="525"/>
                  </a:lnTo>
                  <a:lnTo>
                    <a:pt x="208" y="567"/>
                  </a:lnTo>
                  <a:lnTo>
                    <a:pt x="197" y="599"/>
                  </a:lnTo>
                  <a:lnTo>
                    <a:pt x="136" y="641"/>
                  </a:lnTo>
                  <a:lnTo>
                    <a:pt x="118" y="650"/>
                  </a:lnTo>
                  <a:lnTo>
                    <a:pt x="114" y="659"/>
                  </a:lnTo>
                  <a:lnTo>
                    <a:pt x="119" y="669"/>
                  </a:lnTo>
                  <a:lnTo>
                    <a:pt x="132" y="685"/>
                  </a:lnTo>
                  <a:lnTo>
                    <a:pt x="221" y="735"/>
                  </a:lnTo>
                  <a:lnTo>
                    <a:pt x="254" y="772"/>
                  </a:lnTo>
                  <a:lnTo>
                    <a:pt x="266" y="779"/>
                  </a:lnTo>
                  <a:lnTo>
                    <a:pt x="267" y="800"/>
                  </a:lnTo>
                  <a:lnTo>
                    <a:pt x="250" y="832"/>
                  </a:lnTo>
                  <a:lnTo>
                    <a:pt x="237" y="874"/>
                  </a:lnTo>
                  <a:lnTo>
                    <a:pt x="224" y="897"/>
                  </a:lnTo>
                  <a:lnTo>
                    <a:pt x="221" y="918"/>
                  </a:lnTo>
                  <a:lnTo>
                    <a:pt x="230" y="938"/>
                  </a:lnTo>
                  <a:lnTo>
                    <a:pt x="251" y="957"/>
                  </a:lnTo>
                  <a:lnTo>
                    <a:pt x="266" y="968"/>
                  </a:lnTo>
                  <a:lnTo>
                    <a:pt x="298" y="948"/>
                  </a:lnTo>
                  <a:lnTo>
                    <a:pt x="330" y="911"/>
                  </a:lnTo>
                  <a:lnTo>
                    <a:pt x="408" y="775"/>
                  </a:lnTo>
                  <a:lnTo>
                    <a:pt x="435" y="743"/>
                  </a:lnTo>
                  <a:lnTo>
                    <a:pt x="443" y="731"/>
                  </a:lnTo>
                  <a:lnTo>
                    <a:pt x="443" y="719"/>
                  </a:lnTo>
                  <a:lnTo>
                    <a:pt x="431" y="685"/>
                  </a:lnTo>
                  <a:lnTo>
                    <a:pt x="429" y="662"/>
                  </a:lnTo>
                  <a:lnTo>
                    <a:pt x="441" y="645"/>
                  </a:lnTo>
                  <a:lnTo>
                    <a:pt x="461" y="632"/>
                  </a:lnTo>
                  <a:lnTo>
                    <a:pt x="512" y="629"/>
                  </a:lnTo>
                  <a:lnTo>
                    <a:pt x="519" y="620"/>
                  </a:lnTo>
                  <a:lnTo>
                    <a:pt x="520" y="578"/>
                  </a:lnTo>
                  <a:lnTo>
                    <a:pt x="552" y="574"/>
                  </a:lnTo>
                  <a:lnTo>
                    <a:pt x="565" y="571"/>
                  </a:lnTo>
                  <a:lnTo>
                    <a:pt x="584" y="495"/>
                  </a:lnTo>
                  <a:lnTo>
                    <a:pt x="584" y="482"/>
                  </a:lnTo>
                  <a:lnTo>
                    <a:pt x="581" y="454"/>
                  </a:lnTo>
                  <a:lnTo>
                    <a:pt x="568" y="444"/>
                  </a:lnTo>
                  <a:lnTo>
                    <a:pt x="549" y="442"/>
                  </a:lnTo>
                  <a:lnTo>
                    <a:pt x="510" y="463"/>
                  </a:lnTo>
                  <a:lnTo>
                    <a:pt x="480" y="493"/>
                  </a:lnTo>
                  <a:lnTo>
                    <a:pt x="463" y="497"/>
                  </a:lnTo>
                  <a:lnTo>
                    <a:pt x="439" y="491"/>
                  </a:lnTo>
                  <a:lnTo>
                    <a:pt x="342" y="438"/>
                  </a:lnTo>
                  <a:lnTo>
                    <a:pt x="330" y="379"/>
                  </a:lnTo>
                  <a:lnTo>
                    <a:pt x="314" y="333"/>
                  </a:lnTo>
                  <a:lnTo>
                    <a:pt x="296" y="323"/>
                  </a:lnTo>
                  <a:lnTo>
                    <a:pt x="286" y="323"/>
                  </a:lnTo>
                  <a:lnTo>
                    <a:pt x="284" y="339"/>
                  </a:lnTo>
                  <a:lnTo>
                    <a:pt x="295" y="370"/>
                  </a:lnTo>
                  <a:lnTo>
                    <a:pt x="295" y="384"/>
                  </a:lnTo>
                  <a:lnTo>
                    <a:pt x="262" y="372"/>
                  </a:lnTo>
                  <a:lnTo>
                    <a:pt x="256" y="369"/>
                  </a:lnTo>
                  <a:lnTo>
                    <a:pt x="254" y="360"/>
                  </a:lnTo>
                  <a:lnTo>
                    <a:pt x="256" y="353"/>
                  </a:lnTo>
                  <a:lnTo>
                    <a:pt x="261" y="347"/>
                  </a:lnTo>
                  <a:lnTo>
                    <a:pt x="251" y="339"/>
                  </a:lnTo>
                  <a:lnTo>
                    <a:pt x="241" y="339"/>
                  </a:lnTo>
                  <a:lnTo>
                    <a:pt x="229" y="340"/>
                  </a:lnTo>
                  <a:lnTo>
                    <a:pt x="221" y="339"/>
                  </a:lnTo>
                  <a:lnTo>
                    <a:pt x="225" y="324"/>
                  </a:lnTo>
                  <a:lnTo>
                    <a:pt x="197" y="307"/>
                  </a:lnTo>
                  <a:lnTo>
                    <a:pt x="197" y="298"/>
                  </a:lnTo>
                  <a:lnTo>
                    <a:pt x="205" y="302"/>
                  </a:lnTo>
                  <a:lnTo>
                    <a:pt x="216" y="302"/>
                  </a:lnTo>
                  <a:lnTo>
                    <a:pt x="228" y="300"/>
                  </a:lnTo>
                  <a:lnTo>
                    <a:pt x="217" y="289"/>
                  </a:lnTo>
                  <a:lnTo>
                    <a:pt x="203" y="257"/>
                  </a:lnTo>
                  <a:lnTo>
                    <a:pt x="214" y="261"/>
                  </a:lnTo>
                  <a:lnTo>
                    <a:pt x="213" y="247"/>
                  </a:lnTo>
                  <a:lnTo>
                    <a:pt x="210" y="234"/>
                  </a:lnTo>
                  <a:lnTo>
                    <a:pt x="185" y="203"/>
                  </a:lnTo>
                  <a:lnTo>
                    <a:pt x="173" y="192"/>
                  </a:lnTo>
                  <a:lnTo>
                    <a:pt x="167" y="185"/>
                  </a:lnTo>
                  <a:lnTo>
                    <a:pt x="187" y="189"/>
                  </a:lnTo>
                  <a:lnTo>
                    <a:pt x="181" y="180"/>
                  </a:lnTo>
                  <a:lnTo>
                    <a:pt x="185" y="169"/>
                  </a:lnTo>
                  <a:lnTo>
                    <a:pt x="192" y="167"/>
                  </a:lnTo>
                  <a:lnTo>
                    <a:pt x="181" y="152"/>
                  </a:lnTo>
                  <a:lnTo>
                    <a:pt x="172" y="139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311" name="Freeform 148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5318" y="3650"/>
              <a:ext cx="113" cy="125"/>
            </a:xfrm>
            <a:custGeom>
              <a:avLst/>
              <a:gdLst>
                <a:gd name="T0" fmla="*/ 507 w 762"/>
                <a:gd name="T1" fmla="*/ 166 h 850"/>
                <a:gd name="T2" fmla="*/ 490 w 762"/>
                <a:gd name="T3" fmla="*/ 173 h 850"/>
                <a:gd name="T4" fmla="*/ 484 w 762"/>
                <a:gd name="T5" fmla="*/ 245 h 850"/>
                <a:gd name="T6" fmla="*/ 453 w 762"/>
                <a:gd name="T7" fmla="*/ 275 h 850"/>
                <a:gd name="T8" fmla="*/ 447 w 762"/>
                <a:gd name="T9" fmla="*/ 299 h 850"/>
                <a:gd name="T10" fmla="*/ 383 w 762"/>
                <a:gd name="T11" fmla="*/ 345 h 850"/>
                <a:gd name="T12" fmla="*/ 346 w 762"/>
                <a:gd name="T13" fmla="*/ 366 h 850"/>
                <a:gd name="T14" fmla="*/ 312 w 762"/>
                <a:gd name="T15" fmla="*/ 421 h 850"/>
                <a:gd name="T16" fmla="*/ 272 w 762"/>
                <a:gd name="T17" fmla="*/ 449 h 850"/>
                <a:gd name="T18" fmla="*/ 192 w 762"/>
                <a:gd name="T19" fmla="*/ 488 h 850"/>
                <a:gd name="T20" fmla="*/ 143 w 762"/>
                <a:gd name="T21" fmla="*/ 546 h 850"/>
                <a:gd name="T22" fmla="*/ 104 w 762"/>
                <a:gd name="T23" fmla="*/ 594 h 850"/>
                <a:gd name="T24" fmla="*/ 66 w 762"/>
                <a:gd name="T25" fmla="*/ 629 h 850"/>
                <a:gd name="T26" fmla="*/ 83 w 762"/>
                <a:gd name="T27" fmla="*/ 673 h 850"/>
                <a:gd name="T28" fmla="*/ 39 w 762"/>
                <a:gd name="T29" fmla="*/ 672 h 850"/>
                <a:gd name="T30" fmla="*/ 54 w 762"/>
                <a:gd name="T31" fmla="*/ 719 h 850"/>
                <a:gd name="T32" fmla="*/ 38 w 762"/>
                <a:gd name="T33" fmla="*/ 733 h 850"/>
                <a:gd name="T34" fmla="*/ 8 w 762"/>
                <a:gd name="T35" fmla="*/ 740 h 850"/>
                <a:gd name="T36" fmla="*/ 0 w 762"/>
                <a:gd name="T37" fmla="*/ 761 h 850"/>
                <a:gd name="T38" fmla="*/ 29 w 762"/>
                <a:gd name="T39" fmla="*/ 786 h 850"/>
                <a:gd name="T40" fmla="*/ 71 w 762"/>
                <a:gd name="T41" fmla="*/ 790 h 850"/>
                <a:gd name="T42" fmla="*/ 86 w 762"/>
                <a:gd name="T43" fmla="*/ 770 h 850"/>
                <a:gd name="T44" fmla="*/ 114 w 762"/>
                <a:gd name="T45" fmla="*/ 797 h 850"/>
                <a:gd name="T46" fmla="*/ 192 w 762"/>
                <a:gd name="T47" fmla="*/ 841 h 850"/>
                <a:gd name="T48" fmla="*/ 271 w 762"/>
                <a:gd name="T49" fmla="*/ 850 h 850"/>
                <a:gd name="T50" fmla="*/ 315 w 762"/>
                <a:gd name="T51" fmla="*/ 823 h 850"/>
                <a:gd name="T52" fmla="*/ 351 w 762"/>
                <a:gd name="T53" fmla="*/ 799 h 850"/>
                <a:gd name="T54" fmla="*/ 389 w 762"/>
                <a:gd name="T55" fmla="*/ 758 h 850"/>
                <a:gd name="T56" fmla="*/ 447 w 762"/>
                <a:gd name="T57" fmla="*/ 612 h 850"/>
                <a:gd name="T58" fmla="*/ 453 w 762"/>
                <a:gd name="T59" fmla="*/ 587 h 850"/>
                <a:gd name="T60" fmla="*/ 464 w 762"/>
                <a:gd name="T61" fmla="*/ 564 h 850"/>
                <a:gd name="T62" fmla="*/ 471 w 762"/>
                <a:gd name="T63" fmla="*/ 536 h 850"/>
                <a:gd name="T64" fmla="*/ 444 w 762"/>
                <a:gd name="T65" fmla="*/ 495 h 850"/>
                <a:gd name="T66" fmla="*/ 483 w 762"/>
                <a:gd name="T67" fmla="*/ 506 h 850"/>
                <a:gd name="T68" fmla="*/ 508 w 762"/>
                <a:gd name="T69" fmla="*/ 483 h 850"/>
                <a:gd name="T70" fmla="*/ 545 w 762"/>
                <a:gd name="T71" fmla="*/ 456 h 850"/>
                <a:gd name="T72" fmla="*/ 564 w 762"/>
                <a:gd name="T73" fmla="*/ 437 h 850"/>
                <a:gd name="T74" fmla="*/ 609 w 762"/>
                <a:gd name="T75" fmla="*/ 448 h 850"/>
                <a:gd name="T76" fmla="*/ 643 w 762"/>
                <a:gd name="T77" fmla="*/ 435 h 850"/>
                <a:gd name="T78" fmla="*/ 604 w 762"/>
                <a:gd name="T79" fmla="*/ 414 h 850"/>
                <a:gd name="T80" fmla="*/ 598 w 762"/>
                <a:gd name="T81" fmla="*/ 372 h 850"/>
                <a:gd name="T82" fmla="*/ 626 w 762"/>
                <a:gd name="T83" fmla="*/ 343 h 850"/>
                <a:gd name="T84" fmla="*/ 664 w 762"/>
                <a:gd name="T85" fmla="*/ 313 h 850"/>
                <a:gd name="T86" fmla="*/ 724 w 762"/>
                <a:gd name="T87" fmla="*/ 242 h 850"/>
                <a:gd name="T88" fmla="*/ 762 w 762"/>
                <a:gd name="T89" fmla="*/ 175 h 850"/>
                <a:gd name="T90" fmla="*/ 746 w 762"/>
                <a:gd name="T91" fmla="*/ 131 h 850"/>
                <a:gd name="T92" fmla="*/ 745 w 762"/>
                <a:gd name="T93" fmla="*/ 74 h 850"/>
                <a:gd name="T94" fmla="*/ 709 w 762"/>
                <a:gd name="T95" fmla="*/ 69 h 850"/>
                <a:gd name="T96" fmla="*/ 652 w 762"/>
                <a:gd name="T97" fmla="*/ 94 h 850"/>
                <a:gd name="T98" fmla="*/ 635 w 762"/>
                <a:gd name="T99" fmla="*/ 34 h 850"/>
                <a:gd name="T100" fmla="*/ 619 w 762"/>
                <a:gd name="T101" fmla="*/ 13 h 850"/>
                <a:gd name="T102" fmla="*/ 586 w 762"/>
                <a:gd name="T103" fmla="*/ 0 h 850"/>
                <a:gd name="T104" fmla="*/ 558 w 762"/>
                <a:gd name="T105" fmla="*/ 115 h 850"/>
                <a:gd name="T106" fmla="*/ 532 w 762"/>
                <a:gd name="T107" fmla="*/ 150 h 8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762"/>
                <a:gd name="T163" fmla="*/ 0 h 850"/>
                <a:gd name="T164" fmla="*/ 762 w 762"/>
                <a:gd name="T165" fmla="*/ 850 h 8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762" h="850">
                  <a:moveTo>
                    <a:pt x="532" y="150"/>
                  </a:moveTo>
                  <a:lnTo>
                    <a:pt x="507" y="166"/>
                  </a:lnTo>
                  <a:lnTo>
                    <a:pt x="503" y="175"/>
                  </a:lnTo>
                  <a:lnTo>
                    <a:pt x="490" y="173"/>
                  </a:lnTo>
                  <a:lnTo>
                    <a:pt x="479" y="214"/>
                  </a:lnTo>
                  <a:lnTo>
                    <a:pt x="484" y="245"/>
                  </a:lnTo>
                  <a:lnTo>
                    <a:pt x="464" y="265"/>
                  </a:lnTo>
                  <a:lnTo>
                    <a:pt x="453" y="275"/>
                  </a:lnTo>
                  <a:lnTo>
                    <a:pt x="453" y="285"/>
                  </a:lnTo>
                  <a:lnTo>
                    <a:pt x="447" y="299"/>
                  </a:lnTo>
                  <a:lnTo>
                    <a:pt x="419" y="324"/>
                  </a:lnTo>
                  <a:lnTo>
                    <a:pt x="383" y="345"/>
                  </a:lnTo>
                  <a:lnTo>
                    <a:pt x="366" y="347"/>
                  </a:lnTo>
                  <a:lnTo>
                    <a:pt x="346" y="366"/>
                  </a:lnTo>
                  <a:lnTo>
                    <a:pt x="343" y="384"/>
                  </a:lnTo>
                  <a:lnTo>
                    <a:pt x="312" y="421"/>
                  </a:lnTo>
                  <a:lnTo>
                    <a:pt x="296" y="426"/>
                  </a:lnTo>
                  <a:lnTo>
                    <a:pt x="272" y="449"/>
                  </a:lnTo>
                  <a:lnTo>
                    <a:pt x="241" y="470"/>
                  </a:lnTo>
                  <a:lnTo>
                    <a:pt x="192" y="488"/>
                  </a:lnTo>
                  <a:lnTo>
                    <a:pt x="148" y="525"/>
                  </a:lnTo>
                  <a:lnTo>
                    <a:pt x="143" y="546"/>
                  </a:lnTo>
                  <a:lnTo>
                    <a:pt x="118" y="569"/>
                  </a:lnTo>
                  <a:lnTo>
                    <a:pt x="104" y="594"/>
                  </a:lnTo>
                  <a:lnTo>
                    <a:pt x="79" y="610"/>
                  </a:lnTo>
                  <a:lnTo>
                    <a:pt x="66" y="629"/>
                  </a:lnTo>
                  <a:lnTo>
                    <a:pt x="69" y="649"/>
                  </a:lnTo>
                  <a:lnTo>
                    <a:pt x="83" y="673"/>
                  </a:lnTo>
                  <a:lnTo>
                    <a:pt x="81" y="682"/>
                  </a:lnTo>
                  <a:lnTo>
                    <a:pt x="39" y="672"/>
                  </a:lnTo>
                  <a:lnTo>
                    <a:pt x="33" y="682"/>
                  </a:lnTo>
                  <a:lnTo>
                    <a:pt x="54" y="719"/>
                  </a:lnTo>
                  <a:lnTo>
                    <a:pt x="17" y="702"/>
                  </a:lnTo>
                  <a:lnTo>
                    <a:pt x="38" y="733"/>
                  </a:lnTo>
                  <a:lnTo>
                    <a:pt x="22" y="733"/>
                  </a:lnTo>
                  <a:lnTo>
                    <a:pt x="8" y="740"/>
                  </a:lnTo>
                  <a:lnTo>
                    <a:pt x="18" y="754"/>
                  </a:lnTo>
                  <a:lnTo>
                    <a:pt x="0" y="761"/>
                  </a:lnTo>
                  <a:lnTo>
                    <a:pt x="6" y="779"/>
                  </a:lnTo>
                  <a:lnTo>
                    <a:pt x="29" y="786"/>
                  </a:lnTo>
                  <a:lnTo>
                    <a:pt x="38" y="797"/>
                  </a:lnTo>
                  <a:lnTo>
                    <a:pt x="71" y="790"/>
                  </a:lnTo>
                  <a:lnTo>
                    <a:pt x="75" y="779"/>
                  </a:lnTo>
                  <a:lnTo>
                    <a:pt x="86" y="770"/>
                  </a:lnTo>
                  <a:lnTo>
                    <a:pt x="106" y="777"/>
                  </a:lnTo>
                  <a:lnTo>
                    <a:pt x="114" y="797"/>
                  </a:lnTo>
                  <a:lnTo>
                    <a:pt x="165" y="811"/>
                  </a:lnTo>
                  <a:lnTo>
                    <a:pt x="192" y="841"/>
                  </a:lnTo>
                  <a:lnTo>
                    <a:pt x="221" y="834"/>
                  </a:lnTo>
                  <a:lnTo>
                    <a:pt x="271" y="850"/>
                  </a:lnTo>
                  <a:lnTo>
                    <a:pt x="288" y="850"/>
                  </a:lnTo>
                  <a:lnTo>
                    <a:pt x="315" y="823"/>
                  </a:lnTo>
                  <a:lnTo>
                    <a:pt x="340" y="807"/>
                  </a:lnTo>
                  <a:lnTo>
                    <a:pt x="351" y="799"/>
                  </a:lnTo>
                  <a:lnTo>
                    <a:pt x="360" y="781"/>
                  </a:lnTo>
                  <a:lnTo>
                    <a:pt x="389" y="758"/>
                  </a:lnTo>
                  <a:lnTo>
                    <a:pt x="407" y="739"/>
                  </a:lnTo>
                  <a:lnTo>
                    <a:pt x="447" y="612"/>
                  </a:lnTo>
                  <a:lnTo>
                    <a:pt x="410" y="582"/>
                  </a:lnTo>
                  <a:lnTo>
                    <a:pt x="453" y="587"/>
                  </a:lnTo>
                  <a:lnTo>
                    <a:pt x="462" y="592"/>
                  </a:lnTo>
                  <a:lnTo>
                    <a:pt x="464" y="564"/>
                  </a:lnTo>
                  <a:lnTo>
                    <a:pt x="463" y="548"/>
                  </a:lnTo>
                  <a:lnTo>
                    <a:pt x="471" y="536"/>
                  </a:lnTo>
                  <a:lnTo>
                    <a:pt x="451" y="509"/>
                  </a:lnTo>
                  <a:lnTo>
                    <a:pt x="444" y="495"/>
                  </a:lnTo>
                  <a:lnTo>
                    <a:pt x="451" y="490"/>
                  </a:lnTo>
                  <a:lnTo>
                    <a:pt x="483" y="506"/>
                  </a:lnTo>
                  <a:lnTo>
                    <a:pt x="493" y="490"/>
                  </a:lnTo>
                  <a:lnTo>
                    <a:pt x="508" y="483"/>
                  </a:lnTo>
                  <a:lnTo>
                    <a:pt x="521" y="465"/>
                  </a:lnTo>
                  <a:lnTo>
                    <a:pt x="545" y="456"/>
                  </a:lnTo>
                  <a:lnTo>
                    <a:pt x="549" y="446"/>
                  </a:lnTo>
                  <a:lnTo>
                    <a:pt x="564" y="437"/>
                  </a:lnTo>
                  <a:lnTo>
                    <a:pt x="586" y="428"/>
                  </a:lnTo>
                  <a:lnTo>
                    <a:pt x="609" y="448"/>
                  </a:lnTo>
                  <a:lnTo>
                    <a:pt x="630" y="442"/>
                  </a:lnTo>
                  <a:lnTo>
                    <a:pt x="643" y="435"/>
                  </a:lnTo>
                  <a:lnTo>
                    <a:pt x="623" y="416"/>
                  </a:lnTo>
                  <a:lnTo>
                    <a:pt x="604" y="414"/>
                  </a:lnTo>
                  <a:lnTo>
                    <a:pt x="586" y="388"/>
                  </a:lnTo>
                  <a:lnTo>
                    <a:pt x="598" y="372"/>
                  </a:lnTo>
                  <a:lnTo>
                    <a:pt x="615" y="361"/>
                  </a:lnTo>
                  <a:lnTo>
                    <a:pt x="626" y="343"/>
                  </a:lnTo>
                  <a:lnTo>
                    <a:pt x="638" y="336"/>
                  </a:lnTo>
                  <a:lnTo>
                    <a:pt x="664" y="313"/>
                  </a:lnTo>
                  <a:lnTo>
                    <a:pt x="701" y="265"/>
                  </a:lnTo>
                  <a:lnTo>
                    <a:pt x="724" y="242"/>
                  </a:lnTo>
                  <a:lnTo>
                    <a:pt x="734" y="217"/>
                  </a:lnTo>
                  <a:lnTo>
                    <a:pt x="762" y="175"/>
                  </a:lnTo>
                  <a:lnTo>
                    <a:pt x="760" y="157"/>
                  </a:lnTo>
                  <a:lnTo>
                    <a:pt x="746" y="131"/>
                  </a:lnTo>
                  <a:lnTo>
                    <a:pt x="755" y="106"/>
                  </a:lnTo>
                  <a:lnTo>
                    <a:pt x="745" y="74"/>
                  </a:lnTo>
                  <a:lnTo>
                    <a:pt x="729" y="67"/>
                  </a:lnTo>
                  <a:lnTo>
                    <a:pt x="709" y="69"/>
                  </a:lnTo>
                  <a:lnTo>
                    <a:pt x="667" y="110"/>
                  </a:lnTo>
                  <a:lnTo>
                    <a:pt x="652" y="94"/>
                  </a:lnTo>
                  <a:lnTo>
                    <a:pt x="643" y="44"/>
                  </a:lnTo>
                  <a:lnTo>
                    <a:pt x="635" y="34"/>
                  </a:lnTo>
                  <a:lnTo>
                    <a:pt x="620" y="28"/>
                  </a:lnTo>
                  <a:lnTo>
                    <a:pt x="619" y="13"/>
                  </a:lnTo>
                  <a:lnTo>
                    <a:pt x="602" y="2"/>
                  </a:lnTo>
                  <a:lnTo>
                    <a:pt x="586" y="0"/>
                  </a:lnTo>
                  <a:lnTo>
                    <a:pt x="564" y="41"/>
                  </a:lnTo>
                  <a:lnTo>
                    <a:pt x="558" y="115"/>
                  </a:lnTo>
                  <a:lnTo>
                    <a:pt x="552" y="133"/>
                  </a:lnTo>
                  <a:lnTo>
                    <a:pt x="532" y="150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312" name="Freeform 149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4532" y="3093"/>
              <a:ext cx="596" cy="524"/>
            </a:xfrm>
            <a:custGeom>
              <a:avLst/>
              <a:gdLst>
                <a:gd name="T0" fmla="*/ 2912 w 3967"/>
                <a:gd name="T1" fmla="*/ 48 h 3543"/>
                <a:gd name="T2" fmla="*/ 2831 w 3967"/>
                <a:gd name="T3" fmla="*/ 212 h 3543"/>
                <a:gd name="T4" fmla="*/ 2806 w 3967"/>
                <a:gd name="T5" fmla="*/ 489 h 3543"/>
                <a:gd name="T6" fmla="*/ 2686 w 3967"/>
                <a:gd name="T7" fmla="*/ 811 h 3543"/>
                <a:gd name="T8" fmla="*/ 2507 w 3967"/>
                <a:gd name="T9" fmla="*/ 714 h 3543"/>
                <a:gd name="T10" fmla="*/ 2318 w 3967"/>
                <a:gd name="T11" fmla="*/ 608 h 3543"/>
                <a:gd name="T12" fmla="*/ 2240 w 3967"/>
                <a:gd name="T13" fmla="*/ 390 h 3543"/>
                <a:gd name="T14" fmla="*/ 2303 w 3967"/>
                <a:gd name="T15" fmla="*/ 236 h 3543"/>
                <a:gd name="T16" fmla="*/ 2281 w 3967"/>
                <a:gd name="T17" fmla="*/ 189 h 3543"/>
                <a:gd name="T18" fmla="*/ 2130 w 3967"/>
                <a:gd name="T19" fmla="*/ 136 h 3543"/>
                <a:gd name="T20" fmla="*/ 1924 w 3967"/>
                <a:gd name="T21" fmla="*/ 72 h 3543"/>
                <a:gd name="T22" fmla="*/ 1921 w 3967"/>
                <a:gd name="T23" fmla="*/ 99 h 3543"/>
                <a:gd name="T24" fmla="*/ 1747 w 3967"/>
                <a:gd name="T25" fmla="*/ 180 h 3543"/>
                <a:gd name="T26" fmla="*/ 1684 w 3967"/>
                <a:gd name="T27" fmla="*/ 303 h 3543"/>
                <a:gd name="T28" fmla="*/ 1610 w 3967"/>
                <a:gd name="T29" fmla="*/ 423 h 3543"/>
                <a:gd name="T30" fmla="*/ 1563 w 3967"/>
                <a:gd name="T31" fmla="*/ 474 h 3543"/>
                <a:gd name="T32" fmla="*/ 1435 w 3967"/>
                <a:gd name="T33" fmla="*/ 416 h 3543"/>
                <a:gd name="T34" fmla="*/ 1313 w 3967"/>
                <a:gd name="T35" fmla="*/ 383 h 3543"/>
                <a:gd name="T36" fmla="*/ 1182 w 3967"/>
                <a:gd name="T37" fmla="*/ 508 h 3543"/>
                <a:gd name="T38" fmla="*/ 1113 w 3967"/>
                <a:gd name="T39" fmla="*/ 608 h 3543"/>
                <a:gd name="T40" fmla="*/ 1031 w 3967"/>
                <a:gd name="T41" fmla="*/ 657 h 3543"/>
                <a:gd name="T42" fmla="*/ 1026 w 3967"/>
                <a:gd name="T43" fmla="*/ 763 h 3543"/>
                <a:gd name="T44" fmla="*/ 888 w 3967"/>
                <a:gd name="T45" fmla="*/ 798 h 3543"/>
                <a:gd name="T46" fmla="*/ 768 w 3967"/>
                <a:gd name="T47" fmla="*/ 1047 h 3543"/>
                <a:gd name="T48" fmla="*/ 545 w 3967"/>
                <a:gd name="T49" fmla="*/ 1133 h 3543"/>
                <a:gd name="T50" fmla="*/ 248 w 3967"/>
                <a:gd name="T51" fmla="*/ 1265 h 3543"/>
                <a:gd name="T52" fmla="*/ 85 w 3967"/>
                <a:gd name="T53" fmla="*/ 1335 h 3543"/>
                <a:gd name="T54" fmla="*/ 38 w 3967"/>
                <a:gd name="T55" fmla="*/ 1685 h 3543"/>
                <a:gd name="T56" fmla="*/ 28 w 3967"/>
                <a:gd name="T57" fmla="*/ 1787 h 3543"/>
                <a:gd name="T58" fmla="*/ 20 w 3967"/>
                <a:gd name="T59" fmla="*/ 1868 h 3543"/>
                <a:gd name="T60" fmla="*/ 90 w 3967"/>
                <a:gd name="T61" fmla="*/ 2081 h 3543"/>
                <a:gd name="T62" fmla="*/ 259 w 3967"/>
                <a:gd name="T63" fmla="*/ 2578 h 3543"/>
                <a:gd name="T64" fmla="*/ 188 w 3967"/>
                <a:gd name="T65" fmla="*/ 2833 h 3543"/>
                <a:gd name="T66" fmla="*/ 440 w 3967"/>
                <a:gd name="T67" fmla="*/ 3015 h 3543"/>
                <a:gd name="T68" fmla="*/ 643 w 3967"/>
                <a:gd name="T69" fmla="*/ 2879 h 3543"/>
                <a:gd name="T70" fmla="*/ 913 w 3967"/>
                <a:gd name="T71" fmla="*/ 2861 h 3543"/>
                <a:gd name="T72" fmla="*/ 1276 w 3967"/>
                <a:gd name="T73" fmla="*/ 2646 h 3543"/>
                <a:gd name="T74" fmla="*/ 1747 w 3967"/>
                <a:gd name="T75" fmla="*/ 2554 h 3543"/>
                <a:gd name="T76" fmla="*/ 1927 w 3967"/>
                <a:gd name="T77" fmla="*/ 2599 h 3543"/>
                <a:gd name="T78" fmla="*/ 2066 w 3967"/>
                <a:gd name="T79" fmla="*/ 2722 h 3543"/>
                <a:gd name="T80" fmla="*/ 2188 w 3967"/>
                <a:gd name="T81" fmla="*/ 2909 h 3543"/>
                <a:gd name="T82" fmla="*/ 2376 w 3967"/>
                <a:gd name="T83" fmla="*/ 2796 h 3543"/>
                <a:gd name="T84" fmla="*/ 2446 w 3967"/>
                <a:gd name="T85" fmla="*/ 2779 h 3543"/>
                <a:gd name="T86" fmla="*/ 2388 w 3967"/>
                <a:gd name="T87" fmla="*/ 2994 h 3543"/>
                <a:gd name="T88" fmla="*/ 2408 w 3967"/>
                <a:gd name="T89" fmla="*/ 3033 h 3543"/>
                <a:gd name="T90" fmla="*/ 2466 w 3967"/>
                <a:gd name="T91" fmla="*/ 3082 h 3543"/>
                <a:gd name="T92" fmla="*/ 2618 w 3967"/>
                <a:gd name="T93" fmla="*/ 3163 h 3543"/>
                <a:gd name="T94" fmla="*/ 2796 w 3967"/>
                <a:gd name="T95" fmla="*/ 3455 h 3543"/>
                <a:gd name="T96" fmla="*/ 3066 w 3967"/>
                <a:gd name="T97" fmla="*/ 3460 h 3543"/>
                <a:gd name="T98" fmla="*/ 3187 w 3967"/>
                <a:gd name="T99" fmla="*/ 3453 h 3543"/>
                <a:gd name="T100" fmla="*/ 3341 w 3967"/>
                <a:gd name="T101" fmla="*/ 3473 h 3543"/>
                <a:gd name="T102" fmla="*/ 3645 w 3967"/>
                <a:gd name="T103" fmla="*/ 3073 h 3543"/>
                <a:gd name="T104" fmla="*/ 3779 w 3967"/>
                <a:gd name="T105" fmla="*/ 2747 h 3543"/>
                <a:gd name="T106" fmla="*/ 3918 w 3967"/>
                <a:gd name="T107" fmla="*/ 2467 h 3543"/>
                <a:gd name="T108" fmla="*/ 3921 w 3967"/>
                <a:gd name="T109" fmla="*/ 1977 h 3543"/>
                <a:gd name="T110" fmla="*/ 3859 w 3967"/>
                <a:gd name="T111" fmla="*/ 1709 h 3543"/>
                <a:gd name="T112" fmla="*/ 3742 w 3967"/>
                <a:gd name="T113" fmla="*/ 1570 h 3543"/>
                <a:gd name="T114" fmla="*/ 3626 w 3967"/>
                <a:gd name="T115" fmla="*/ 1420 h 3543"/>
                <a:gd name="T116" fmla="*/ 3497 w 3967"/>
                <a:gd name="T117" fmla="*/ 1110 h 3543"/>
                <a:gd name="T118" fmla="*/ 3242 w 3967"/>
                <a:gd name="T119" fmla="*/ 911 h 3543"/>
                <a:gd name="T120" fmla="*/ 3156 w 3967"/>
                <a:gd name="T121" fmla="*/ 564 h 3543"/>
                <a:gd name="T122" fmla="*/ 3056 w 3967"/>
                <a:gd name="T123" fmla="*/ 418 h 354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967"/>
                <a:gd name="T187" fmla="*/ 0 h 3543"/>
                <a:gd name="T188" fmla="*/ 3967 w 3967"/>
                <a:gd name="T189" fmla="*/ 3543 h 3543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967" h="3543">
                  <a:moveTo>
                    <a:pt x="2973" y="224"/>
                  </a:moveTo>
                  <a:lnTo>
                    <a:pt x="2966" y="210"/>
                  </a:lnTo>
                  <a:lnTo>
                    <a:pt x="2935" y="190"/>
                  </a:lnTo>
                  <a:lnTo>
                    <a:pt x="2954" y="143"/>
                  </a:lnTo>
                  <a:lnTo>
                    <a:pt x="2949" y="129"/>
                  </a:lnTo>
                  <a:lnTo>
                    <a:pt x="2932" y="129"/>
                  </a:lnTo>
                  <a:lnTo>
                    <a:pt x="2920" y="118"/>
                  </a:lnTo>
                  <a:lnTo>
                    <a:pt x="2912" y="48"/>
                  </a:lnTo>
                  <a:lnTo>
                    <a:pt x="2903" y="21"/>
                  </a:lnTo>
                  <a:lnTo>
                    <a:pt x="2872" y="0"/>
                  </a:lnTo>
                  <a:lnTo>
                    <a:pt x="2852" y="28"/>
                  </a:lnTo>
                  <a:lnTo>
                    <a:pt x="2849" y="72"/>
                  </a:lnTo>
                  <a:lnTo>
                    <a:pt x="2835" y="122"/>
                  </a:lnTo>
                  <a:lnTo>
                    <a:pt x="2809" y="173"/>
                  </a:lnTo>
                  <a:lnTo>
                    <a:pt x="2808" y="183"/>
                  </a:lnTo>
                  <a:lnTo>
                    <a:pt x="2831" y="212"/>
                  </a:lnTo>
                  <a:lnTo>
                    <a:pt x="2825" y="228"/>
                  </a:lnTo>
                  <a:lnTo>
                    <a:pt x="2810" y="236"/>
                  </a:lnTo>
                  <a:lnTo>
                    <a:pt x="2800" y="252"/>
                  </a:lnTo>
                  <a:lnTo>
                    <a:pt x="2792" y="342"/>
                  </a:lnTo>
                  <a:lnTo>
                    <a:pt x="2808" y="379"/>
                  </a:lnTo>
                  <a:lnTo>
                    <a:pt x="2788" y="439"/>
                  </a:lnTo>
                  <a:lnTo>
                    <a:pt x="2786" y="455"/>
                  </a:lnTo>
                  <a:lnTo>
                    <a:pt x="2806" y="489"/>
                  </a:lnTo>
                  <a:lnTo>
                    <a:pt x="2812" y="513"/>
                  </a:lnTo>
                  <a:lnTo>
                    <a:pt x="2793" y="550"/>
                  </a:lnTo>
                  <a:lnTo>
                    <a:pt x="2781" y="588"/>
                  </a:lnTo>
                  <a:lnTo>
                    <a:pt x="2772" y="659"/>
                  </a:lnTo>
                  <a:lnTo>
                    <a:pt x="2754" y="719"/>
                  </a:lnTo>
                  <a:lnTo>
                    <a:pt x="2722" y="791"/>
                  </a:lnTo>
                  <a:lnTo>
                    <a:pt x="2712" y="800"/>
                  </a:lnTo>
                  <a:lnTo>
                    <a:pt x="2686" y="811"/>
                  </a:lnTo>
                  <a:lnTo>
                    <a:pt x="2668" y="821"/>
                  </a:lnTo>
                  <a:lnTo>
                    <a:pt x="2649" y="825"/>
                  </a:lnTo>
                  <a:lnTo>
                    <a:pt x="2625" y="816"/>
                  </a:lnTo>
                  <a:lnTo>
                    <a:pt x="2571" y="777"/>
                  </a:lnTo>
                  <a:lnTo>
                    <a:pt x="2563" y="767"/>
                  </a:lnTo>
                  <a:lnTo>
                    <a:pt x="2552" y="733"/>
                  </a:lnTo>
                  <a:lnTo>
                    <a:pt x="2543" y="724"/>
                  </a:lnTo>
                  <a:lnTo>
                    <a:pt x="2507" y="714"/>
                  </a:lnTo>
                  <a:lnTo>
                    <a:pt x="2487" y="712"/>
                  </a:lnTo>
                  <a:lnTo>
                    <a:pt x="2473" y="705"/>
                  </a:lnTo>
                  <a:lnTo>
                    <a:pt x="2442" y="677"/>
                  </a:lnTo>
                  <a:lnTo>
                    <a:pt x="2424" y="652"/>
                  </a:lnTo>
                  <a:lnTo>
                    <a:pt x="2356" y="608"/>
                  </a:lnTo>
                  <a:lnTo>
                    <a:pt x="2344" y="606"/>
                  </a:lnTo>
                  <a:lnTo>
                    <a:pt x="2330" y="613"/>
                  </a:lnTo>
                  <a:lnTo>
                    <a:pt x="2318" y="608"/>
                  </a:lnTo>
                  <a:lnTo>
                    <a:pt x="2296" y="574"/>
                  </a:lnTo>
                  <a:lnTo>
                    <a:pt x="2261" y="539"/>
                  </a:lnTo>
                  <a:lnTo>
                    <a:pt x="2215" y="504"/>
                  </a:lnTo>
                  <a:lnTo>
                    <a:pt x="2193" y="482"/>
                  </a:lnTo>
                  <a:lnTo>
                    <a:pt x="2191" y="473"/>
                  </a:lnTo>
                  <a:lnTo>
                    <a:pt x="2199" y="446"/>
                  </a:lnTo>
                  <a:lnTo>
                    <a:pt x="2224" y="420"/>
                  </a:lnTo>
                  <a:lnTo>
                    <a:pt x="2240" y="390"/>
                  </a:lnTo>
                  <a:lnTo>
                    <a:pt x="2248" y="353"/>
                  </a:lnTo>
                  <a:lnTo>
                    <a:pt x="2233" y="333"/>
                  </a:lnTo>
                  <a:lnTo>
                    <a:pt x="2236" y="303"/>
                  </a:lnTo>
                  <a:lnTo>
                    <a:pt x="2252" y="286"/>
                  </a:lnTo>
                  <a:lnTo>
                    <a:pt x="2275" y="273"/>
                  </a:lnTo>
                  <a:lnTo>
                    <a:pt x="2298" y="273"/>
                  </a:lnTo>
                  <a:lnTo>
                    <a:pt x="2302" y="259"/>
                  </a:lnTo>
                  <a:lnTo>
                    <a:pt x="2303" y="236"/>
                  </a:lnTo>
                  <a:lnTo>
                    <a:pt x="2311" y="224"/>
                  </a:lnTo>
                  <a:lnTo>
                    <a:pt x="2317" y="201"/>
                  </a:lnTo>
                  <a:lnTo>
                    <a:pt x="2336" y="180"/>
                  </a:lnTo>
                  <a:lnTo>
                    <a:pt x="2328" y="171"/>
                  </a:lnTo>
                  <a:lnTo>
                    <a:pt x="2314" y="166"/>
                  </a:lnTo>
                  <a:lnTo>
                    <a:pt x="2293" y="141"/>
                  </a:lnTo>
                  <a:lnTo>
                    <a:pt x="2286" y="146"/>
                  </a:lnTo>
                  <a:lnTo>
                    <a:pt x="2281" y="189"/>
                  </a:lnTo>
                  <a:lnTo>
                    <a:pt x="2261" y="196"/>
                  </a:lnTo>
                  <a:lnTo>
                    <a:pt x="2245" y="171"/>
                  </a:lnTo>
                  <a:lnTo>
                    <a:pt x="2217" y="150"/>
                  </a:lnTo>
                  <a:lnTo>
                    <a:pt x="2197" y="148"/>
                  </a:lnTo>
                  <a:lnTo>
                    <a:pt x="2171" y="173"/>
                  </a:lnTo>
                  <a:lnTo>
                    <a:pt x="2166" y="173"/>
                  </a:lnTo>
                  <a:lnTo>
                    <a:pt x="2148" y="168"/>
                  </a:lnTo>
                  <a:lnTo>
                    <a:pt x="2130" y="136"/>
                  </a:lnTo>
                  <a:lnTo>
                    <a:pt x="2114" y="134"/>
                  </a:lnTo>
                  <a:lnTo>
                    <a:pt x="2096" y="143"/>
                  </a:lnTo>
                  <a:lnTo>
                    <a:pt x="2012" y="122"/>
                  </a:lnTo>
                  <a:lnTo>
                    <a:pt x="1996" y="115"/>
                  </a:lnTo>
                  <a:lnTo>
                    <a:pt x="1966" y="90"/>
                  </a:lnTo>
                  <a:lnTo>
                    <a:pt x="1951" y="72"/>
                  </a:lnTo>
                  <a:lnTo>
                    <a:pt x="1935" y="78"/>
                  </a:lnTo>
                  <a:lnTo>
                    <a:pt x="1924" y="72"/>
                  </a:lnTo>
                  <a:lnTo>
                    <a:pt x="1897" y="46"/>
                  </a:lnTo>
                  <a:lnTo>
                    <a:pt x="1880" y="48"/>
                  </a:lnTo>
                  <a:lnTo>
                    <a:pt x="1864" y="55"/>
                  </a:lnTo>
                  <a:lnTo>
                    <a:pt x="1861" y="65"/>
                  </a:lnTo>
                  <a:lnTo>
                    <a:pt x="1872" y="74"/>
                  </a:lnTo>
                  <a:lnTo>
                    <a:pt x="1889" y="69"/>
                  </a:lnTo>
                  <a:lnTo>
                    <a:pt x="1909" y="83"/>
                  </a:lnTo>
                  <a:lnTo>
                    <a:pt x="1921" y="99"/>
                  </a:lnTo>
                  <a:lnTo>
                    <a:pt x="1933" y="148"/>
                  </a:lnTo>
                  <a:lnTo>
                    <a:pt x="1931" y="152"/>
                  </a:lnTo>
                  <a:lnTo>
                    <a:pt x="1921" y="160"/>
                  </a:lnTo>
                  <a:lnTo>
                    <a:pt x="1898" y="168"/>
                  </a:lnTo>
                  <a:lnTo>
                    <a:pt x="1815" y="175"/>
                  </a:lnTo>
                  <a:lnTo>
                    <a:pt x="1779" y="155"/>
                  </a:lnTo>
                  <a:lnTo>
                    <a:pt x="1763" y="159"/>
                  </a:lnTo>
                  <a:lnTo>
                    <a:pt x="1747" y="180"/>
                  </a:lnTo>
                  <a:lnTo>
                    <a:pt x="1757" y="203"/>
                  </a:lnTo>
                  <a:lnTo>
                    <a:pt x="1745" y="212"/>
                  </a:lnTo>
                  <a:lnTo>
                    <a:pt x="1713" y="215"/>
                  </a:lnTo>
                  <a:lnTo>
                    <a:pt x="1709" y="217"/>
                  </a:lnTo>
                  <a:lnTo>
                    <a:pt x="1685" y="265"/>
                  </a:lnTo>
                  <a:lnTo>
                    <a:pt x="1685" y="280"/>
                  </a:lnTo>
                  <a:lnTo>
                    <a:pt x="1689" y="289"/>
                  </a:lnTo>
                  <a:lnTo>
                    <a:pt x="1684" y="303"/>
                  </a:lnTo>
                  <a:lnTo>
                    <a:pt x="1672" y="317"/>
                  </a:lnTo>
                  <a:lnTo>
                    <a:pt x="1648" y="332"/>
                  </a:lnTo>
                  <a:lnTo>
                    <a:pt x="1639" y="344"/>
                  </a:lnTo>
                  <a:lnTo>
                    <a:pt x="1639" y="367"/>
                  </a:lnTo>
                  <a:lnTo>
                    <a:pt x="1612" y="397"/>
                  </a:lnTo>
                  <a:lnTo>
                    <a:pt x="1607" y="402"/>
                  </a:lnTo>
                  <a:lnTo>
                    <a:pt x="1607" y="414"/>
                  </a:lnTo>
                  <a:lnTo>
                    <a:pt x="1610" y="423"/>
                  </a:lnTo>
                  <a:lnTo>
                    <a:pt x="1636" y="444"/>
                  </a:lnTo>
                  <a:lnTo>
                    <a:pt x="1648" y="462"/>
                  </a:lnTo>
                  <a:lnTo>
                    <a:pt x="1647" y="476"/>
                  </a:lnTo>
                  <a:lnTo>
                    <a:pt x="1633" y="492"/>
                  </a:lnTo>
                  <a:lnTo>
                    <a:pt x="1627" y="518"/>
                  </a:lnTo>
                  <a:lnTo>
                    <a:pt x="1612" y="511"/>
                  </a:lnTo>
                  <a:lnTo>
                    <a:pt x="1585" y="483"/>
                  </a:lnTo>
                  <a:lnTo>
                    <a:pt x="1563" y="474"/>
                  </a:lnTo>
                  <a:lnTo>
                    <a:pt x="1512" y="471"/>
                  </a:lnTo>
                  <a:lnTo>
                    <a:pt x="1504" y="478"/>
                  </a:lnTo>
                  <a:lnTo>
                    <a:pt x="1485" y="514"/>
                  </a:lnTo>
                  <a:lnTo>
                    <a:pt x="1473" y="530"/>
                  </a:lnTo>
                  <a:lnTo>
                    <a:pt x="1466" y="520"/>
                  </a:lnTo>
                  <a:lnTo>
                    <a:pt x="1469" y="487"/>
                  </a:lnTo>
                  <a:lnTo>
                    <a:pt x="1463" y="448"/>
                  </a:lnTo>
                  <a:lnTo>
                    <a:pt x="1435" y="416"/>
                  </a:lnTo>
                  <a:lnTo>
                    <a:pt x="1420" y="388"/>
                  </a:lnTo>
                  <a:lnTo>
                    <a:pt x="1408" y="377"/>
                  </a:lnTo>
                  <a:lnTo>
                    <a:pt x="1385" y="372"/>
                  </a:lnTo>
                  <a:lnTo>
                    <a:pt x="1354" y="339"/>
                  </a:lnTo>
                  <a:lnTo>
                    <a:pt x="1346" y="365"/>
                  </a:lnTo>
                  <a:lnTo>
                    <a:pt x="1336" y="377"/>
                  </a:lnTo>
                  <a:lnTo>
                    <a:pt x="1324" y="407"/>
                  </a:lnTo>
                  <a:lnTo>
                    <a:pt x="1313" y="383"/>
                  </a:lnTo>
                  <a:lnTo>
                    <a:pt x="1297" y="374"/>
                  </a:lnTo>
                  <a:lnTo>
                    <a:pt x="1280" y="390"/>
                  </a:lnTo>
                  <a:lnTo>
                    <a:pt x="1256" y="448"/>
                  </a:lnTo>
                  <a:lnTo>
                    <a:pt x="1222" y="446"/>
                  </a:lnTo>
                  <a:lnTo>
                    <a:pt x="1203" y="452"/>
                  </a:lnTo>
                  <a:lnTo>
                    <a:pt x="1187" y="460"/>
                  </a:lnTo>
                  <a:lnTo>
                    <a:pt x="1190" y="489"/>
                  </a:lnTo>
                  <a:lnTo>
                    <a:pt x="1182" y="508"/>
                  </a:lnTo>
                  <a:lnTo>
                    <a:pt x="1178" y="535"/>
                  </a:lnTo>
                  <a:lnTo>
                    <a:pt x="1182" y="560"/>
                  </a:lnTo>
                  <a:lnTo>
                    <a:pt x="1174" y="562"/>
                  </a:lnTo>
                  <a:lnTo>
                    <a:pt x="1142" y="541"/>
                  </a:lnTo>
                  <a:lnTo>
                    <a:pt x="1136" y="544"/>
                  </a:lnTo>
                  <a:lnTo>
                    <a:pt x="1116" y="564"/>
                  </a:lnTo>
                  <a:lnTo>
                    <a:pt x="1111" y="592"/>
                  </a:lnTo>
                  <a:lnTo>
                    <a:pt x="1113" y="608"/>
                  </a:lnTo>
                  <a:lnTo>
                    <a:pt x="1107" y="636"/>
                  </a:lnTo>
                  <a:lnTo>
                    <a:pt x="1127" y="643"/>
                  </a:lnTo>
                  <a:lnTo>
                    <a:pt x="1157" y="668"/>
                  </a:lnTo>
                  <a:lnTo>
                    <a:pt x="1144" y="664"/>
                  </a:lnTo>
                  <a:lnTo>
                    <a:pt x="1101" y="668"/>
                  </a:lnTo>
                  <a:lnTo>
                    <a:pt x="1073" y="654"/>
                  </a:lnTo>
                  <a:lnTo>
                    <a:pt x="1033" y="652"/>
                  </a:lnTo>
                  <a:lnTo>
                    <a:pt x="1031" y="657"/>
                  </a:lnTo>
                  <a:lnTo>
                    <a:pt x="1030" y="687"/>
                  </a:lnTo>
                  <a:lnTo>
                    <a:pt x="1039" y="701"/>
                  </a:lnTo>
                  <a:lnTo>
                    <a:pt x="1063" y="714"/>
                  </a:lnTo>
                  <a:lnTo>
                    <a:pt x="1066" y="721"/>
                  </a:lnTo>
                  <a:lnTo>
                    <a:pt x="1058" y="754"/>
                  </a:lnTo>
                  <a:lnTo>
                    <a:pt x="1045" y="751"/>
                  </a:lnTo>
                  <a:lnTo>
                    <a:pt x="1027" y="738"/>
                  </a:lnTo>
                  <a:lnTo>
                    <a:pt x="1026" y="763"/>
                  </a:lnTo>
                  <a:lnTo>
                    <a:pt x="1018" y="795"/>
                  </a:lnTo>
                  <a:lnTo>
                    <a:pt x="1006" y="781"/>
                  </a:lnTo>
                  <a:lnTo>
                    <a:pt x="978" y="707"/>
                  </a:lnTo>
                  <a:lnTo>
                    <a:pt x="964" y="684"/>
                  </a:lnTo>
                  <a:lnTo>
                    <a:pt x="952" y="675"/>
                  </a:lnTo>
                  <a:lnTo>
                    <a:pt x="933" y="712"/>
                  </a:lnTo>
                  <a:lnTo>
                    <a:pt x="886" y="772"/>
                  </a:lnTo>
                  <a:lnTo>
                    <a:pt x="888" y="798"/>
                  </a:lnTo>
                  <a:lnTo>
                    <a:pt x="898" y="842"/>
                  </a:lnTo>
                  <a:lnTo>
                    <a:pt x="901" y="865"/>
                  </a:lnTo>
                  <a:lnTo>
                    <a:pt x="898" y="874"/>
                  </a:lnTo>
                  <a:lnTo>
                    <a:pt x="855" y="909"/>
                  </a:lnTo>
                  <a:lnTo>
                    <a:pt x="838" y="929"/>
                  </a:lnTo>
                  <a:lnTo>
                    <a:pt x="818" y="980"/>
                  </a:lnTo>
                  <a:lnTo>
                    <a:pt x="798" y="1012"/>
                  </a:lnTo>
                  <a:lnTo>
                    <a:pt x="768" y="1047"/>
                  </a:lnTo>
                  <a:lnTo>
                    <a:pt x="752" y="1059"/>
                  </a:lnTo>
                  <a:lnTo>
                    <a:pt x="663" y="1102"/>
                  </a:lnTo>
                  <a:lnTo>
                    <a:pt x="636" y="1103"/>
                  </a:lnTo>
                  <a:lnTo>
                    <a:pt x="597" y="1091"/>
                  </a:lnTo>
                  <a:lnTo>
                    <a:pt x="577" y="1089"/>
                  </a:lnTo>
                  <a:lnTo>
                    <a:pt x="571" y="1095"/>
                  </a:lnTo>
                  <a:lnTo>
                    <a:pt x="559" y="1125"/>
                  </a:lnTo>
                  <a:lnTo>
                    <a:pt x="545" y="1133"/>
                  </a:lnTo>
                  <a:lnTo>
                    <a:pt x="506" y="1137"/>
                  </a:lnTo>
                  <a:lnTo>
                    <a:pt x="483" y="1144"/>
                  </a:lnTo>
                  <a:lnTo>
                    <a:pt x="462" y="1169"/>
                  </a:lnTo>
                  <a:lnTo>
                    <a:pt x="448" y="1179"/>
                  </a:lnTo>
                  <a:lnTo>
                    <a:pt x="366" y="1183"/>
                  </a:lnTo>
                  <a:lnTo>
                    <a:pt x="332" y="1188"/>
                  </a:lnTo>
                  <a:lnTo>
                    <a:pt x="303" y="1206"/>
                  </a:lnTo>
                  <a:lnTo>
                    <a:pt x="248" y="1265"/>
                  </a:lnTo>
                  <a:lnTo>
                    <a:pt x="226" y="1283"/>
                  </a:lnTo>
                  <a:lnTo>
                    <a:pt x="139" y="1343"/>
                  </a:lnTo>
                  <a:lnTo>
                    <a:pt x="124" y="1401"/>
                  </a:lnTo>
                  <a:lnTo>
                    <a:pt x="117" y="1406"/>
                  </a:lnTo>
                  <a:lnTo>
                    <a:pt x="102" y="1404"/>
                  </a:lnTo>
                  <a:lnTo>
                    <a:pt x="97" y="1395"/>
                  </a:lnTo>
                  <a:lnTo>
                    <a:pt x="97" y="1371"/>
                  </a:lnTo>
                  <a:lnTo>
                    <a:pt x="85" y="1335"/>
                  </a:lnTo>
                  <a:lnTo>
                    <a:pt x="77" y="1362"/>
                  </a:lnTo>
                  <a:lnTo>
                    <a:pt x="57" y="1401"/>
                  </a:lnTo>
                  <a:lnTo>
                    <a:pt x="56" y="1420"/>
                  </a:lnTo>
                  <a:lnTo>
                    <a:pt x="66" y="1455"/>
                  </a:lnTo>
                  <a:lnTo>
                    <a:pt x="70" y="1514"/>
                  </a:lnTo>
                  <a:lnTo>
                    <a:pt x="62" y="1551"/>
                  </a:lnTo>
                  <a:lnTo>
                    <a:pt x="31" y="1612"/>
                  </a:lnTo>
                  <a:lnTo>
                    <a:pt x="38" y="1685"/>
                  </a:lnTo>
                  <a:lnTo>
                    <a:pt x="54" y="1724"/>
                  </a:lnTo>
                  <a:lnTo>
                    <a:pt x="113" y="1828"/>
                  </a:lnTo>
                  <a:lnTo>
                    <a:pt x="113" y="1859"/>
                  </a:lnTo>
                  <a:lnTo>
                    <a:pt x="99" y="1861"/>
                  </a:lnTo>
                  <a:lnTo>
                    <a:pt x="103" y="1893"/>
                  </a:lnTo>
                  <a:lnTo>
                    <a:pt x="82" y="1889"/>
                  </a:lnTo>
                  <a:lnTo>
                    <a:pt x="61" y="1835"/>
                  </a:lnTo>
                  <a:lnTo>
                    <a:pt x="28" y="1787"/>
                  </a:lnTo>
                  <a:lnTo>
                    <a:pt x="24" y="1803"/>
                  </a:lnTo>
                  <a:lnTo>
                    <a:pt x="33" y="1822"/>
                  </a:lnTo>
                  <a:lnTo>
                    <a:pt x="53" y="1845"/>
                  </a:lnTo>
                  <a:lnTo>
                    <a:pt x="68" y="1909"/>
                  </a:lnTo>
                  <a:lnTo>
                    <a:pt x="53" y="1907"/>
                  </a:lnTo>
                  <a:lnTo>
                    <a:pt x="38" y="1896"/>
                  </a:lnTo>
                  <a:lnTo>
                    <a:pt x="28" y="1877"/>
                  </a:lnTo>
                  <a:lnTo>
                    <a:pt x="20" y="1868"/>
                  </a:lnTo>
                  <a:lnTo>
                    <a:pt x="13" y="1843"/>
                  </a:lnTo>
                  <a:lnTo>
                    <a:pt x="5" y="1833"/>
                  </a:lnTo>
                  <a:lnTo>
                    <a:pt x="0" y="1845"/>
                  </a:lnTo>
                  <a:lnTo>
                    <a:pt x="12" y="1879"/>
                  </a:lnTo>
                  <a:lnTo>
                    <a:pt x="54" y="1936"/>
                  </a:lnTo>
                  <a:lnTo>
                    <a:pt x="87" y="2000"/>
                  </a:lnTo>
                  <a:lnTo>
                    <a:pt x="97" y="2030"/>
                  </a:lnTo>
                  <a:lnTo>
                    <a:pt x="90" y="2081"/>
                  </a:lnTo>
                  <a:lnTo>
                    <a:pt x="155" y="2192"/>
                  </a:lnTo>
                  <a:lnTo>
                    <a:pt x="176" y="2254"/>
                  </a:lnTo>
                  <a:lnTo>
                    <a:pt x="184" y="2292"/>
                  </a:lnTo>
                  <a:lnTo>
                    <a:pt x="183" y="2349"/>
                  </a:lnTo>
                  <a:lnTo>
                    <a:pt x="188" y="2397"/>
                  </a:lnTo>
                  <a:lnTo>
                    <a:pt x="199" y="2434"/>
                  </a:lnTo>
                  <a:lnTo>
                    <a:pt x="248" y="2545"/>
                  </a:lnTo>
                  <a:lnTo>
                    <a:pt x="259" y="2578"/>
                  </a:lnTo>
                  <a:lnTo>
                    <a:pt x="265" y="2615"/>
                  </a:lnTo>
                  <a:lnTo>
                    <a:pt x="268" y="2687"/>
                  </a:lnTo>
                  <a:lnTo>
                    <a:pt x="256" y="2766"/>
                  </a:lnTo>
                  <a:lnTo>
                    <a:pt x="248" y="2794"/>
                  </a:lnTo>
                  <a:lnTo>
                    <a:pt x="233" y="2819"/>
                  </a:lnTo>
                  <a:lnTo>
                    <a:pt x="212" y="2824"/>
                  </a:lnTo>
                  <a:lnTo>
                    <a:pt x="191" y="2817"/>
                  </a:lnTo>
                  <a:lnTo>
                    <a:pt x="188" y="2833"/>
                  </a:lnTo>
                  <a:lnTo>
                    <a:pt x="197" y="2906"/>
                  </a:lnTo>
                  <a:lnTo>
                    <a:pt x="203" y="2909"/>
                  </a:lnTo>
                  <a:lnTo>
                    <a:pt x="221" y="2913"/>
                  </a:lnTo>
                  <a:lnTo>
                    <a:pt x="253" y="2932"/>
                  </a:lnTo>
                  <a:lnTo>
                    <a:pt x="287" y="2973"/>
                  </a:lnTo>
                  <a:lnTo>
                    <a:pt x="315" y="2994"/>
                  </a:lnTo>
                  <a:lnTo>
                    <a:pt x="345" y="3006"/>
                  </a:lnTo>
                  <a:lnTo>
                    <a:pt x="440" y="3015"/>
                  </a:lnTo>
                  <a:lnTo>
                    <a:pt x="466" y="3010"/>
                  </a:lnTo>
                  <a:lnTo>
                    <a:pt x="507" y="2994"/>
                  </a:lnTo>
                  <a:lnTo>
                    <a:pt x="527" y="2971"/>
                  </a:lnTo>
                  <a:lnTo>
                    <a:pt x="552" y="2928"/>
                  </a:lnTo>
                  <a:lnTo>
                    <a:pt x="559" y="2927"/>
                  </a:lnTo>
                  <a:lnTo>
                    <a:pt x="601" y="2934"/>
                  </a:lnTo>
                  <a:lnTo>
                    <a:pt x="617" y="2925"/>
                  </a:lnTo>
                  <a:lnTo>
                    <a:pt x="643" y="2879"/>
                  </a:lnTo>
                  <a:lnTo>
                    <a:pt x="659" y="2865"/>
                  </a:lnTo>
                  <a:lnTo>
                    <a:pt x="690" y="2863"/>
                  </a:lnTo>
                  <a:lnTo>
                    <a:pt x="710" y="2865"/>
                  </a:lnTo>
                  <a:lnTo>
                    <a:pt x="821" y="2846"/>
                  </a:lnTo>
                  <a:lnTo>
                    <a:pt x="854" y="2846"/>
                  </a:lnTo>
                  <a:lnTo>
                    <a:pt x="866" y="2849"/>
                  </a:lnTo>
                  <a:lnTo>
                    <a:pt x="895" y="2874"/>
                  </a:lnTo>
                  <a:lnTo>
                    <a:pt x="913" y="2861"/>
                  </a:lnTo>
                  <a:lnTo>
                    <a:pt x="954" y="2854"/>
                  </a:lnTo>
                  <a:lnTo>
                    <a:pt x="1013" y="2854"/>
                  </a:lnTo>
                  <a:lnTo>
                    <a:pt x="1038" y="2839"/>
                  </a:lnTo>
                  <a:lnTo>
                    <a:pt x="1099" y="2738"/>
                  </a:lnTo>
                  <a:lnTo>
                    <a:pt x="1115" y="2726"/>
                  </a:lnTo>
                  <a:lnTo>
                    <a:pt x="1157" y="2713"/>
                  </a:lnTo>
                  <a:lnTo>
                    <a:pt x="1236" y="2662"/>
                  </a:lnTo>
                  <a:lnTo>
                    <a:pt x="1276" y="2646"/>
                  </a:lnTo>
                  <a:lnTo>
                    <a:pt x="1293" y="2643"/>
                  </a:lnTo>
                  <a:lnTo>
                    <a:pt x="1328" y="2645"/>
                  </a:lnTo>
                  <a:lnTo>
                    <a:pt x="1395" y="2639"/>
                  </a:lnTo>
                  <a:lnTo>
                    <a:pt x="1484" y="2608"/>
                  </a:lnTo>
                  <a:lnTo>
                    <a:pt x="1526" y="2582"/>
                  </a:lnTo>
                  <a:lnTo>
                    <a:pt x="1557" y="2569"/>
                  </a:lnTo>
                  <a:lnTo>
                    <a:pt x="1583" y="2562"/>
                  </a:lnTo>
                  <a:lnTo>
                    <a:pt x="1747" y="2554"/>
                  </a:lnTo>
                  <a:lnTo>
                    <a:pt x="1779" y="2541"/>
                  </a:lnTo>
                  <a:lnTo>
                    <a:pt x="1790" y="2541"/>
                  </a:lnTo>
                  <a:lnTo>
                    <a:pt x="1829" y="2566"/>
                  </a:lnTo>
                  <a:lnTo>
                    <a:pt x="1859" y="2596"/>
                  </a:lnTo>
                  <a:lnTo>
                    <a:pt x="1877" y="2608"/>
                  </a:lnTo>
                  <a:lnTo>
                    <a:pt x="1896" y="2608"/>
                  </a:lnTo>
                  <a:lnTo>
                    <a:pt x="1915" y="2599"/>
                  </a:lnTo>
                  <a:lnTo>
                    <a:pt x="1927" y="2599"/>
                  </a:lnTo>
                  <a:lnTo>
                    <a:pt x="1970" y="2632"/>
                  </a:lnTo>
                  <a:lnTo>
                    <a:pt x="1991" y="2637"/>
                  </a:lnTo>
                  <a:lnTo>
                    <a:pt x="2028" y="2627"/>
                  </a:lnTo>
                  <a:lnTo>
                    <a:pt x="2040" y="2634"/>
                  </a:lnTo>
                  <a:lnTo>
                    <a:pt x="2064" y="2662"/>
                  </a:lnTo>
                  <a:lnTo>
                    <a:pt x="2078" y="2685"/>
                  </a:lnTo>
                  <a:lnTo>
                    <a:pt x="2081" y="2703"/>
                  </a:lnTo>
                  <a:lnTo>
                    <a:pt x="2066" y="2722"/>
                  </a:lnTo>
                  <a:lnTo>
                    <a:pt x="2069" y="2738"/>
                  </a:lnTo>
                  <a:lnTo>
                    <a:pt x="2075" y="2752"/>
                  </a:lnTo>
                  <a:lnTo>
                    <a:pt x="2086" y="2757"/>
                  </a:lnTo>
                  <a:lnTo>
                    <a:pt x="2117" y="2754"/>
                  </a:lnTo>
                  <a:lnTo>
                    <a:pt x="2124" y="2766"/>
                  </a:lnTo>
                  <a:lnTo>
                    <a:pt x="2138" y="2810"/>
                  </a:lnTo>
                  <a:lnTo>
                    <a:pt x="2168" y="2856"/>
                  </a:lnTo>
                  <a:lnTo>
                    <a:pt x="2188" y="2909"/>
                  </a:lnTo>
                  <a:lnTo>
                    <a:pt x="2205" y="2988"/>
                  </a:lnTo>
                  <a:lnTo>
                    <a:pt x="2224" y="3008"/>
                  </a:lnTo>
                  <a:lnTo>
                    <a:pt x="2262" y="2920"/>
                  </a:lnTo>
                  <a:lnTo>
                    <a:pt x="2290" y="2886"/>
                  </a:lnTo>
                  <a:lnTo>
                    <a:pt x="2323" y="2858"/>
                  </a:lnTo>
                  <a:lnTo>
                    <a:pt x="2355" y="2844"/>
                  </a:lnTo>
                  <a:lnTo>
                    <a:pt x="2368" y="2824"/>
                  </a:lnTo>
                  <a:lnTo>
                    <a:pt x="2376" y="2796"/>
                  </a:lnTo>
                  <a:lnTo>
                    <a:pt x="2393" y="2759"/>
                  </a:lnTo>
                  <a:lnTo>
                    <a:pt x="2417" y="2743"/>
                  </a:lnTo>
                  <a:lnTo>
                    <a:pt x="2429" y="2727"/>
                  </a:lnTo>
                  <a:lnTo>
                    <a:pt x="2434" y="2687"/>
                  </a:lnTo>
                  <a:lnTo>
                    <a:pt x="2463" y="2743"/>
                  </a:lnTo>
                  <a:lnTo>
                    <a:pt x="2466" y="2757"/>
                  </a:lnTo>
                  <a:lnTo>
                    <a:pt x="2457" y="2779"/>
                  </a:lnTo>
                  <a:lnTo>
                    <a:pt x="2446" y="2779"/>
                  </a:lnTo>
                  <a:lnTo>
                    <a:pt x="2438" y="2786"/>
                  </a:lnTo>
                  <a:lnTo>
                    <a:pt x="2438" y="2810"/>
                  </a:lnTo>
                  <a:lnTo>
                    <a:pt x="2434" y="2833"/>
                  </a:lnTo>
                  <a:lnTo>
                    <a:pt x="2420" y="2861"/>
                  </a:lnTo>
                  <a:lnTo>
                    <a:pt x="2400" y="2911"/>
                  </a:lnTo>
                  <a:lnTo>
                    <a:pt x="2404" y="2969"/>
                  </a:lnTo>
                  <a:lnTo>
                    <a:pt x="2398" y="2985"/>
                  </a:lnTo>
                  <a:lnTo>
                    <a:pt x="2388" y="2994"/>
                  </a:lnTo>
                  <a:lnTo>
                    <a:pt x="2360" y="2990"/>
                  </a:lnTo>
                  <a:lnTo>
                    <a:pt x="2356" y="2997"/>
                  </a:lnTo>
                  <a:lnTo>
                    <a:pt x="2352" y="3020"/>
                  </a:lnTo>
                  <a:lnTo>
                    <a:pt x="2343" y="3043"/>
                  </a:lnTo>
                  <a:lnTo>
                    <a:pt x="2355" y="3041"/>
                  </a:lnTo>
                  <a:lnTo>
                    <a:pt x="2364" y="3041"/>
                  </a:lnTo>
                  <a:lnTo>
                    <a:pt x="2373" y="3033"/>
                  </a:lnTo>
                  <a:lnTo>
                    <a:pt x="2408" y="3033"/>
                  </a:lnTo>
                  <a:lnTo>
                    <a:pt x="2416" y="3025"/>
                  </a:lnTo>
                  <a:lnTo>
                    <a:pt x="2436" y="2941"/>
                  </a:lnTo>
                  <a:lnTo>
                    <a:pt x="2458" y="2897"/>
                  </a:lnTo>
                  <a:lnTo>
                    <a:pt x="2469" y="2918"/>
                  </a:lnTo>
                  <a:lnTo>
                    <a:pt x="2503" y="2973"/>
                  </a:lnTo>
                  <a:lnTo>
                    <a:pt x="2499" y="3020"/>
                  </a:lnTo>
                  <a:lnTo>
                    <a:pt x="2489" y="3054"/>
                  </a:lnTo>
                  <a:lnTo>
                    <a:pt x="2466" y="3082"/>
                  </a:lnTo>
                  <a:lnTo>
                    <a:pt x="2474" y="3093"/>
                  </a:lnTo>
                  <a:lnTo>
                    <a:pt x="2482" y="3096"/>
                  </a:lnTo>
                  <a:lnTo>
                    <a:pt x="2523" y="3085"/>
                  </a:lnTo>
                  <a:lnTo>
                    <a:pt x="2559" y="3063"/>
                  </a:lnTo>
                  <a:lnTo>
                    <a:pt x="2582" y="3063"/>
                  </a:lnTo>
                  <a:lnTo>
                    <a:pt x="2582" y="3087"/>
                  </a:lnTo>
                  <a:lnTo>
                    <a:pt x="2589" y="3119"/>
                  </a:lnTo>
                  <a:lnTo>
                    <a:pt x="2618" y="3163"/>
                  </a:lnTo>
                  <a:lnTo>
                    <a:pt x="2626" y="3193"/>
                  </a:lnTo>
                  <a:lnTo>
                    <a:pt x="2630" y="3218"/>
                  </a:lnTo>
                  <a:lnTo>
                    <a:pt x="2626" y="3281"/>
                  </a:lnTo>
                  <a:lnTo>
                    <a:pt x="2645" y="3335"/>
                  </a:lnTo>
                  <a:lnTo>
                    <a:pt x="2668" y="3355"/>
                  </a:lnTo>
                  <a:lnTo>
                    <a:pt x="2707" y="3406"/>
                  </a:lnTo>
                  <a:lnTo>
                    <a:pt x="2763" y="3445"/>
                  </a:lnTo>
                  <a:lnTo>
                    <a:pt x="2796" y="3455"/>
                  </a:lnTo>
                  <a:lnTo>
                    <a:pt x="2797" y="3448"/>
                  </a:lnTo>
                  <a:lnTo>
                    <a:pt x="2808" y="3439"/>
                  </a:lnTo>
                  <a:lnTo>
                    <a:pt x="2830" y="3441"/>
                  </a:lnTo>
                  <a:lnTo>
                    <a:pt x="2908" y="3475"/>
                  </a:lnTo>
                  <a:lnTo>
                    <a:pt x="2947" y="3501"/>
                  </a:lnTo>
                  <a:lnTo>
                    <a:pt x="2973" y="3515"/>
                  </a:lnTo>
                  <a:lnTo>
                    <a:pt x="2982" y="3513"/>
                  </a:lnTo>
                  <a:lnTo>
                    <a:pt x="3066" y="3460"/>
                  </a:lnTo>
                  <a:lnTo>
                    <a:pt x="3108" y="3445"/>
                  </a:lnTo>
                  <a:lnTo>
                    <a:pt x="3076" y="3416"/>
                  </a:lnTo>
                  <a:lnTo>
                    <a:pt x="3091" y="3402"/>
                  </a:lnTo>
                  <a:lnTo>
                    <a:pt x="3113" y="3392"/>
                  </a:lnTo>
                  <a:lnTo>
                    <a:pt x="3131" y="3392"/>
                  </a:lnTo>
                  <a:lnTo>
                    <a:pt x="3158" y="3415"/>
                  </a:lnTo>
                  <a:lnTo>
                    <a:pt x="3182" y="3443"/>
                  </a:lnTo>
                  <a:lnTo>
                    <a:pt x="3187" y="3453"/>
                  </a:lnTo>
                  <a:lnTo>
                    <a:pt x="3186" y="3482"/>
                  </a:lnTo>
                  <a:lnTo>
                    <a:pt x="3226" y="3503"/>
                  </a:lnTo>
                  <a:lnTo>
                    <a:pt x="3283" y="3543"/>
                  </a:lnTo>
                  <a:lnTo>
                    <a:pt x="3261" y="3505"/>
                  </a:lnTo>
                  <a:lnTo>
                    <a:pt x="3273" y="3505"/>
                  </a:lnTo>
                  <a:lnTo>
                    <a:pt x="3312" y="3497"/>
                  </a:lnTo>
                  <a:lnTo>
                    <a:pt x="3322" y="3480"/>
                  </a:lnTo>
                  <a:lnTo>
                    <a:pt x="3341" y="3473"/>
                  </a:lnTo>
                  <a:lnTo>
                    <a:pt x="3431" y="3397"/>
                  </a:lnTo>
                  <a:lnTo>
                    <a:pt x="3455" y="3386"/>
                  </a:lnTo>
                  <a:lnTo>
                    <a:pt x="3575" y="3374"/>
                  </a:lnTo>
                  <a:lnTo>
                    <a:pt x="3596" y="3355"/>
                  </a:lnTo>
                  <a:lnTo>
                    <a:pt x="3610" y="3333"/>
                  </a:lnTo>
                  <a:lnTo>
                    <a:pt x="3623" y="3294"/>
                  </a:lnTo>
                  <a:lnTo>
                    <a:pt x="3624" y="3197"/>
                  </a:lnTo>
                  <a:lnTo>
                    <a:pt x="3645" y="3073"/>
                  </a:lnTo>
                  <a:lnTo>
                    <a:pt x="3657" y="3054"/>
                  </a:lnTo>
                  <a:lnTo>
                    <a:pt x="3684" y="3033"/>
                  </a:lnTo>
                  <a:lnTo>
                    <a:pt x="3698" y="3015"/>
                  </a:lnTo>
                  <a:lnTo>
                    <a:pt x="3708" y="2983"/>
                  </a:lnTo>
                  <a:lnTo>
                    <a:pt x="3708" y="2944"/>
                  </a:lnTo>
                  <a:lnTo>
                    <a:pt x="3743" y="2877"/>
                  </a:lnTo>
                  <a:lnTo>
                    <a:pt x="3758" y="2787"/>
                  </a:lnTo>
                  <a:lnTo>
                    <a:pt x="3779" y="2747"/>
                  </a:lnTo>
                  <a:lnTo>
                    <a:pt x="3796" y="2720"/>
                  </a:lnTo>
                  <a:lnTo>
                    <a:pt x="3817" y="2713"/>
                  </a:lnTo>
                  <a:lnTo>
                    <a:pt x="3837" y="2703"/>
                  </a:lnTo>
                  <a:lnTo>
                    <a:pt x="3863" y="2655"/>
                  </a:lnTo>
                  <a:lnTo>
                    <a:pt x="3873" y="2615"/>
                  </a:lnTo>
                  <a:lnTo>
                    <a:pt x="3901" y="2559"/>
                  </a:lnTo>
                  <a:lnTo>
                    <a:pt x="3915" y="2513"/>
                  </a:lnTo>
                  <a:lnTo>
                    <a:pt x="3918" y="2467"/>
                  </a:lnTo>
                  <a:lnTo>
                    <a:pt x="3912" y="2421"/>
                  </a:lnTo>
                  <a:lnTo>
                    <a:pt x="3954" y="2224"/>
                  </a:lnTo>
                  <a:lnTo>
                    <a:pt x="3967" y="2183"/>
                  </a:lnTo>
                  <a:lnTo>
                    <a:pt x="3966" y="2141"/>
                  </a:lnTo>
                  <a:lnTo>
                    <a:pt x="3956" y="2093"/>
                  </a:lnTo>
                  <a:lnTo>
                    <a:pt x="3947" y="2067"/>
                  </a:lnTo>
                  <a:lnTo>
                    <a:pt x="3913" y="1994"/>
                  </a:lnTo>
                  <a:lnTo>
                    <a:pt x="3921" y="1977"/>
                  </a:lnTo>
                  <a:lnTo>
                    <a:pt x="3927" y="1952"/>
                  </a:lnTo>
                  <a:lnTo>
                    <a:pt x="3925" y="1854"/>
                  </a:lnTo>
                  <a:lnTo>
                    <a:pt x="3909" y="1780"/>
                  </a:lnTo>
                  <a:lnTo>
                    <a:pt x="3901" y="1759"/>
                  </a:lnTo>
                  <a:lnTo>
                    <a:pt x="3894" y="1754"/>
                  </a:lnTo>
                  <a:lnTo>
                    <a:pt x="3872" y="1746"/>
                  </a:lnTo>
                  <a:lnTo>
                    <a:pt x="3868" y="1739"/>
                  </a:lnTo>
                  <a:lnTo>
                    <a:pt x="3859" y="1709"/>
                  </a:lnTo>
                  <a:lnTo>
                    <a:pt x="3859" y="1695"/>
                  </a:lnTo>
                  <a:lnTo>
                    <a:pt x="3851" y="1678"/>
                  </a:lnTo>
                  <a:lnTo>
                    <a:pt x="3828" y="1669"/>
                  </a:lnTo>
                  <a:lnTo>
                    <a:pt x="3817" y="1646"/>
                  </a:lnTo>
                  <a:lnTo>
                    <a:pt x="3807" y="1612"/>
                  </a:lnTo>
                  <a:lnTo>
                    <a:pt x="3794" y="1597"/>
                  </a:lnTo>
                  <a:lnTo>
                    <a:pt x="3767" y="1588"/>
                  </a:lnTo>
                  <a:lnTo>
                    <a:pt x="3742" y="1570"/>
                  </a:lnTo>
                  <a:lnTo>
                    <a:pt x="3702" y="1528"/>
                  </a:lnTo>
                  <a:lnTo>
                    <a:pt x="3698" y="1431"/>
                  </a:lnTo>
                  <a:lnTo>
                    <a:pt x="3693" y="1415"/>
                  </a:lnTo>
                  <a:lnTo>
                    <a:pt x="3684" y="1408"/>
                  </a:lnTo>
                  <a:lnTo>
                    <a:pt x="3659" y="1399"/>
                  </a:lnTo>
                  <a:lnTo>
                    <a:pt x="3619" y="1371"/>
                  </a:lnTo>
                  <a:lnTo>
                    <a:pt x="3624" y="1413"/>
                  </a:lnTo>
                  <a:lnTo>
                    <a:pt x="3626" y="1420"/>
                  </a:lnTo>
                  <a:lnTo>
                    <a:pt x="3591" y="1401"/>
                  </a:lnTo>
                  <a:lnTo>
                    <a:pt x="3579" y="1385"/>
                  </a:lnTo>
                  <a:lnTo>
                    <a:pt x="3546" y="1247"/>
                  </a:lnTo>
                  <a:lnTo>
                    <a:pt x="3536" y="1216"/>
                  </a:lnTo>
                  <a:lnTo>
                    <a:pt x="3497" y="1190"/>
                  </a:lnTo>
                  <a:lnTo>
                    <a:pt x="3484" y="1165"/>
                  </a:lnTo>
                  <a:lnTo>
                    <a:pt x="3501" y="1121"/>
                  </a:lnTo>
                  <a:lnTo>
                    <a:pt x="3497" y="1110"/>
                  </a:lnTo>
                  <a:lnTo>
                    <a:pt x="3447" y="1107"/>
                  </a:lnTo>
                  <a:lnTo>
                    <a:pt x="3426" y="1098"/>
                  </a:lnTo>
                  <a:lnTo>
                    <a:pt x="3389" y="1068"/>
                  </a:lnTo>
                  <a:lnTo>
                    <a:pt x="3371" y="1033"/>
                  </a:lnTo>
                  <a:lnTo>
                    <a:pt x="3337" y="1028"/>
                  </a:lnTo>
                  <a:lnTo>
                    <a:pt x="3263" y="975"/>
                  </a:lnTo>
                  <a:lnTo>
                    <a:pt x="3254" y="955"/>
                  </a:lnTo>
                  <a:lnTo>
                    <a:pt x="3242" y="911"/>
                  </a:lnTo>
                  <a:lnTo>
                    <a:pt x="3224" y="876"/>
                  </a:lnTo>
                  <a:lnTo>
                    <a:pt x="3233" y="828"/>
                  </a:lnTo>
                  <a:lnTo>
                    <a:pt x="3231" y="786"/>
                  </a:lnTo>
                  <a:lnTo>
                    <a:pt x="3219" y="747"/>
                  </a:lnTo>
                  <a:lnTo>
                    <a:pt x="3178" y="677"/>
                  </a:lnTo>
                  <a:lnTo>
                    <a:pt x="3166" y="664"/>
                  </a:lnTo>
                  <a:lnTo>
                    <a:pt x="3168" y="606"/>
                  </a:lnTo>
                  <a:lnTo>
                    <a:pt x="3156" y="564"/>
                  </a:lnTo>
                  <a:lnTo>
                    <a:pt x="3152" y="513"/>
                  </a:lnTo>
                  <a:lnTo>
                    <a:pt x="3152" y="490"/>
                  </a:lnTo>
                  <a:lnTo>
                    <a:pt x="3145" y="482"/>
                  </a:lnTo>
                  <a:lnTo>
                    <a:pt x="3128" y="473"/>
                  </a:lnTo>
                  <a:lnTo>
                    <a:pt x="3104" y="452"/>
                  </a:lnTo>
                  <a:lnTo>
                    <a:pt x="3088" y="444"/>
                  </a:lnTo>
                  <a:lnTo>
                    <a:pt x="3072" y="409"/>
                  </a:lnTo>
                  <a:lnTo>
                    <a:pt x="3056" y="418"/>
                  </a:lnTo>
                  <a:lnTo>
                    <a:pt x="3042" y="436"/>
                  </a:lnTo>
                  <a:lnTo>
                    <a:pt x="3023" y="436"/>
                  </a:lnTo>
                  <a:lnTo>
                    <a:pt x="3010" y="420"/>
                  </a:lnTo>
                  <a:lnTo>
                    <a:pt x="2990" y="358"/>
                  </a:lnTo>
                  <a:lnTo>
                    <a:pt x="2984" y="325"/>
                  </a:lnTo>
                  <a:lnTo>
                    <a:pt x="2981" y="256"/>
                  </a:lnTo>
                  <a:lnTo>
                    <a:pt x="2973" y="224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313" name="Freeform 150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4997" y="3651"/>
              <a:ext cx="54" cy="61"/>
            </a:xfrm>
            <a:custGeom>
              <a:avLst/>
              <a:gdLst>
                <a:gd name="T0" fmla="*/ 0 w 356"/>
                <a:gd name="T1" fmla="*/ 44 h 405"/>
                <a:gd name="T2" fmla="*/ 16 w 356"/>
                <a:gd name="T3" fmla="*/ 104 h 405"/>
                <a:gd name="T4" fmla="*/ 24 w 356"/>
                <a:gd name="T5" fmla="*/ 120 h 405"/>
                <a:gd name="T6" fmla="*/ 82 w 356"/>
                <a:gd name="T7" fmla="*/ 210 h 405"/>
                <a:gd name="T8" fmla="*/ 90 w 356"/>
                <a:gd name="T9" fmla="*/ 234 h 405"/>
                <a:gd name="T10" fmla="*/ 85 w 356"/>
                <a:gd name="T11" fmla="*/ 243 h 405"/>
                <a:gd name="T12" fmla="*/ 66 w 356"/>
                <a:gd name="T13" fmla="*/ 232 h 405"/>
                <a:gd name="T14" fmla="*/ 60 w 356"/>
                <a:gd name="T15" fmla="*/ 225 h 405"/>
                <a:gd name="T16" fmla="*/ 48 w 356"/>
                <a:gd name="T17" fmla="*/ 229 h 405"/>
                <a:gd name="T18" fmla="*/ 58 w 356"/>
                <a:gd name="T19" fmla="*/ 254 h 405"/>
                <a:gd name="T20" fmla="*/ 101 w 356"/>
                <a:gd name="T21" fmla="*/ 336 h 405"/>
                <a:gd name="T22" fmla="*/ 124 w 356"/>
                <a:gd name="T23" fmla="*/ 360 h 405"/>
                <a:gd name="T24" fmla="*/ 197 w 356"/>
                <a:gd name="T25" fmla="*/ 405 h 405"/>
                <a:gd name="T26" fmla="*/ 209 w 356"/>
                <a:gd name="T27" fmla="*/ 399 h 405"/>
                <a:gd name="T28" fmla="*/ 240 w 356"/>
                <a:gd name="T29" fmla="*/ 339 h 405"/>
                <a:gd name="T30" fmla="*/ 264 w 356"/>
                <a:gd name="T31" fmla="*/ 315 h 405"/>
                <a:gd name="T32" fmla="*/ 306 w 356"/>
                <a:gd name="T33" fmla="*/ 297 h 405"/>
                <a:gd name="T34" fmla="*/ 318 w 356"/>
                <a:gd name="T35" fmla="*/ 278 h 405"/>
                <a:gd name="T36" fmla="*/ 322 w 356"/>
                <a:gd name="T37" fmla="*/ 229 h 405"/>
                <a:gd name="T38" fmla="*/ 356 w 356"/>
                <a:gd name="T39" fmla="*/ 134 h 405"/>
                <a:gd name="T40" fmla="*/ 356 w 356"/>
                <a:gd name="T41" fmla="*/ 90 h 405"/>
                <a:gd name="T42" fmla="*/ 350 w 356"/>
                <a:gd name="T43" fmla="*/ 40 h 405"/>
                <a:gd name="T44" fmla="*/ 350 w 356"/>
                <a:gd name="T45" fmla="*/ 33 h 405"/>
                <a:gd name="T46" fmla="*/ 329 w 356"/>
                <a:gd name="T47" fmla="*/ 10 h 405"/>
                <a:gd name="T48" fmla="*/ 298 w 356"/>
                <a:gd name="T49" fmla="*/ 26 h 405"/>
                <a:gd name="T50" fmla="*/ 285 w 356"/>
                <a:gd name="T51" fmla="*/ 44 h 405"/>
                <a:gd name="T52" fmla="*/ 253 w 356"/>
                <a:gd name="T53" fmla="*/ 42 h 405"/>
                <a:gd name="T54" fmla="*/ 237 w 356"/>
                <a:gd name="T55" fmla="*/ 45 h 405"/>
                <a:gd name="T56" fmla="*/ 200 w 356"/>
                <a:gd name="T57" fmla="*/ 61 h 405"/>
                <a:gd name="T58" fmla="*/ 164 w 356"/>
                <a:gd name="T59" fmla="*/ 63 h 405"/>
                <a:gd name="T60" fmla="*/ 8 w 356"/>
                <a:gd name="T61" fmla="*/ 0 h 405"/>
                <a:gd name="T62" fmla="*/ 0 w 356"/>
                <a:gd name="T63" fmla="*/ 1 h 405"/>
                <a:gd name="T64" fmla="*/ 0 w 356"/>
                <a:gd name="T65" fmla="*/ 44 h 40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56"/>
                <a:gd name="T100" fmla="*/ 0 h 405"/>
                <a:gd name="T101" fmla="*/ 356 w 356"/>
                <a:gd name="T102" fmla="*/ 405 h 40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56" h="405">
                  <a:moveTo>
                    <a:pt x="0" y="44"/>
                  </a:moveTo>
                  <a:lnTo>
                    <a:pt x="16" y="104"/>
                  </a:lnTo>
                  <a:lnTo>
                    <a:pt x="24" y="120"/>
                  </a:lnTo>
                  <a:lnTo>
                    <a:pt x="82" y="210"/>
                  </a:lnTo>
                  <a:lnTo>
                    <a:pt x="90" y="234"/>
                  </a:lnTo>
                  <a:lnTo>
                    <a:pt x="85" y="243"/>
                  </a:lnTo>
                  <a:lnTo>
                    <a:pt x="66" y="232"/>
                  </a:lnTo>
                  <a:lnTo>
                    <a:pt x="60" y="225"/>
                  </a:lnTo>
                  <a:lnTo>
                    <a:pt x="48" y="229"/>
                  </a:lnTo>
                  <a:lnTo>
                    <a:pt x="58" y="254"/>
                  </a:lnTo>
                  <a:lnTo>
                    <a:pt x="101" y="336"/>
                  </a:lnTo>
                  <a:lnTo>
                    <a:pt x="124" y="360"/>
                  </a:lnTo>
                  <a:lnTo>
                    <a:pt x="197" y="405"/>
                  </a:lnTo>
                  <a:lnTo>
                    <a:pt x="209" y="399"/>
                  </a:lnTo>
                  <a:lnTo>
                    <a:pt x="240" y="339"/>
                  </a:lnTo>
                  <a:lnTo>
                    <a:pt x="264" y="315"/>
                  </a:lnTo>
                  <a:lnTo>
                    <a:pt x="306" y="297"/>
                  </a:lnTo>
                  <a:lnTo>
                    <a:pt x="318" y="278"/>
                  </a:lnTo>
                  <a:lnTo>
                    <a:pt x="322" y="229"/>
                  </a:lnTo>
                  <a:lnTo>
                    <a:pt x="356" y="134"/>
                  </a:lnTo>
                  <a:lnTo>
                    <a:pt x="356" y="90"/>
                  </a:lnTo>
                  <a:lnTo>
                    <a:pt x="350" y="40"/>
                  </a:lnTo>
                  <a:lnTo>
                    <a:pt x="350" y="33"/>
                  </a:lnTo>
                  <a:lnTo>
                    <a:pt x="329" y="10"/>
                  </a:lnTo>
                  <a:lnTo>
                    <a:pt x="298" y="26"/>
                  </a:lnTo>
                  <a:lnTo>
                    <a:pt x="285" y="44"/>
                  </a:lnTo>
                  <a:lnTo>
                    <a:pt x="253" y="42"/>
                  </a:lnTo>
                  <a:lnTo>
                    <a:pt x="237" y="45"/>
                  </a:lnTo>
                  <a:lnTo>
                    <a:pt x="200" y="61"/>
                  </a:lnTo>
                  <a:lnTo>
                    <a:pt x="164" y="63"/>
                  </a:lnTo>
                  <a:lnTo>
                    <a:pt x="8" y="0"/>
                  </a:lnTo>
                  <a:lnTo>
                    <a:pt x="0" y="1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314" name="Freeform 151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3592" y="2105"/>
              <a:ext cx="248" cy="253"/>
            </a:xfrm>
            <a:custGeom>
              <a:avLst/>
              <a:gdLst>
                <a:gd name="T0" fmla="*/ 553 w 1646"/>
                <a:gd name="T1" fmla="*/ 809 h 1701"/>
                <a:gd name="T2" fmla="*/ 527 w 1646"/>
                <a:gd name="T3" fmla="*/ 942 h 1701"/>
                <a:gd name="T4" fmla="*/ 276 w 1646"/>
                <a:gd name="T5" fmla="*/ 986 h 1701"/>
                <a:gd name="T6" fmla="*/ 0 w 1646"/>
                <a:gd name="T7" fmla="*/ 938 h 1701"/>
                <a:gd name="T8" fmla="*/ 181 w 1646"/>
                <a:gd name="T9" fmla="*/ 1145 h 1701"/>
                <a:gd name="T10" fmla="*/ 230 w 1646"/>
                <a:gd name="T11" fmla="*/ 1268 h 1701"/>
                <a:gd name="T12" fmla="*/ 221 w 1646"/>
                <a:gd name="T13" fmla="*/ 1356 h 1701"/>
                <a:gd name="T14" fmla="*/ 98 w 1646"/>
                <a:gd name="T15" fmla="*/ 1423 h 1701"/>
                <a:gd name="T16" fmla="*/ 160 w 1646"/>
                <a:gd name="T17" fmla="*/ 1526 h 1701"/>
                <a:gd name="T18" fmla="*/ 323 w 1646"/>
                <a:gd name="T19" fmla="*/ 1508 h 1701"/>
                <a:gd name="T20" fmla="*/ 537 w 1646"/>
                <a:gd name="T21" fmla="*/ 1485 h 1701"/>
                <a:gd name="T22" fmla="*/ 572 w 1646"/>
                <a:gd name="T23" fmla="*/ 1560 h 1701"/>
                <a:gd name="T24" fmla="*/ 621 w 1646"/>
                <a:gd name="T25" fmla="*/ 1590 h 1701"/>
                <a:gd name="T26" fmla="*/ 674 w 1646"/>
                <a:gd name="T27" fmla="*/ 1694 h 1701"/>
                <a:gd name="T28" fmla="*/ 777 w 1646"/>
                <a:gd name="T29" fmla="*/ 1673 h 1701"/>
                <a:gd name="T30" fmla="*/ 871 w 1646"/>
                <a:gd name="T31" fmla="*/ 1647 h 1701"/>
                <a:gd name="T32" fmla="*/ 954 w 1646"/>
                <a:gd name="T33" fmla="*/ 1625 h 1701"/>
                <a:gd name="T34" fmla="*/ 1006 w 1646"/>
                <a:gd name="T35" fmla="*/ 1622 h 1701"/>
                <a:gd name="T36" fmla="*/ 961 w 1646"/>
                <a:gd name="T37" fmla="*/ 1459 h 1701"/>
                <a:gd name="T38" fmla="*/ 917 w 1646"/>
                <a:gd name="T39" fmla="*/ 1355 h 1701"/>
                <a:gd name="T40" fmla="*/ 851 w 1646"/>
                <a:gd name="T41" fmla="*/ 1303 h 1701"/>
                <a:gd name="T42" fmla="*/ 932 w 1646"/>
                <a:gd name="T43" fmla="*/ 1171 h 1701"/>
                <a:gd name="T44" fmla="*/ 982 w 1646"/>
                <a:gd name="T45" fmla="*/ 1208 h 1701"/>
                <a:gd name="T46" fmla="*/ 1089 w 1646"/>
                <a:gd name="T47" fmla="*/ 1155 h 1701"/>
                <a:gd name="T48" fmla="*/ 1186 w 1646"/>
                <a:gd name="T49" fmla="*/ 1044 h 1701"/>
                <a:gd name="T50" fmla="*/ 1272 w 1646"/>
                <a:gd name="T51" fmla="*/ 908 h 1701"/>
                <a:gd name="T52" fmla="*/ 1353 w 1646"/>
                <a:gd name="T53" fmla="*/ 726 h 1701"/>
                <a:gd name="T54" fmla="*/ 1416 w 1646"/>
                <a:gd name="T55" fmla="*/ 645 h 1701"/>
                <a:gd name="T56" fmla="*/ 1364 w 1646"/>
                <a:gd name="T57" fmla="*/ 599 h 1701"/>
                <a:gd name="T58" fmla="*/ 1325 w 1646"/>
                <a:gd name="T59" fmla="*/ 528 h 1701"/>
                <a:gd name="T60" fmla="*/ 1309 w 1646"/>
                <a:gd name="T61" fmla="*/ 461 h 1701"/>
                <a:gd name="T62" fmla="*/ 1314 w 1646"/>
                <a:gd name="T63" fmla="*/ 396 h 1701"/>
                <a:gd name="T64" fmla="*/ 1290 w 1646"/>
                <a:gd name="T65" fmla="*/ 359 h 1701"/>
                <a:gd name="T66" fmla="*/ 1327 w 1646"/>
                <a:gd name="T67" fmla="*/ 297 h 1701"/>
                <a:gd name="T68" fmla="*/ 1494 w 1646"/>
                <a:gd name="T69" fmla="*/ 316 h 1701"/>
                <a:gd name="T70" fmla="*/ 1563 w 1646"/>
                <a:gd name="T71" fmla="*/ 304 h 1701"/>
                <a:gd name="T72" fmla="*/ 1590 w 1646"/>
                <a:gd name="T73" fmla="*/ 255 h 1701"/>
                <a:gd name="T74" fmla="*/ 1627 w 1646"/>
                <a:gd name="T75" fmla="*/ 198 h 1701"/>
                <a:gd name="T76" fmla="*/ 1531 w 1646"/>
                <a:gd name="T77" fmla="*/ 149 h 1701"/>
                <a:gd name="T78" fmla="*/ 1464 w 1646"/>
                <a:gd name="T79" fmla="*/ 128 h 1701"/>
                <a:gd name="T80" fmla="*/ 1424 w 1646"/>
                <a:gd name="T81" fmla="*/ 31 h 1701"/>
                <a:gd name="T82" fmla="*/ 1362 w 1646"/>
                <a:gd name="T83" fmla="*/ 14 h 1701"/>
                <a:gd name="T84" fmla="*/ 1321 w 1646"/>
                <a:gd name="T85" fmla="*/ 9 h 1701"/>
                <a:gd name="T86" fmla="*/ 1243 w 1646"/>
                <a:gd name="T87" fmla="*/ 28 h 1701"/>
                <a:gd name="T88" fmla="*/ 1063 w 1646"/>
                <a:gd name="T89" fmla="*/ 88 h 1701"/>
                <a:gd name="T90" fmla="*/ 1049 w 1646"/>
                <a:gd name="T91" fmla="*/ 182 h 1701"/>
                <a:gd name="T92" fmla="*/ 1047 w 1646"/>
                <a:gd name="T93" fmla="*/ 276 h 1701"/>
                <a:gd name="T94" fmla="*/ 1014 w 1646"/>
                <a:gd name="T95" fmla="*/ 380 h 1701"/>
                <a:gd name="T96" fmla="*/ 888 w 1646"/>
                <a:gd name="T97" fmla="*/ 406 h 1701"/>
                <a:gd name="T98" fmla="*/ 920 w 1646"/>
                <a:gd name="T99" fmla="*/ 507 h 1701"/>
                <a:gd name="T100" fmla="*/ 852 w 1646"/>
                <a:gd name="T101" fmla="*/ 535 h 1701"/>
                <a:gd name="T102" fmla="*/ 822 w 1646"/>
                <a:gd name="T103" fmla="*/ 685 h 1701"/>
                <a:gd name="T104" fmla="*/ 728 w 1646"/>
                <a:gd name="T105" fmla="*/ 689 h 1701"/>
                <a:gd name="T106" fmla="*/ 662 w 1646"/>
                <a:gd name="T107" fmla="*/ 764 h 170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646"/>
                <a:gd name="T163" fmla="*/ 0 h 1701"/>
                <a:gd name="T164" fmla="*/ 1646 w 1646"/>
                <a:gd name="T165" fmla="*/ 1701 h 1701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646" h="1701">
                  <a:moveTo>
                    <a:pt x="638" y="759"/>
                  </a:moveTo>
                  <a:lnTo>
                    <a:pt x="610" y="757"/>
                  </a:lnTo>
                  <a:lnTo>
                    <a:pt x="598" y="761"/>
                  </a:lnTo>
                  <a:lnTo>
                    <a:pt x="553" y="809"/>
                  </a:lnTo>
                  <a:lnTo>
                    <a:pt x="545" y="828"/>
                  </a:lnTo>
                  <a:lnTo>
                    <a:pt x="535" y="880"/>
                  </a:lnTo>
                  <a:lnTo>
                    <a:pt x="530" y="931"/>
                  </a:lnTo>
                  <a:lnTo>
                    <a:pt x="527" y="942"/>
                  </a:lnTo>
                  <a:lnTo>
                    <a:pt x="516" y="951"/>
                  </a:lnTo>
                  <a:lnTo>
                    <a:pt x="470" y="967"/>
                  </a:lnTo>
                  <a:lnTo>
                    <a:pt x="320" y="995"/>
                  </a:lnTo>
                  <a:lnTo>
                    <a:pt x="276" y="986"/>
                  </a:lnTo>
                  <a:lnTo>
                    <a:pt x="260" y="986"/>
                  </a:lnTo>
                  <a:lnTo>
                    <a:pt x="209" y="1000"/>
                  </a:lnTo>
                  <a:lnTo>
                    <a:pt x="152" y="995"/>
                  </a:lnTo>
                  <a:lnTo>
                    <a:pt x="0" y="938"/>
                  </a:lnTo>
                  <a:lnTo>
                    <a:pt x="82" y="1088"/>
                  </a:lnTo>
                  <a:lnTo>
                    <a:pt x="112" y="1109"/>
                  </a:lnTo>
                  <a:lnTo>
                    <a:pt x="163" y="1132"/>
                  </a:lnTo>
                  <a:lnTo>
                    <a:pt x="181" y="1145"/>
                  </a:lnTo>
                  <a:lnTo>
                    <a:pt x="189" y="1166"/>
                  </a:lnTo>
                  <a:lnTo>
                    <a:pt x="193" y="1243"/>
                  </a:lnTo>
                  <a:lnTo>
                    <a:pt x="201" y="1265"/>
                  </a:lnTo>
                  <a:lnTo>
                    <a:pt x="230" y="1268"/>
                  </a:lnTo>
                  <a:lnTo>
                    <a:pt x="238" y="1284"/>
                  </a:lnTo>
                  <a:lnTo>
                    <a:pt x="237" y="1339"/>
                  </a:lnTo>
                  <a:lnTo>
                    <a:pt x="229" y="1353"/>
                  </a:lnTo>
                  <a:lnTo>
                    <a:pt x="221" y="1356"/>
                  </a:lnTo>
                  <a:lnTo>
                    <a:pt x="176" y="1362"/>
                  </a:lnTo>
                  <a:lnTo>
                    <a:pt x="144" y="1376"/>
                  </a:lnTo>
                  <a:lnTo>
                    <a:pt x="108" y="1402"/>
                  </a:lnTo>
                  <a:lnTo>
                    <a:pt x="98" y="1423"/>
                  </a:lnTo>
                  <a:lnTo>
                    <a:pt x="83" y="1469"/>
                  </a:lnTo>
                  <a:lnTo>
                    <a:pt x="74" y="1543"/>
                  </a:lnTo>
                  <a:lnTo>
                    <a:pt x="98" y="1541"/>
                  </a:lnTo>
                  <a:lnTo>
                    <a:pt x="160" y="1526"/>
                  </a:lnTo>
                  <a:lnTo>
                    <a:pt x="253" y="1526"/>
                  </a:lnTo>
                  <a:lnTo>
                    <a:pt x="276" y="1505"/>
                  </a:lnTo>
                  <a:lnTo>
                    <a:pt x="316" y="1497"/>
                  </a:lnTo>
                  <a:lnTo>
                    <a:pt x="323" y="1508"/>
                  </a:lnTo>
                  <a:lnTo>
                    <a:pt x="335" y="1520"/>
                  </a:lnTo>
                  <a:lnTo>
                    <a:pt x="353" y="1526"/>
                  </a:lnTo>
                  <a:lnTo>
                    <a:pt x="486" y="1508"/>
                  </a:lnTo>
                  <a:lnTo>
                    <a:pt x="537" y="1485"/>
                  </a:lnTo>
                  <a:lnTo>
                    <a:pt x="549" y="1485"/>
                  </a:lnTo>
                  <a:lnTo>
                    <a:pt x="569" y="1506"/>
                  </a:lnTo>
                  <a:lnTo>
                    <a:pt x="576" y="1533"/>
                  </a:lnTo>
                  <a:lnTo>
                    <a:pt x="572" y="1560"/>
                  </a:lnTo>
                  <a:lnTo>
                    <a:pt x="572" y="1574"/>
                  </a:lnTo>
                  <a:lnTo>
                    <a:pt x="576" y="1578"/>
                  </a:lnTo>
                  <a:lnTo>
                    <a:pt x="606" y="1583"/>
                  </a:lnTo>
                  <a:lnTo>
                    <a:pt x="621" y="1590"/>
                  </a:lnTo>
                  <a:lnTo>
                    <a:pt x="625" y="1599"/>
                  </a:lnTo>
                  <a:lnTo>
                    <a:pt x="637" y="1661"/>
                  </a:lnTo>
                  <a:lnTo>
                    <a:pt x="654" y="1680"/>
                  </a:lnTo>
                  <a:lnTo>
                    <a:pt x="674" y="1694"/>
                  </a:lnTo>
                  <a:lnTo>
                    <a:pt x="708" y="1701"/>
                  </a:lnTo>
                  <a:lnTo>
                    <a:pt x="724" y="1698"/>
                  </a:lnTo>
                  <a:lnTo>
                    <a:pt x="737" y="1675"/>
                  </a:lnTo>
                  <a:lnTo>
                    <a:pt x="777" y="1673"/>
                  </a:lnTo>
                  <a:lnTo>
                    <a:pt x="774" y="1633"/>
                  </a:lnTo>
                  <a:lnTo>
                    <a:pt x="786" y="1636"/>
                  </a:lnTo>
                  <a:lnTo>
                    <a:pt x="860" y="1638"/>
                  </a:lnTo>
                  <a:lnTo>
                    <a:pt x="871" y="1647"/>
                  </a:lnTo>
                  <a:lnTo>
                    <a:pt x="902" y="1652"/>
                  </a:lnTo>
                  <a:lnTo>
                    <a:pt x="911" y="1633"/>
                  </a:lnTo>
                  <a:lnTo>
                    <a:pt x="946" y="1622"/>
                  </a:lnTo>
                  <a:lnTo>
                    <a:pt x="954" y="1625"/>
                  </a:lnTo>
                  <a:lnTo>
                    <a:pt x="960" y="1643"/>
                  </a:lnTo>
                  <a:lnTo>
                    <a:pt x="985" y="1638"/>
                  </a:lnTo>
                  <a:lnTo>
                    <a:pt x="991" y="1625"/>
                  </a:lnTo>
                  <a:lnTo>
                    <a:pt x="1006" y="1622"/>
                  </a:lnTo>
                  <a:lnTo>
                    <a:pt x="995" y="1595"/>
                  </a:lnTo>
                  <a:lnTo>
                    <a:pt x="1004" y="1587"/>
                  </a:lnTo>
                  <a:lnTo>
                    <a:pt x="967" y="1483"/>
                  </a:lnTo>
                  <a:lnTo>
                    <a:pt x="961" y="1459"/>
                  </a:lnTo>
                  <a:lnTo>
                    <a:pt x="938" y="1464"/>
                  </a:lnTo>
                  <a:lnTo>
                    <a:pt x="922" y="1459"/>
                  </a:lnTo>
                  <a:lnTo>
                    <a:pt x="905" y="1436"/>
                  </a:lnTo>
                  <a:lnTo>
                    <a:pt x="917" y="1355"/>
                  </a:lnTo>
                  <a:lnTo>
                    <a:pt x="897" y="1355"/>
                  </a:lnTo>
                  <a:lnTo>
                    <a:pt x="852" y="1340"/>
                  </a:lnTo>
                  <a:lnTo>
                    <a:pt x="847" y="1319"/>
                  </a:lnTo>
                  <a:lnTo>
                    <a:pt x="851" y="1303"/>
                  </a:lnTo>
                  <a:lnTo>
                    <a:pt x="859" y="1273"/>
                  </a:lnTo>
                  <a:lnTo>
                    <a:pt x="902" y="1222"/>
                  </a:lnTo>
                  <a:lnTo>
                    <a:pt x="908" y="1198"/>
                  </a:lnTo>
                  <a:lnTo>
                    <a:pt x="932" y="1171"/>
                  </a:lnTo>
                  <a:lnTo>
                    <a:pt x="950" y="1166"/>
                  </a:lnTo>
                  <a:lnTo>
                    <a:pt x="958" y="1175"/>
                  </a:lnTo>
                  <a:lnTo>
                    <a:pt x="966" y="1203"/>
                  </a:lnTo>
                  <a:lnTo>
                    <a:pt x="982" y="1208"/>
                  </a:lnTo>
                  <a:lnTo>
                    <a:pt x="1020" y="1191"/>
                  </a:lnTo>
                  <a:lnTo>
                    <a:pt x="1053" y="1191"/>
                  </a:lnTo>
                  <a:lnTo>
                    <a:pt x="1084" y="1176"/>
                  </a:lnTo>
                  <a:lnTo>
                    <a:pt x="1089" y="1155"/>
                  </a:lnTo>
                  <a:lnTo>
                    <a:pt x="1113" y="1120"/>
                  </a:lnTo>
                  <a:lnTo>
                    <a:pt x="1126" y="1094"/>
                  </a:lnTo>
                  <a:lnTo>
                    <a:pt x="1133" y="1072"/>
                  </a:lnTo>
                  <a:lnTo>
                    <a:pt x="1186" y="1044"/>
                  </a:lnTo>
                  <a:lnTo>
                    <a:pt x="1207" y="1012"/>
                  </a:lnTo>
                  <a:lnTo>
                    <a:pt x="1230" y="944"/>
                  </a:lnTo>
                  <a:lnTo>
                    <a:pt x="1244" y="915"/>
                  </a:lnTo>
                  <a:lnTo>
                    <a:pt x="1272" y="908"/>
                  </a:lnTo>
                  <a:lnTo>
                    <a:pt x="1288" y="892"/>
                  </a:lnTo>
                  <a:lnTo>
                    <a:pt x="1276" y="870"/>
                  </a:lnTo>
                  <a:lnTo>
                    <a:pt x="1342" y="782"/>
                  </a:lnTo>
                  <a:lnTo>
                    <a:pt x="1353" y="726"/>
                  </a:lnTo>
                  <a:lnTo>
                    <a:pt x="1346" y="704"/>
                  </a:lnTo>
                  <a:lnTo>
                    <a:pt x="1343" y="683"/>
                  </a:lnTo>
                  <a:lnTo>
                    <a:pt x="1366" y="669"/>
                  </a:lnTo>
                  <a:lnTo>
                    <a:pt x="1416" y="645"/>
                  </a:lnTo>
                  <a:lnTo>
                    <a:pt x="1425" y="630"/>
                  </a:lnTo>
                  <a:lnTo>
                    <a:pt x="1425" y="618"/>
                  </a:lnTo>
                  <a:lnTo>
                    <a:pt x="1396" y="597"/>
                  </a:lnTo>
                  <a:lnTo>
                    <a:pt x="1364" y="599"/>
                  </a:lnTo>
                  <a:lnTo>
                    <a:pt x="1358" y="585"/>
                  </a:lnTo>
                  <a:lnTo>
                    <a:pt x="1359" y="560"/>
                  </a:lnTo>
                  <a:lnTo>
                    <a:pt x="1323" y="560"/>
                  </a:lnTo>
                  <a:lnTo>
                    <a:pt x="1325" y="528"/>
                  </a:lnTo>
                  <a:lnTo>
                    <a:pt x="1298" y="510"/>
                  </a:lnTo>
                  <a:lnTo>
                    <a:pt x="1293" y="496"/>
                  </a:lnTo>
                  <a:lnTo>
                    <a:pt x="1302" y="489"/>
                  </a:lnTo>
                  <a:lnTo>
                    <a:pt x="1309" y="461"/>
                  </a:lnTo>
                  <a:lnTo>
                    <a:pt x="1290" y="447"/>
                  </a:lnTo>
                  <a:lnTo>
                    <a:pt x="1297" y="422"/>
                  </a:lnTo>
                  <a:lnTo>
                    <a:pt x="1314" y="417"/>
                  </a:lnTo>
                  <a:lnTo>
                    <a:pt x="1314" y="396"/>
                  </a:lnTo>
                  <a:lnTo>
                    <a:pt x="1288" y="398"/>
                  </a:lnTo>
                  <a:lnTo>
                    <a:pt x="1284" y="385"/>
                  </a:lnTo>
                  <a:lnTo>
                    <a:pt x="1292" y="376"/>
                  </a:lnTo>
                  <a:lnTo>
                    <a:pt x="1290" y="359"/>
                  </a:lnTo>
                  <a:lnTo>
                    <a:pt x="1276" y="359"/>
                  </a:lnTo>
                  <a:lnTo>
                    <a:pt x="1272" y="348"/>
                  </a:lnTo>
                  <a:lnTo>
                    <a:pt x="1288" y="311"/>
                  </a:lnTo>
                  <a:lnTo>
                    <a:pt x="1327" y="297"/>
                  </a:lnTo>
                  <a:lnTo>
                    <a:pt x="1403" y="315"/>
                  </a:lnTo>
                  <a:lnTo>
                    <a:pt x="1428" y="323"/>
                  </a:lnTo>
                  <a:lnTo>
                    <a:pt x="1469" y="332"/>
                  </a:lnTo>
                  <a:lnTo>
                    <a:pt x="1494" y="316"/>
                  </a:lnTo>
                  <a:lnTo>
                    <a:pt x="1506" y="323"/>
                  </a:lnTo>
                  <a:lnTo>
                    <a:pt x="1517" y="306"/>
                  </a:lnTo>
                  <a:lnTo>
                    <a:pt x="1537" y="299"/>
                  </a:lnTo>
                  <a:lnTo>
                    <a:pt x="1563" y="304"/>
                  </a:lnTo>
                  <a:lnTo>
                    <a:pt x="1570" y="315"/>
                  </a:lnTo>
                  <a:lnTo>
                    <a:pt x="1580" y="308"/>
                  </a:lnTo>
                  <a:lnTo>
                    <a:pt x="1583" y="279"/>
                  </a:lnTo>
                  <a:lnTo>
                    <a:pt x="1590" y="255"/>
                  </a:lnTo>
                  <a:lnTo>
                    <a:pt x="1637" y="218"/>
                  </a:lnTo>
                  <a:lnTo>
                    <a:pt x="1646" y="212"/>
                  </a:lnTo>
                  <a:lnTo>
                    <a:pt x="1640" y="205"/>
                  </a:lnTo>
                  <a:lnTo>
                    <a:pt x="1627" y="198"/>
                  </a:lnTo>
                  <a:lnTo>
                    <a:pt x="1568" y="193"/>
                  </a:lnTo>
                  <a:lnTo>
                    <a:pt x="1543" y="167"/>
                  </a:lnTo>
                  <a:lnTo>
                    <a:pt x="1535" y="161"/>
                  </a:lnTo>
                  <a:lnTo>
                    <a:pt x="1531" y="149"/>
                  </a:lnTo>
                  <a:lnTo>
                    <a:pt x="1521" y="149"/>
                  </a:lnTo>
                  <a:lnTo>
                    <a:pt x="1497" y="161"/>
                  </a:lnTo>
                  <a:lnTo>
                    <a:pt x="1477" y="131"/>
                  </a:lnTo>
                  <a:lnTo>
                    <a:pt x="1464" y="128"/>
                  </a:lnTo>
                  <a:lnTo>
                    <a:pt x="1477" y="95"/>
                  </a:lnTo>
                  <a:lnTo>
                    <a:pt x="1477" y="65"/>
                  </a:lnTo>
                  <a:lnTo>
                    <a:pt x="1452" y="30"/>
                  </a:lnTo>
                  <a:lnTo>
                    <a:pt x="1424" y="31"/>
                  </a:lnTo>
                  <a:lnTo>
                    <a:pt x="1412" y="39"/>
                  </a:lnTo>
                  <a:lnTo>
                    <a:pt x="1412" y="12"/>
                  </a:lnTo>
                  <a:lnTo>
                    <a:pt x="1374" y="1"/>
                  </a:lnTo>
                  <a:lnTo>
                    <a:pt x="1362" y="14"/>
                  </a:lnTo>
                  <a:lnTo>
                    <a:pt x="1358" y="7"/>
                  </a:lnTo>
                  <a:lnTo>
                    <a:pt x="1342" y="0"/>
                  </a:lnTo>
                  <a:lnTo>
                    <a:pt x="1337" y="7"/>
                  </a:lnTo>
                  <a:lnTo>
                    <a:pt x="1321" y="9"/>
                  </a:lnTo>
                  <a:lnTo>
                    <a:pt x="1301" y="26"/>
                  </a:lnTo>
                  <a:lnTo>
                    <a:pt x="1286" y="26"/>
                  </a:lnTo>
                  <a:lnTo>
                    <a:pt x="1272" y="37"/>
                  </a:lnTo>
                  <a:lnTo>
                    <a:pt x="1243" y="28"/>
                  </a:lnTo>
                  <a:lnTo>
                    <a:pt x="1183" y="28"/>
                  </a:lnTo>
                  <a:lnTo>
                    <a:pt x="1132" y="37"/>
                  </a:lnTo>
                  <a:lnTo>
                    <a:pt x="1072" y="90"/>
                  </a:lnTo>
                  <a:lnTo>
                    <a:pt x="1063" y="88"/>
                  </a:lnTo>
                  <a:lnTo>
                    <a:pt x="1030" y="128"/>
                  </a:lnTo>
                  <a:lnTo>
                    <a:pt x="1030" y="147"/>
                  </a:lnTo>
                  <a:lnTo>
                    <a:pt x="1049" y="163"/>
                  </a:lnTo>
                  <a:lnTo>
                    <a:pt x="1049" y="182"/>
                  </a:lnTo>
                  <a:lnTo>
                    <a:pt x="1059" y="193"/>
                  </a:lnTo>
                  <a:lnTo>
                    <a:pt x="1053" y="221"/>
                  </a:lnTo>
                  <a:lnTo>
                    <a:pt x="1063" y="251"/>
                  </a:lnTo>
                  <a:lnTo>
                    <a:pt x="1047" y="276"/>
                  </a:lnTo>
                  <a:lnTo>
                    <a:pt x="1007" y="316"/>
                  </a:lnTo>
                  <a:lnTo>
                    <a:pt x="1002" y="334"/>
                  </a:lnTo>
                  <a:lnTo>
                    <a:pt x="1012" y="362"/>
                  </a:lnTo>
                  <a:lnTo>
                    <a:pt x="1014" y="380"/>
                  </a:lnTo>
                  <a:lnTo>
                    <a:pt x="1000" y="396"/>
                  </a:lnTo>
                  <a:lnTo>
                    <a:pt x="978" y="408"/>
                  </a:lnTo>
                  <a:lnTo>
                    <a:pt x="902" y="399"/>
                  </a:lnTo>
                  <a:lnTo>
                    <a:pt x="888" y="406"/>
                  </a:lnTo>
                  <a:lnTo>
                    <a:pt x="918" y="450"/>
                  </a:lnTo>
                  <a:lnTo>
                    <a:pt x="924" y="466"/>
                  </a:lnTo>
                  <a:lnTo>
                    <a:pt x="929" y="493"/>
                  </a:lnTo>
                  <a:lnTo>
                    <a:pt x="920" y="507"/>
                  </a:lnTo>
                  <a:lnTo>
                    <a:pt x="905" y="514"/>
                  </a:lnTo>
                  <a:lnTo>
                    <a:pt x="883" y="516"/>
                  </a:lnTo>
                  <a:lnTo>
                    <a:pt x="865" y="523"/>
                  </a:lnTo>
                  <a:lnTo>
                    <a:pt x="852" y="535"/>
                  </a:lnTo>
                  <a:lnTo>
                    <a:pt x="842" y="562"/>
                  </a:lnTo>
                  <a:lnTo>
                    <a:pt x="830" y="609"/>
                  </a:lnTo>
                  <a:lnTo>
                    <a:pt x="823" y="680"/>
                  </a:lnTo>
                  <a:lnTo>
                    <a:pt x="822" y="685"/>
                  </a:lnTo>
                  <a:lnTo>
                    <a:pt x="807" y="708"/>
                  </a:lnTo>
                  <a:lnTo>
                    <a:pt x="797" y="712"/>
                  </a:lnTo>
                  <a:lnTo>
                    <a:pt x="753" y="690"/>
                  </a:lnTo>
                  <a:lnTo>
                    <a:pt x="728" y="689"/>
                  </a:lnTo>
                  <a:lnTo>
                    <a:pt x="704" y="703"/>
                  </a:lnTo>
                  <a:lnTo>
                    <a:pt x="687" y="719"/>
                  </a:lnTo>
                  <a:lnTo>
                    <a:pt x="672" y="759"/>
                  </a:lnTo>
                  <a:lnTo>
                    <a:pt x="662" y="764"/>
                  </a:lnTo>
                  <a:lnTo>
                    <a:pt x="638" y="759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grpSp>
          <p:nvGrpSpPr>
            <p:cNvPr id="3" name="Group 152"/>
            <p:cNvGrpSpPr>
              <a:grpSpLocks/>
            </p:cNvGrpSpPr>
            <p:nvPr/>
          </p:nvGrpSpPr>
          <p:grpSpPr bwMode="auto">
            <a:xfrm>
              <a:off x="3692" y="1747"/>
              <a:ext cx="1418" cy="1342"/>
              <a:chOff x="3692" y="1747"/>
              <a:chExt cx="1418" cy="1342"/>
            </a:xfrm>
          </p:grpSpPr>
          <p:sp>
            <p:nvSpPr>
              <p:cNvPr id="5389" name="Freeform 153"/>
              <p:cNvSpPr>
                <a:spLocks/>
              </p:cNvSpPr>
              <p:nvPr>
                <p:custDataLst>
                  <p:tags r:id="rId214"/>
                </p:custDataLst>
              </p:nvPr>
            </p:nvSpPr>
            <p:spPr bwMode="auto">
              <a:xfrm>
                <a:off x="5051" y="2978"/>
                <a:ext cx="59" cy="35"/>
              </a:xfrm>
              <a:custGeom>
                <a:avLst/>
                <a:gdLst>
                  <a:gd name="T0" fmla="*/ 370 w 388"/>
                  <a:gd name="T1" fmla="*/ 0 h 238"/>
                  <a:gd name="T2" fmla="*/ 355 w 388"/>
                  <a:gd name="T3" fmla="*/ 18 h 238"/>
                  <a:gd name="T4" fmla="*/ 337 w 388"/>
                  <a:gd name="T5" fmla="*/ 16 h 238"/>
                  <a:gd name="T6" fmla="*/ 316 w 388"/>
                  <a:gd name="T7" fmla="*/ 5 h 238"/>
                  <a:gd name="T8" fmla="*/ 321 w 388"/>
                  <a:gd name="T9" fmla="*/ 63 h 238"/>
                  <a:gd name="T10" fmla="*/ 320 w 388"/>
                  <a:gd name="T11" fmla="*/ 78 h 238"/>
                  <a:gd name="T12" fmla="*/ 308 w 388"/>
                  <a:gd name="T13" fmla="*/ 85 h 238"/>
                  <a:gd name="T14" fmla="*/ 278 w 388"/>
                  <a:gd name="T15" fmla="*/ 86 h 238"/>
                  <a:gd name="T16" fmla="*/ 267 w 388"/>
                  <a:gd name="T17" fmla="*/ 97 h 238"/>
                  <a:gd name="T18" fmla="*/ 251 w 388"/>
                  <a:gd name="T19" fmla="*/ 136 h 238"/>
                  <a:gd name="T20" fmla="*/ 235 w 388"/>
                  <a:gd name="T21" fmla="*/ 146 h 238"/>
                  <a:gd name="T22" fmla="*/ 193 w 388"/>
                  <a:gd name="T23" fmla="*/ 157 h 238"/>
                  <a:gd name="T24" fmla="*/ 184 w 388"/>
                  <a:gd name="T25" fmla="*/ 157 h 238"/>
                  <a:gd name="T26" fmla="*/ 169 w 388"/>
                  <a:gd name="T27" fmla="*/ 146 h 238"/>
                  <a:gd name="T28" fmla="*/ 155 w 388"/>
                  <a:gd name="T29" fmla="*/ 127 h 238"/>
                  <a:gd name="T30" fmla="*/ 152 w 388"/>
                  <a:gd name="T31" fmla="*/ 122 h 238"/>
                  <a:gd name="T32" fmla="*/ 141 w 388"/>
                  <a:gd name="T33" fmla="*/ 148 h 238"/>
                  <a:gd name="T34" fmla="*/ 130 w 388"/>
                  <a:gd name="T35" fmla="*/ 157 h 238"/>
                  <a:gd name="T36" fmla="*/ 107 w 388"/>
                  <a:gd name="T37" fmla="*/ 160 h 238"/>
                  <a:gd name="T38" fmla="*/ 75 w 388"/>
                  <a:gd name="T39" fmla="*/ 157 h 238"/>
                  <a:gd name="T40" fmla="*/ 51 w 388"/>
                  <a:gd name="T41" fmla="*/ 150 h 238"/>
                  <a:gd name="T42" fmla="*/ 18 w 388"/>
                  <a:gd name="T43" fmla="*/ 153 h 238"/>
                  <a:gd name="T44" fmla="*/ 5 w 388"/>
                  <a:gd name="T45" fmla="*/ 152 h 238"/>
                  <a:gd name="T46" fmla="*/ 0 w 388"/>
                  <a:gd name="T47" fmla="*/ 164 h 238"/>
                  <a:gd name="T48" fmla="*/ 9 w 388"/>
                  <a:gd name="T49" fmla="*/ 176 h 238"/>
                  <a:gd name="T50" fmla="*/ 39 w 388"/>
                  <a:gd name="T51" fmla="*/ 190 h 238"/>
                  <a:gd name="T52" fmla="*/ 51 w 388"/>
                  <a:gd name="T53" fmla="*/ 199 h 238"/>
                  <a:gd name="T54" fmla="*/ 69 w 388"/>
                  <a:gd name="T55" fmla="*/ 219 h 238"/>
                  <a:gd name="T56" fmla="*/ 87 w 388"/>
                  <a:gd name="T57" fmla="*/ 210 h 238"/>
                  <a:gd name="T58" fmla="*/ 104 w 388"/>
                  <a:gd name="T59" fmla="*/ 215 h 238"/>
                  <a:gd name="T60" fmla="*/ 114 w 388"/>
                  <a:gd name="T61" fmla="*/ 226 h 238"/>
                  <a:gd name="T62" fmla="*/ 120 w 388"/>
                  <a:gd name="T63" fmla="*/ 238 h 238"/>
                  <a:gd name="T64" fmla="*/ 192 w 388"/>
                  <a:gd name="T65" fmla="*/ 231 h 238"/>
                  <a:gd name="T66" fmla="*/ 213 w 388"/>
                  <a:gd name="T67" fmla="*/ 224 h 238"/>
                  <a:gd name="T68" fmla="*/ 255 w 388"/>
                  <a:gd name="T69" fmla="*/ 201 h 238"/>
                  <a:gd name="T70" fmla="*/ 269 w 388"/>
                  <a:gd name="T71" fmla="*/ 192 h 238"/>
                  <a:gd name="T72" fmla="*/ 287 w 388"/>
                  <a:gd name="T73" fmla="*/ 168 h 238"/>
                  <a:gd name="T74" fmla="*/ 290 w 388"/>
                  <a:gd name="T75" fmla="*/ 153 h 238"/>
                  <a:gd name="T76" fmla="*/ 341 w 388"/>
                  <a:gd name="T77" fmla="*/ 157 h 238"/>
                  <a:gd name="T78" fmla="*/ 353 w 388"/>
                  <a:gd name="T79" fmla="*/ 152 h 238"/>
                  <a:gd name="T80" fmla="*/ 367 w 388"/>
                  <a:gd name="T81" fmla="*/ 132 h 238"/>
                  <a:gd name="T82" fmla="*/ 348 w 388"/>
                  <a:gd name="T83" fmla="*/ 108 h 238"/>
                  <a:gd name="T84" fmla="*/ 345 w 388"/>
                  <a:gd name="T85" fmla="*/ 99 h 238"/>
                  <a:gd name="T86" fmla="*/ 352 w 388"/>
                  <a:gd name="T87" fmla="*/ 86 h 238"/>
                  <a:gd name="T88" fmla="*/ 374 w 388"/>
                  <a:gd name="T89" fmla="*/ 85 h 238"/>
                  <a:gd name="T90" fmla="*/ 388 w 388"/>
                  <a:gd name="T91" fmla="*/ 48 h 238"/>
                  <a:gd name="T92" fmla="*/ 384 w 388"/>
                  <a:gd name="T93" fmla="*/ 30 h 238"/>
                  <a:gd name="T94" fmla="*/ 370 w 388"/>
                  <a:gd name="T95" fmla="*/ 0 h 238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388"/>
                  <a:gd name="T145" fmla="*/ 0 h 238"/>
                  <a:gd name="T146" fmla="*/ 388 w 388"/>
                  <a:gd name="T147" fmla="*/ 238 h 238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388" h="238">
                    <a:moveTo>
                      <a:pt x="370" y="0"/>
                    </a:moveTo>
                    <a:lnTo>
                      <a:pt x="355" y="18"/>
                    </a:lnTo>
                    <a:lnTo>
                      <a:pt x="337" y="16"/>
                    </a:lnTo>
                    <a:lnTo>
                      <a:pt x="316" y="5"/>
                    </a:lnTo>
                    <a:lnTo>
                      <a:pt x="321" y="63"/>
                    </a:lnTo>
                    <a:lnTo>
                      <a:pt x="320" y="78"/>
                    </a:lnTo>
                    <a:lnTo>
                      <a:pt x="308" y="85"/>
                    </a:lnTo>
                    <a:lnTo>
                      <a:pt x="278" y="86"/>
                    </a:lnTo>
                    <a:lnTo>
                      <a:pt x="267" y="97"/>
                    </a:lnTo>
                    <a:lnTo>
                      <a:pt x="251" y="136"/>
                    </a:lnTo>
                    <a:lnTo>
                      <a:pt x="235" y="146"/>
                    </a:lnTo>
                    <a:lnTo>
                      <a:pt x="193" y="157"/>
                    </a:lnTo>
                    <a:lnTo>
                      <a:pt x="184" y="157"/>
                    </a:lnTo>
                    <a:lnTo>
                      <a:pt x="169" y="146"/>
                    </a:lnTo>
                    <a:lnTo>
                      <a:pt x="155" y="127"/>
                    </a:lnTo>
                    <a:lnTo>
                      <a:pt x="152" y="122"/>
                    </a:lnTo>
                    <a:lnTo>
                      <a:pt x="141" y="148"/>
                    </a:lnTo>
                    <a:lnTo>
                      <a:pt x="130" y="157"/>
                    </a:lnTo>
                    <a:lnTo>
                      <a:pt x="107" y="160"/>
                    </a:lnTo>
                    <a:lnTo>
                      <a:pt x="75" y="157"/>
                    </a:lnTo>
                    <a:lnTo>
                      <a:pt x="51" y="150"/>
                    </a:lnTo>
                    <a:lnTo>
                      <a:pt x="18" y="153"/>
                    </a:lnTo>
                    <a:lnTo>
                      <a:pt x="5" y="152"/>
                    </a:lnTo>
                    <a:lnTo>
                      <a:pt x="0" y="164"/>
                    </a:lnTo>
                    <a:lnTo>
                      <a:pt x="9" y="176"/>
                    </a:lnTo>
                    <a:lnTo>
                      <a:pt x="39" y="190"/>
                    </a:lnTo>
                    <a:lnTo>
                      <a:pt x="51" y="199"/>
                    </a:lnTo>
                    <a:lnTo>
                      <a:pt x="69" y="219"/>
                    </a:lnTo>
                    <a:lnTo>
                      <a:pt x="87" y="210"/>
                    </a:lnTo>
                    <a:lnTo>
                      <a:pt x="104" y="215"/>
                    </a:lnTo>
                    <a:lnTo>
                      <a:pt x="114" y="226"/>
                    </a:lnTo>
                    <a:lnTo>
                      <a:pt x="120" y="238"/>
                    </a:lnTo>
                    <a:lnTo>
                      <a:pt x="192" y="231"/>
                    </a:lnTo>
                    <a:lnTo>
                      <a:pt x="213" y="224"/>
                    </a:lnTo>
                    <a:lnTo>
                      <a:pt x="255" y="201"/>
                    </a:lnTo>
                    <a:lnTo>
                      <a:pt x="269" y="192"/>
                    </a:lnTo>
                    <a:lnTo>
                      <a:pt x="287" y="168"/>
                    </a:lnTo>
                    <a:lnTo>
                      <a:pt x="290" y="153"/>
                    </a:lnTo>
                    <a:lnTo>
                      <a:pt x="341" y="157"/>
                    </a:lnTo>
                    <a:lnTo>
                      <a:pt x="353" y="152"/>
                    </a:lnTo>
                    <a:lnTo>
                      <a:pt x="367" y="132"/>
                    </a:lnTo>
                    <a:lnTo>
                      <a:pt x="348" y="108"/>
                    </a:lnTo>
                    <a:lnTo>
                      <a:pt x="345" y="99"/>
                    </a:lnTo>
                    <a:lnTo>
                      <a:pt x="352" y="86"/>
                    </a:lnTo>
                    <a:lnTo>
                      <a:pt x="374" y="85"/>
                    </a:lnTo>
                    <a:lnTo>
                      <a:pt x="388" y="48"/>
                    </a:lnTo>
                    <a:lnTo>
                      <a:pt x="384" y="30"/>
                    </a:lnTo>
                    <a:lnTo>
                      <a:pt x="370" y="0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90" name="Freeform 154"/>
              <p:cNvSpPr>
                <a:spLocks/>
              </p:cNvSpPr>
              <p:nvPr>
                <p:custDataLst>
                  <p:tags r:id="rId215"/>
                </p:custDataLst>
              </p:nvPr>
            </p:nvSpPr>
            <p:spPr bwMode="auto">
              <a:xfrm>
                <a:off x="4940" y="2952"/>
                <a:ext cx="144" cy="137"/>
              </a:xfrm>
              <a:custGeom>
                <a:avLst/>
                <a:gdLst>
                  <a:gd name="T0" fmla="*/ 0 w 958"/>
                  <a:gd name="T1" fmla="*/ 464 h 934"/>
                  <a:gd name="T2" fmla="*/ 19 w 958"/>
                  <a:gd name="T3" fmla="*/ 760 h 934"/>
                  <a:gd name="T4" fmla="*/ 182 w 958"/>
                  <a:gd name="T5" fmla="*/ 773 h 934"/>
                  <a:gd name="T6" fmla="*/ 235 w 958"/>
                  <a:gd name="T7" fmla="*/ 739 h 934"/>
                  <a:gd name="T8" fmla="*/ 243 w 958"/>
                  <a:gd name="T9" fmla="*/ 707 h 934"/>
                  <a:gd name="T10" fmla="*/ 195 w 958"/>
                  <a:gd name="T11" fmla="*/ 670 h 934"/>
                  <a:gd name="T12" fmla="*/ 146 w 958"/>
                  <a:gd name="T13" fmla="*/ 647 h 934"/>
                  <a:gd name="T14" fmla="*/ 218 w 958"/>
                  <a:gd name="T15" fmla="*/ 654 h 934"/>
                  <a:gd name="T16" fmla="*/ 268 w 958"/>
                  <a:gd name="T17" fmla="*/ 647 h 934"/>
                  <a:gd name="T18" fmla="*/ 269 w 958"/>
                  <a:gd name="T19" fmla="*/ 621 h 934"/>
                  <a:gd name="T20" fmla="*/ 297 w 958"/>
                  <a:gd name="T21" fmla="*/ 624 h 934"/>
                  <a:gd name="T22" fmla="*/ 286 w 958"/>
                  <a:gd name="T23" fmla="*/ 571 h 934"/>
                  <a:gd name="T24" fmla="*/ 338 w 958"/>
                  <a:gd name="T25" fmla="*/ 592 h 934"/>
                  <a:gd name="T26" fmla="*/ 379 w 958"/>
                  <a:gd name="T27" fmla="*/ 585 h 934"/>
                  <a:gd name="T28" fmla="*/ 497 w 958"/>
                  <a:gd name="T29" fmla="*/ 622 h 934"/>
                  <a:gd name="T30" fmla="*/ 599 w 958"/>
                  <a:gd name="T31" fmla="*/ 780 h 934"/>
                  <a:gd name="T32" fmla="*/ 642 w 958"/>
                  <a:gd name="T33" fmla="*/ 810 h 934"/>
                  <a:gd name="T34" fmla="*/ 673 w 958"/>
                  <a:gd name="T35" fmla="*/ 856 h 934"/>
                  <a:gd name="T36" fmla="*/ 767 w 958"/>
                  <a:gd name="T37" fmla="*/ 869 h 934"/>
                  <a:gd name="T38" fmla="*/ 885 w 958"/>
                  <a:gd name="T39" fmla="*/ 895 h 934"/>
                  <a:gd name="T40" fmla="*/ 898 w 958"/>
                  <a:gd name="T41" fmla="*/ 925 h 934"/>
                  <a:gd name="T42" fmla="*/ 955 w 958"/>
                  <a:gd name="T43" fmla="*/ 934 h 934"/>
                  <a:gd name="T44" fmla="*/ 947 w 958"/>
                  <a:gd name="T45" fmla="*/ 881 h 934"/>
                  <a:gd name="T46" fmla="*/ 878 w 958"/>
                  <a:gd name="T47" fmla="*/ 851 h 934"/>
                  <a:gd name="T48" fmla="*/ 893 w 958"/>
                  <a:gd name="T49" fmla="*/ 826 h 934"/>
                  <a:gd name="T50" fmla="*/ 890 w 958"/>
                  <a:gd name="T51" fmla="*/ 812 h 934"/>
                  <a:gd name="T52" fmla="*/ 844 w 958"/>
                  <a:gd name="T53" fmla="*/ 802 h 934"/>
                  <a:gd name="T54" fmla="*/ 817 w 958"/>
                  <a:gd name="T55" fmla="*/ 782 h 934"/>
                  <a:gd name="T56" fmla="*/ 829 w 958"/>
                  <a:gd name="T57" fmla="*/ 742 h 934"/>
                  <a:gd name="T58" fmla="*/ 768 w 958"/>
                  <a:gd name="T59" fmla="*/ 748 h 934"/>
                  <a:gd name="T60" fmla="*/ 723 w 958"/>
                  <a:gd name="T61" fmla="*/ 684 h 934"/>
                  <a:gd name="T62" fmla="*/ 649 w 958"/>
                  <a:gd name="T63" fmla="*/ 587 h 934"/>
                  <a:gd name="T64" fmla="*/ 602 w 958"/>
                  <a:gd name="T65" fmla="*/ 508 h 934"/>
                  <a:gd name="T66" fmla="*/ 603 w 958"/>
                  <a:gd name="T67" fmla="*/ 481 h 934"/>
                  <a:gd name="T68" fmla="*/ 677 w 958"/>
                  <a:gd name="T69" fmla="*/ 469 h 934"/>
                  <a:gd name="T70" fmla="*/ 676 w 958"/>
                  <a:gd name="T71" fmla="*/ 432 h 934"/>
                  <a:gd name="T72" fmla="*/ 619 w 958"/>
                  <a:gd name="T73" fmla="*/ 381 h 934"/>
                  <a:gd name="T74" fmla="*/ 519 w 958"/>
                  <a:gd name="T75" fmla="*/ 338 h 934"/>
                  <a:gd name="T76" fmla="*/ 476 w 958"/>
                  <a:gd name="T77" fmla="*/ 321 h 934"/>
                  <a:gd name="T78" fmla="*/ 488 w 958"/>
                  <a:gd name="T79" fmla="*/ 259 h 934"/>
                  <a:gd name="T80" fmla="*/ 396 w 958"/>
                  <a:gd name="T81" fmla="*/ 181 h 934"/>
                  <a:gd name="T82" fmla="*/ 372 w 958"/>
                  <a:gd name="T83" fmla="*/ 141 h 934"/>
                  <a:gd name="T84" fmla="*/ 329 w 958"/>
                  <a:gd name="T85" fmla="*/ 141 h 934"/>
                  <a:gd name="T86" fmla="*/ 12 w 958"/>
                  <a:gd name="T87" fmla="*/ 0 h 934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958"/>
                  <a:gd name="T133" fmla="*/ 0 h 934"/>
                  <a:gd name="T134" fmla="*/ 958 w 958"/>
                  <a:gd name="T135" fmla="*/ 934 h 934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958" h="934">
                    <a:moveTo>
                      <a:pt x="19" y="421"/>
                    </a:moveTo>
                    <a:lnTo>
                      <a:pt x="0" y="464"/>
                    </a:lnTo>
                    <a:lnTo>
                      <a:pt x="19" y="536"/>
                    </a:lnTo>
                    <a:lnTo>
                      <a:pt x="19" y="760"/>
                    </a:lnTo>
                    <a:lnTo>
                      <a:pt x="153" y="768"/>
                    </a:lnTo>
                    <a:lnTo>
                      <a:pt x="182" y="773"/>
                    </a:lnTo>
                    <a:lnTo>
                      <a:pt x="202" y="763"/>
                    </a:lnTo>
                    <a:lnTo>
                      <a:pt x="235" y="739"/>
                    </a:lnTo>
                    <a:lnTo>
                      <a:pt x="253" y="728"/>
                    </a:lnTo>
                    <a:lnTo>
                      <a:pt x="243" y="707"/>
                    </a:lnTo>
                    <a:lnTo>
                      <a:pt x="226" y="689"/>
                    </a:lnTo>
                    <a:lnTo>
                      <a:pt x="195" y="670"/>
                    </a:lnTo>
                    <a:lnTo>
                      <a:pt x="167" y="661"/>
                    </a:lnTo>
                    <a:lnTo>
                      <a:pt x="146" y="647"/>
                    </a:lnTo>
                    <a:lnTo>
                      <a:pt x="167" y="645"/>
                    </a:lnTo>
                    <a:lnTo>
                      <a:pt x="218" y="654"/>
                    </a:lnTo>
                    <a:lnTo>
                      <a:pt x="264" y="652"/>
                    </a:lnTo>
                    <a:lnTo>
                      <a:pt x="268" y="647"/>
                    </a:lnTo>
                    <a:lnTo>
                      <a:pt x="255" y="626"/>
                    </a:lnTo>
                    <a:lnTo>
                      <a:pt x="269" y="621"/>
                    </a:lnTo>
                    <a:lnTo>
                      <a:pt x="286" y="628"/>
                    </a:lnTo>
                    <a:lnTo>
                      <a:pt x="297" y="624"/>
                    </a:lnTo>
                    <a:lnTo>
                      <a:pt x="298" y="612"/>
                    </a:lnTo>
                    <a:lnTo>
                      <a:pt x="286" y="571"/>
                    </a:lnTo>
                    <a:lnTo>
                      <a:pt x="321" y="596"/>
                    </a:lnTo>
                    <a:lnTo>
                      <a:pt x="338" y="592"/>
                    </a:lnTo>
                    <a:lnTo>
                      <a:pt x="355" y="582"/>
                    </a:lnTo>
                    <a:lnTo>
                      <a:pt x="379" y="585"/>
                    </a:lnTo>
                    <a:lnTo>
                      <a:pt x="409" y="601"/>
                    </a:lnTo>
                    <a:lnTo>
                      <a:pt x="497" y="622"/>
                    </a:lnTo>
                    <a:lnTo>
                      <a:pt x="578" y="760"/>
                    </a:lnTo>
                    <a:lnTo>
                      <a:pt x="599" y="780"/>
                    </a:lnTo>
                    <a:lnTo>
                      <a:pt x="632" y="796"/>
                    </a:lnTo>
                    <a:lnTo>
                      <a:pt x="642" y="810"/>
                    </a:lnTo>
                    <a:lnTo>
                      <a:pt x="651" y="839"/>
                    </a:lnTo>
                    <a:lnTo>
                      <a:pt x="673" y="856"/>
                    </a:lnTo>
                    <a:lnTo>
                      <a:pt x="698" y="869"/>
                    </a:lnTo>
                    <a:lnTo>
                      <a:pt x="767" y="869"/>
                    </a:lnTo>
                    <a:lnTo>
                      <a:pt x="841" y="890"/>
                    </a:lnTo>
                    <a:lnTo>
                      <a:pt x="885" y="895"/>
                    </a:lnTo>
                    <a:lnTo>
                      <a:pt x="891" y="900"/>
                    </a:lnTo>
                    <a:lnTo>
                      <a:pt x="898" y="925"/>
                    </a:lnTo>
                    <a:lnTo>
                      <a:pt x="907" y="934"/>
                    </a:lnTo>
                    <a:lnTo>
                      <a:pt x="955" y="934"/>
                    </a:lnTo>
                    <a:lnTo>
                      <a:pt x="958" y="921"/>
                    </a:lnTo>
                    <a:lnTo>
                      <a:pt x="947" y="881"/>
                    </a:lnTo>
                    <a:lnTo>
                      <a:pt x="923" y="865"/>
                    </a:lnTo>
                    <a:lnTo>
                      <a:pt x="878" y="851"/>
                    </a:lnTo>
                    <a:lnTo>
                      <a:pt x="865" y="839"/>
                    </a:lnTo>
                    <a:lnTo>
                      <a:pt x="893" y="826"/>
                    </a:lnTo>
                    <a:lnTo>
                      <a:pt x="894" y="819"/>
                    </a:lnTo>
                    <a:lnTo>
                      <a:pt x="890" y="812"/>
                    </a:lnTo>
                    <a:lnTo>
                      <a:pt x="862" y="803"/>
                    </a:lnTo>
                    <a:lnTo>
                      <a:pt x="844" y="802"/>
                    </a:lnTo>
                    <a:lnTo>
                      <a:pt x="825" y="794"/>
                    </a:lnTo>
                    <a:lnTo>
                      <a:pt x="817" y="782"/>
                    </a:lnTo>
                    <a:lnTo>
                      <a:pt x="832" y="753"/>
                    </a:lnTo>
                    <a:lnTo>
                      <a:pt x="829" y="742"/>
                    </a:lnTo>
                    <a:lnTo>
                      <a:pt x="813" y="742"/>
                    </a:lnTo>
                    <a:lnTo>
                      <a:pt x="768" y="748"/>
                    </a:lnTo>
                    <a:lnTo>
                      <a:pt x="756" y="739"/>
                    </a:lnTo>
                    <a:lnTo>
                      <a:pt x="723" y="684"/>
                    </a:lnTo>
                    <a:lnTo>
                      <a:pt x="714" y="640"/>
                    </a:lnTo>
                    <a:lnTo>
                      <a:pt x="649" y="587"/>
                    </a:lnTo>
                    <a:lnTo>
                      <a:pt x="627" y="559"/>
                    </a:lnTo>
                    <a:lnTo>
                      <a:pt x="602" y="508"/>
                    </a:lnTo>
                    <a:lnTo>
                      <a:pt x="599" y="488"/>
                    </a:lnTo>
                    <a:lnTo>
                      <a:pt x="603" y="481"/>
                    </a:lnTo>
                    <a:lnTo>
                      <a:pt x="628" y="472"/>
                    </a:lnTo>
                    <a:lnTo>
                      <a:pt x="677" y="469"/>
                    </a:lnTo>
                    <a:lnTo>
                      <a:pt x="685" y="464"/>
                    </a:lnTo>
                    <a:lnTo>
                      <a:pt x="676" y="432"/>
                    </a:lnTo>
                    <a:lnTo>
                      <a:pt x="649" y="391"/>
                    </a:lnTo>
                    <a:lnTo>
                      <a:pt x="619" y="381"/>
                    </a:lnTo>
                    <a:lnTo>
                      <a:pt x="602" y="379"/>
                    </a:lnTo>
                    <a:lnTo>
                      <a:pt x="519" y="338"/>
                    </a:lnTo>
                    <a:lnTo>
                      <a:pt x="489" y="333"/>
                    </a:lnTo>
                    <a:lnTo>
                      <a:pt x="476" y="321"/>
                    </a:lnTo>
                    <a:lnTo>
                      <a:pt x="474" y="308"/>
                    </a:lnTo>
                    <a:lnTo>
                      <a:pt x="488" y="259"/>
                    </a:lnTo>
                    <a:lnTo>
                      <a:pt x="453" y="220"/>
                    </a:lnTo>
                    <a:lnTo>
                      <a:pt x="396" y="181"/>
                    </a:lnTo>
                    <a:lnTo>
                      <a:pt x="384" y="169"/>
                    </a:lnTo>
                    <a:lnTo>
                      <a:pt x="372" y="141"/>
                    </a:lnTo>
                    <a:lnTo>
                      <a:pt x="354" y="144"/>
                    </a:lnTo>
                    <a:lnTo>
                      <a:pt x="329" y="141"/>
                    </a:lnTo>
                    <a:lnTo>
                      <a:pt x="264" y="97"/>
                    </a:lnTo>
                    <a:lnTo>
                      <a:pt x="12" y="0"/>
                    </a:lnTo>
                    <a:lnTo>
                      <a:pt x="19" y="421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91" name="Freeform 155"/>
              <p:cNvSpPr>
                <a:spLocks/>
              </p:cNvSpPr>
              <p:nvPr>
                <p:custDataLst>
                  <p:tags r:id="rId216"/>
                </p:custDataLst>
              </p:nvPr>
            </p:nvSpPr>
            <p:spPr bwMode="auto">
              <a:xfrm>
                <a:off x="4547" y="2815"/>
                <a:ext cx="17" cy="18"/>
              </a:xfrm>
              <a:custGeom>
                <a:avLst/>
                <a:gdLst>
                  <a:gd name="T0" fmla="*/ 75 w 106"/>
                  <a:gd name="T1" fmla="*/ 0 h 118"/>
                  <a:gd name="T2" fmla="*/ 65 w 106"/>
                  <a:gd name="T3" fmla="*/ 4 h 118"/>
                  <a:gd name="T4" fmla="*/ 36 w 106"/>
                  <a:gd name="T5" fmla="*/ 53 h 118"/>
                  <a:gd name="T6" fmla="*/ 9 w 106"/>
                  <a:gd name="T7" fmla="*/ 58 h 118"/>
                  <a:gd name="T8" fmla="*/ 0 w 106"/>
                  <a:gd name="T9" fmla="*/ 65 h 118"/>
                  <a:gd name="T10" fmla="*/ 3 w 106"/>
                  <a:gd name="T11" fmla="*/ 72 h 118"/>
                  <a:gd name="T12" fmla="*/ 5 w 106"/>
                  <a:gd name="T13" fmla="*/ 92 h 118"/>
                  <a:gd name="T14" fmla="*/ 16 w 106"/>
                  <a:gd name="T15" fmla="*/ 92 h 118"/>
                  <a:gd name="T16" fmla="*/ 21 w 106"/>
                  <a:gd name="T17" fmla="*/ 104 h 118"/>
                  <a:gd name="T18" fmla="*/ 34 w 106"/>
                  <a:gd name="T19" fmla="*/ 118 h 118"/>
                  <a:gd name="T20" fmla="*/ 52 w 106"/>
                  <a:gd name="T21" fmla="*/ 104 h 118"/>
                  <a:gd name="T22" fmla="*/ 106 w 106"/>
                  <a:gd name="T23" fmla="*/ 83 h 118"/>
                  <a:gd name="T24" fmla="*/ 106 w 106"/>
                  <a:gd name="T25" fmla="*/ 78 h 118"/>
                  <a:gd name="T26" fmla="*/ 96 w 106"/>
                  <a:gd name="T27" fmla="*/ 67 h 118"/>
                  <a:gd name="T28" fmla="*/ 96 w 106"/>
                  <a:gd name="T29" fmla="*/ 55 h 118"/>
                  <a:gd name="T30" fmla="*/ 98 w 106"/>
                  <a:gd name="T31" fmla="*/ 49 h 118"/>
                  <a:gd name="T32" fmla="*/ 91 w 106"/>
                  <a:gd name="T33" fmla="*/ 25 h 118"/>
                  <a:gd name="T34" fmla="*/ 86 w 106"/>
                  <a:gd name="T35" fmla="*/ 16 h 118"/>
                  <a:gd name="T36" fmla="*/ 78 w 106"/>
                  <a:gd name="T37" fmla="*/ 19 h 118"/>
                  <a:gd name="T38" fmla="*/ 73 w 106"/>
                  <a:gd name="T39" fmla="*/ 14 h 118"/>
                  <a:gd name="T40" fmla="*/ 75 w 106"/>
                  <a:gd name="T41" fmla="*/ 0 h 118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06"/>
                  <a:gd name="T64" fmla="*/ 0 h 118"/>
                  <a:gd name="T65" fmla="*/ 106 w 106"/>
                  <a:gd name="T66" fmla="*/ 118 h 118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06" h="118">
                    <a:moveTo>
                      <a:pt x="75" y="0"/>
                    </a:moveTo>
                    <a:lnTo>
                      <a:pt x="65" y="4"/>
                    </a:lnTo>
                    <a:lnTo>
                      <a:pt x="36" y="53"/>
                    </a:lnTo>
                    <a:lnTo>
                      <a:pt x="9" y="58"/>
                    </a:lnTo>
                    <a:lnTo>
                      <a:pt x="0" y="65"/>
                    </a:lnTo>
                    <a:lnTo>
                      <a:pt x="3" y="72"/>
                    </a:lnTo>
                    <a:lnTo>
                      <a:pt x="5" y="92"/>
                    </a:lnTo>
                    <a:lnTo>
                      <a:pt x="16" y="92"/>
                    </a:lnTo>
                    <a:lnTo>
                      <a:pt x="21" y="104"/>
                    </a:lnTo>
                    <a:lnTo>
                      <a:pt x="34" y="118"/>
                    </a:lnTo>
                    <a:lnTo>
                      <a:pt x="52" y="104"/>
                    </a:lnTo>
                    <a:lnTo>
                      <a:pt x="106" y="83"/>
                    </a:lnTo>
                    <a:lnTo>
                      <a:pt x="106" y="78"/>
                    </a:lnTo>
                    <a:lnTo>
                      <a:pt x="96" y="67"/>
                    </a:lnTo>
                    <a:lnTo>
                      <a:pt x="96" y="55"/>
                    </a:lnTo>
                    <a:lnTo>
                      <a:pt x="98" y="49"/>
                    </a:lnTo>
                    <a:lnTo>
                      <a:pt x="91" y="25"/>
                    </a:lnTo>
                    <a:lnTo>
                      <a:pt x="86" y="16"/>
                    </a:lnTo>
                    <a:lnTo>
                      <a:pt x="78" y="19"/>
                    </a:lnTo>
                    <a:lnTo>
                      <a:pt x="73" y="14"/>
                    </a:lnTo>
                    <a:lnTo>
                      <a:pt x="75" y="0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92" name="Freeform 156"/>
              <p:cNvSpPr>
                <a:spLocks/>
              </p:cNvSpPr>
              <p:nvPr>
                <p:custDataLst>
                  <p:tags r:id="rId217"/>
                </p:custDataLst>
              </p:nvPr>
            </p:nvSpPr>
            <p:spPr bwMode="auto">
              <a:xfrm>
                <a:off x="4797" y="2910"/>
                <a:ext cx="146" cy="154"/>
              </a:xfrm>
              <a:custGeom>
                <a:avLst/>
                <a:gdLst>
                  <a:gd name="T0" fmla="*/ 650 w 969"/>
                  <a:gd name="T1" fmla="*/ 129 h 1024"/>
                  <a:gd name="T2" fmla="*/ 593 w 969"/>
                  <a:gd name="T3" fmla="*/ 169 h 1024"/>
                  <a:gd name="T4" fmla="*/ 589 w 969"/>
                  <a:gd name="T5" fmla="*/ 201 h 1024"/>
                  <a:gd name="T6" fmla="*/ 526 w 969"/>
                  <a:gd name="T7" fmla="*/ 220 h 1024"/>
                  <a:gd name="T8" fmla="*/ 458 w 969"/>
                  <a:gd name="T9" fmla="*/ 317 h 1024"/>
                  <a:gd name="T10" fmla="*/ 410 w 969"/>
                  <a:gd name="T11" fmla="*/ 352 h 1024"/>
                  <a:gd name="T12" fmla="*/ 383 w 969"/>
                  <a:gd name="T13" fmla="*/ 343 h 1024"/>
                  <a:gd name="T14" fmla="*/ 364 w 969"/>
                  <a:gd name="T15" fmla="*/ 325 h 1024"/>
                  <a:gd name="T16" fmla="*/ 347 w 969"/>
                  <a:gd name="T17" fmla="*/ 261 h 1024"/>
                  <a:gd name="T18" fmla="*/ 334 w 969"/>
                  <a:gd name="T19" fmla="*/ 289 h 1024"/>
                  <a:gd name="T20" fmla="*/ 315 w 969"/>
                  <a:gd name="T21" fmla="*/ 272 h 1024"/>
                  <a:gd name="T22" fmla="*/ 297 w 969"/>
                  <a:gd name="T23" fmla="*/ 192 h 1024"/>
                  <a:gd name="T24" fmla="*/ 289 w 969"/>
                  <a:gd name="T25" fmla="*/ 153 h 1024"/>
                  <a:gd name="T26" fmla="*/ 297 w 969"/>
                  <a:gd name="T27" fmla="*/ 93 h 1024"/>
                  <a:gd name="T28" fmla="*/ 238 w 969"/>
                  <a:gd name="T29" fmla="*/ 48 h 1024"/>
                  <a:gd name="T30" fmla="*/ 117 w 969"/>
                  <a:gd name="T31" fmla="*/ 0 h 1024"/>
                  <a:gd name="T32" fmla="*/ 76 w 969"/>
                  <a:gd name="T33" fmla="*/ 35 h 1024"/>
                  <a:gd name="T34" fmla="*/ 15 w 969"/>
                  <a:gd name="T35" fmla="*/ 58 h 1024"/>
                  <a:gd name="T36" fmla="*/ 12 w 969"/>
                  <a:gd name="T37" fmla="*/ 102 h 1024"/>
                  <a:gd name="T38" fmla="*/ 56 w 969"/>
                  <a:gd name="T39" fmla="*/ 125 h 1024"/>
                  <a:gd name="T40" fmla="*/ 82 w 969"/>
                  <a:gd name="T41" fmla="*/ 150 h 1024"/>
                  <a:gd name="T42" fmla="*/ 94 w 969"/>
                  <a:gd name="T43" fmla="*/ 196 h 1024"/>
                  <a:gd name="T44" fmla="*/ 159 w 969"/>
                  <a:gd name="T45" fmla="*/ 217 h 1024"/>
                  <a:gd name="T46" fmla="*/ 222 w 969"/>
                  <a:gd name="T47" fmla="*/ 217 h 1024"/>
                  <a:gd name="T48" fmla="*/ 264 w 969"/>
                  <a:gd name="T49" fmla="*/ 201 h 1024"/>
                  <a:gd name="T50" fmla="*/ 277 w 969"/>
                  <a:gd name="T51" fmla="*/ 222 h 1024"/>
                  <a:gd name="T52" fmla="*/ 266 w 969"/>
                  <a:gd name="T53" fmla="*/ 256 h 1024"/>
                  <a:gd name="T54" fmla="*/ 209 w 969"/>
                  <a:gd name="T55" fmla="*/ 245 h 1024"/>
                  <a:gd name="T56" fmla="*/ 163 w 969"/>
                  <a:gd name="T57" fmla="*/ 280 h 1024"/>
                  <a:gd name="T58" fmla="*/ 129 w 969"/>
                  <a:gd name="T59" fmla="*/ 270 h 1024"/>
                  <a:gd name="T60" fmla="*/ 93 w 969"/>
                  <a:gd name="T61" fmla="*/ 268 h 1024"/>
                  <a:gd name="T62" fmla="*/ 94 w 969"/>
                  <a:gd name="T63" fmla="*/ 291 h 1024"/>
                  <a:gd name="T64" fmla="*/ 166 w 969"/>
                  <a:gd name="T65" fmla="*/ 336 h 1024"/>
                  <a:gd name="T66" fmla="*/ 179 w 969"/>
                  <a:gd name="T67" fmla="*/ 371 h 1024"/>
                  <a:gd name="T68" fmla="*/ 162 w 969"/>
                  <a:gd name="T69" fmla="*/ 392 h 1024"/>
                  <a:gd name="T70" fmla="*/ 184 w 969"/>
                  <a:gd name="T71" fmla="*/ 438 h 1024"/>
                  <a:gd name="T72" fmla="*/ 228 w 969"/>
                  <a:gd name="T73" fmla="*/ 405 h 1024"/>
                  <a:gd name="T74" fmla="*/ 246 w 969"/>
                  <a:gd name="T75" fmla="*/ 338 h 1024"/>
                  <a:gd name="T76" fmla="*/ 264 w 969"/>
                  <a:gd name="T77" fmla="*/ 310 h 1024"/>
                  <a:gd name="T78" fmla="*/ 265 w 969"/>
                  <a:gd name="T79" fmla="*/ 348 h 1024"/>
                  <a:gd name="T80" fmla="*/ 291 w 969"/>
                  <a:gd name="T81" fmla="*/ 400 h 1024"/>
                  <a:gd name="T82" fmla="*/ 327 w 969"/>
                  <a:gd name="T83" fmla="*/ 414 h 1024"/>
                  <a:gd name="T84" fmla="*/ 363 w 969"/>
                  <a:gd name="T85" fmla="*/ 410 h 1024"/>
                  <a:gd name="T86" fmla="*/ 364 w 969"/>
                  <a:gd name="T87" fmla="*/ 442 h 1024"/>
                  <a:gd name="T88" fmla="*/ 424 w 969"/>
                  <a:gd name="T89" fmla="*/ 472 h 1024"/>
                  <a:gd name="T90" fmla="*/ 620 w 969"/>
                  <a:gd name="T91" fmla="*/ 537 h 1024"/>
                  <a:gd name="T92" fmla="*/ 710 w 969"/>
                  <a:gd name="T93" fmla="*/ 662 h 1024"/>
                  <a:gd name="T94" fmla="*/ 734 w 969"/>
                  <a:gd name="T95" fmla="*/ 717 h 1024"/>
                  <a:gd name="T96" fmla="*/ 781 w 969"/>
                  <a:gd name="T97" fmla="*/ 759 h 1024"/>
                  <a:gd name="T98" fmla="*/ 765 w 969"/>
                  <a:gd name="T99" fmla="*/ 768 h 1024"/>
                  <a:gd name="T100" fmla="*/ 744 w 969"/>
                  <a:gd name="T101" fmla="*/ 773 h 1024"/>
                  <a:gd name="T102" fmla="*/ 794 w 969"/>
                  <a:gd name="T103" fmla="*/ 842 h 1024"/>
                  <a:gd name="T104" fmla="*/ 773 w 969"/>
                  <a:gd name="T105" fmla="*/ 892 h 1024"/>
                  <a:gd name="T106" fmla="*/ 790 w 969"/>
                  <a:gd name="T107" fmla="*/ 913 h 1024"/>
                  <a:gd name="T108" fmla="*/ 875 w 969"/>
                  <a:gd name="T109" fmla="*/ 902 h 1024"/>
                  <a:gd name="T110" fmla="*/ 969 w 969"/>
                  <a:gd name="T111" fmla="*/ 1024 h 1024"/>
                  <a:gd name="T112" fmla="*/ 950 w 969"/>
                  <a:gd name="T113" fmla="*/ 728 h 1024"/>
                  <a:gd name="T114" fmla="*/ 962 w 969"/>
                  <a:gd name="T115" fmla="*/ 264 h 1024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969"/>
                  <a:gd name="T175" fmla="*/ 0 h 1024"/>
                  <a:gd name="T176" fmla="*/ 969 w 969"/>
                  <a:gd name="T177" fmla="*/ 1024 h 1024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969" h="1024">
                    <a:moveTo>
                      <a:pt x="666" y="127"/>
                    </a:moveTo>
                    <a:lnTo>
                      <a:pt x="650" y="129"/>
                    </a:lnTo>
                    <a:lnTo>
                      <a:pt x="604" y="160"/>
                    </a:lnTo>
                    <a:lnTo>
                      <a:pt x="593" y="169"/>
                    </a:lnTo>
                    <a:lnTo>
                      <a:pt x="593" y="196"/>
                    </a:lnTo>
                    <a:lnTo>
                      <a:pt x="589" y="201"/>
                    </a:lnTo>
                    <a:lnTo>
                      <a:pt x="573" y="208"/>
                    </a:lnTo>
                    <a:lnTo>
                      <a:pt x="526" y="220"/>
                    </a:lnTo>
                    <a:lnTo>
                      <a:pt x="511" y="220"/>
                    </a:lnTo>
                    <a:lnTo>
                      <a:pt x="458" y="317"/>
                    </a:lnTo>
                    <a:lnTo>
                      <a:pt x="436" y="341"/>
                    </a:lnTo>
                    <a:lnTo>
                      <a:pt x="410" y="352"/>
                    </a:lnTo>
                    <a:lnTo>
                      <a:pt x="395" y="350"/>
                    </a:lnTo>
                    <a:lnTo>
                      <a:pt x="383" y="343"/>
                    </a:lnTo>
                    <a:lnTo>
                      <a:pt x="372" y="334"/>
                    </a:lnTo>
                    <a:lnTo>
                      <a:pt x="364" y="325"/>
                    </a:lnTo>
                    <a:lnTo>
                      <a:pt x="350" y="268"/>
                    </a:lnTo>
                    <a:lnTo>
                      <a:pt x="347" y="261"/>
                    </a:lnTo>
                    <a:lnTo>
                      <a:pt x="342" y="254"/>
                    </a:lnTo>
                    <a:lnTo>
                      <a:pt x="334" y="289"/>
                    </a:lnTo>
                    <a:lnTo>
                      <a:pt x="324" y="282"/>
                    </a:lnTo>
                    <a:lnTo>
                      <a:pt x="315" y="272"/>
                    </a:lnTo>
                    <a:lnTo>
                      <a:pt x="301" y="219"/>
                    </a:lnTo>
                    <a:lnTo>
                      <a:pt x="297" y="192"/>
                    </a:lnTo>
                    <a:lnTo>
                      <a:pt x="286" y="173"/>
                    </a:lnTo>
                    <a:lnTo>
                      <a:pt x="289" y="153"/>
                    </a:lnTo>
                    <a:lnTo>
                      <a:pt x="302" y="113"/>
                    </a:lnTo>
                    <a:lnTo>
                      <a:pt x="297" y="93"/>
                    </a:lnTo>
                    <a:lnTo>
                      <a:pt x="278" y="56"/>
                    </a:lnTo>
                    <a:lnTo>
                      <a:pt x="238" y="48"/>
                    </a:lnTo>
                    <a:lnTo>
                      <a:pt x="150" y="5"/>
                    </a:lnTo>
                    <a:lnTo>
                      <a:pt x="117" y="0"/>
                    </a:lnTo>
                    <a:lnTo>
                      <a:pt x="98" y="14"/>
                    </a:lnTo>
                    <a:lnTo>
                      <a:pt x="76" y="35"/>
                    </a:lnTo>
                    <a:lnTo>
                      <a:pt x="36" y="56"/>
                    </a:lnTo>
                    <a:lnTo>
                      <a:pt x="15" y="58"/>
                    </a:lnTo>
                    <a:lnTo>
                      <a:pt x="15" y="88"/>
                    </a:lnTo>
                    <a:lnTo>
                      <a:pt x="12" y="102"/>
                    </a:lnTo>
                    <a:lnTo>
                      <a:pt x="0" y="118"/>
                    </a:lnTo>
                    <a:lnTo>
                      <a:pt x="56" y="125"/>
                    </a:lnTo>
                    <a:lnTo>
                      <a:pt x="74" y="132"/>
                    </a:lnTo>
                    <a:lnTo>
                      <a:pt x="82" y="150"/>
                    </a:lnTo>
                    <a:lnTo>
                      <a:pt x="89" y="185"/>
                    </a:lnTo>
                    <a:lnTo>
                      <a:pt x="94" y="196"/>
                    </a:lnTo>
                    <a:lnTo>
                      <a:pt x="114" y="212"/>
                    </a:lnTo>
                    <a:lnTo>
                      <a:pt x="159" y="217"/>
                    </a:lnTo>
                    <a:lnTo>
                      <a:pt x="192" y="213"/>
                    </a:lnTo>
                    <a:lnTo>
                      <a:pt x="222" y="217"/>
                    </a:lnTo>
                    <a:lnTo>
                      <a:pt x="249" y="212"/>
                    </a:lnTo>
                    <a:lnTo>
                      <a:pt x="264" y="201"/>
                    </a:lnTo>
                    <a:lnTo>
                      <a:pt x="274" y="201"/>
                    </a:lnTo>
                    <a:lnTo>
                      <a:pt x="277" y="222"/>
                    </a:lnTo>
                    <a:lnTo>
                      <a:pt x="273" y="249"/>
                    </a:lnTo>
                    <a:lnTo>
                      <a:pt x="266" y="256"/>
                    </a:lnTo>
                    <a:lnTo>
                      <a:pt x="222" y="257"/>
                    </a:lnTo>
                    <a:lnTo>
                      <a:pt x="209" y="245"/>
                    </a:lnTo>
                    <a:lnTo>
                      <a:pt x="201" y="242"/>
                    </a:lnTo>
                    <a:lnTo>
                      <a:pt x="163" y="280"/>
                    </a:lnTo>
                    <a:lnTo>
                      <a:pt x="155" y="282"/>
                    </a:lnTo>
                    <a:lnTo>
                      <a:pt x="129" y="270"/>
                    </a:lnTo>
                    <a:lnTo>
                      <a:pt x="113" y="264"/>
                    </a:lnTo>
                    <a:lnTo>
                      <a:pt x="93" y="268"/>
                    </a:lnTo>
                    <a:lnTo>
                      <a:pt x="92" y="279"/>
                    </a:lnTo>
                    <a:lnTo>
                      <a:pt x="94" y="291"/>
                    </a:lnTo>
                    <a:lnTo>
                      <a:pt x="110" y="293"/>
                    </a:lnTo>
                    <a:lnTo>
                      <a:pt x="166" y="336"/>
                    </a:lnTo>
                    <a:lnTo>
                      <a:pt x="173" y="348"/>
                    </a:lnTo>
                    <a:lnTo>
                      <a:pt x="179" y="371"/>
                    </a:lnTo>
                    <a:lnTo>
                      <a:pt x="163" y="385"/>
                    </a:lnTo>
                    <a:lnTo>
                      <a:pt x="162" y="392"/>
                    </a:lnTo>
                    <a:lnTo>
                      <a:pt x="176" y="430"/>
                    </a:lnTo>
                    <a:lnTo>
                      <a:pt x="184" y="438"/>
                    </a:lnTo>
                    <a:lnTo>
                      <a:pt x="215" y="419"/>
                    </a:lnTo>
                    <a:lnTo>
                      <a:pt x="228" y="405"/>
                    </a:lnTo>
                    <a:lnTo>
                      <a:pt x="240" y="373"/>
                    </a:lnTo>
                    <a:lnTo>
                      <a:pt x="246" y="338"/>
                    </a:lnTo>
                    <a:lnTo>
                      <a:pt x="257" y="316"/>
                    </a:lnTo>
                    <a:lnTo>
                      <a:pt x="264" y="310"/>
                    </a:lnTo>
                    <a:lnTo>
                      <a:pt x="271" y="324"/>
                    </a:lnTo>
                    <a:lnTo>
                      <a:pt x="265" y="348"/>
                    </a:lnTo>
                    <a:lnTo>
                      <a:pt x="274" y="380"/>
                    </a:lnTo>
                    <a:lnTo>
                      <a:pt x="291" y="400"/>
                    </a:lnTo>
                    <a:lnTo>
                      <a:pt x="310" y="410"/>
                    </a:lnTo>
                    <a:lnTo>
                      <a:pt x="327" y="414"/>
                    </a:lnTo>
                    <a:lnTo>
                      <a:pt x="354" y="408"/>
                    </a:lnTo>
                    <a:lnTo>
                      <a:pt x="363" y="410"/>
                    </a:lnTo>
                    <a:lnTo>
                      <a:pt x="367" y="424"/>
                    </a:lnTo>
                    <a:lnTo>
                      <a:pt x="364" y="442"/>
                    </a:lnTo>
                    <a:lnTo>
                      <a:pt x="393" y="460"/>
                    </a:lnTo>
                    <a:lnTo>
                      <a:pt x="424" y="472"/>
                    </a:lnTo>
                    <a:lnTo>
                      <a:pt x="450" y="475"/>
                    </a:lnTo>
                    <a:lnTo>
                      <a:pt x="620" y="537"/>
                    </a:lnTo>
                    <a:lnTo>
                      <a:pt x="662" y="572"/>
                    </a:lnTo>
                    <a:lnTo>
                      <a:pt x="710" y="662"/>
                    </a:lnTo>
                    <a:lnTo>
                      <a:pt x="722" y="696"/>
                    </a:lnTo>
                    <a:lnTo>
                      <a:pt x="734" y="717"/>
                    </a:lnTo>
                    <a:lnTo>
                      <a:pt x="760" y="738"/>
                    </a:lnTo>
                    <a:lnTo>
                      <a:pt x="781" y="759"/>
                    </a:lnTo>
                    <a:lnTo>
                      <a:pt x="776" y="765"/>
                    </a:lnTo>
                    <a:lnTo>
                      <a:pt x="765" y="768"/>
                    </a:lnTo>
                    <a:lnTo>
                      <a:pt x="745" y="761"/>
                    </a:lnTo>
                    <a:lnTo>
                      <a:pt x="744" y="773"/>
                    </a:lnTo>
                    <a:lnTo>
                      <a:pt x="769" y="814"/>
                    </a:lnTo>
                    <a:lnTo>
                      <a:pt x="794" y="842"/>
                    </a:lnTo>
                    <a:lnTo>
                      <a:pt x="793" y="856"/>
                    </a:lnTo>
                    <a:lnTo>
                      <a:pt x="773" y="892"/>
                    </a:lnTo>
                    <a:lnTo>
                      <a:pt x="771" y="911"/>
                    </a:lnTo>
                    <a:lnTo>
                      <a:pt x="790" y="913"/>
                    </a:lnTo>
                    <a:lnTo>
                      <a:pt x="857" y="899"/>
                    </a:lnTo>
                    <a:lnTo>
                      <a:pt x="875" y="902"/>
                    </a:lnTo>
                    <a:lnTo>
                      <a:pt x="906" y="950"/>
                    </a:lnTo>
                    <a:lnTo>
                      <a:pt x="969" y="1024"/>
                    </a:lnTo>
                    <a:lnTo>
                      <a:pt x="969" y="800"/>
                    </a:lnTo>
                    <a:lnTo>
                      <a:pt x="950" y="728"/>
                    </a:lnTo>
                    <a:lnTo>
                      <a:pt x="969" y="685"/>
                    </a:lnTo>
                    <a:lnTo>
                      <a:pt x="962" y="264"/>
                    </a:lnTo>
                    <a:lnTo>
                      <a:pt x="666" y="127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93" name="Freeform 157"/>
              <p:cNvSpPr>
                <a:spLocks/>
              </p:cNvSpPr>
              <p:nvPr>
                <p:custDataLst>
                  <p:tags r:id="rId218"/>
                </p:custDataLst>
              </p:nvPr>
            </p:nvSpPr>
            <p:spPr bwMode="auto">
              <a:xfrm>
                <a:off x="4894" y="3033"/>
                <a:ext cx="19" cy="17"/>
              </a:xfrm>
              <a:custGeom>
                <a:avLst/>
                <a:gdLst>
                  <a:gd name="T0" fmla="*/ 110 w 119"/>
                  <a:gd name="T1" fmla="*/ 18 h 120"/>
                  <a:gd name="T2" fmla="*/ 87 w 119"/>
                  <a:gd name="T3" fmla="*/ 0 h 120"/>
                  <a:gd name="T4" fmla="*/ 69 w 119"/>
                  <a:gd name="T5" fmla="*/ 4 h 120"/>
                  <a:gd name="T6" fmla="*/ 50 w 119"/>
                  <a:gd name="T7" fmla="*/ 18 h 120"/>
                  <a:gd name="T8" fmla="*/ 25 w 119"/>
                  <a:gd name="T9" fmla="*/ 55 h 120"/>
                  <a:gd name="T10" fmla="*/ 0 w 119"/>
                  <a:gd name="T11" fmla="*/ 110 h 120"/>
                  <a:gd name="T12" fmla="*/ 49 w 119"/>
                  <a:gd name="T13" fmla="*/ 120 h 120"/>
                  <a:gd name="T14" fmla="*/ 61 w 119"/>
                  <a:gd name="T15" fmla="*/ 119 h 120"/>
                  <a:gd name="T16" fmla="*/ 90 w 119"/>
                  <a:gd name="T17" fmla="*/ 83 h 120"/>
                  <a:gd name="T18" fmla="*/ 99 w 119"/>
                  <a:gd name="T19" fmla="*/ 73 h 120"/>
                  <a:gd name="T20" fmla="*/ 119 w 119"/>
                  <a:gd name="T21" fmla="*/ 30 h 120"/>
                  <a:gd name="T22" fmla="*/ 110 w 119"/>
                  <a:gd name="T23" fmla="*/ 18 h 12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19"/>
                  <a:gd name="T37" fmla="*/ 0 h 120"/>
                  <a:gd name="T38" fmla="*/ 119 w 119"/>
                  <a:gd name="T39" fmla="*/ 120 h 120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19" h="120">
                    <a:moveTo>
                      <a:pt x="110" y="18"/>
                    </a:moveTo>
                    <a:lnTo>
                      <a:pt x="87" y="0"/>
                    </a:lnTo>
                    <a:lnTo>
                      <a:pt x="69" y="4"/>
                    </a:lnTo>
                    <a:lnTo>
                      <a:pt x="50" y="18"/>
                    </a:lnTo>
                    <a:lnTo>
                      <a:pt x="25" y="55"/>
                    </a:lnTo>
                    <a:lnTo>
                      <a:pt x="0" y="110"/>
                    </a:lnTo>
                    <a:lnTo>
                      <a:pt x="49" y="120"/>
                    </a:lnTo>
                    <a:lnTo>
                      <a:pt x="61" y="119"/>
                    </a:lnTo>
                    <a:lnTo>
                      <a:pt x="90" y="83"/>
                    </a:lnTo>
                    <a:lnTo>
                      <a:pt x="99" y="73"/>
                    </a:lnTo>
                    <a:lnTo>
                      <a:pt x="119" y="30"/>
                    </a:lnTo>
                    <a:lnTo>
                      <a:pt x="110" y="18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94" name="Freeform 158"/>
              <p:cNvSpPr>
                <a:spLocks/>
              </p:cNvSpPr>
              <p:nvPr>
                <p:custDataLst>
                  <p:tags r:id="rId219"/>
                </p:custDataLst>
              </p:nvPr>
            </p:nvSpPr>
            <p:spPr bwMode="auto">
              <a:xfrm>
                <a:off x="4470" y="2829"/>
                <a:ext cx="146" cy="147"/>
              </a:xfrm>
              <a:custGeom>
                <a:avLst/>
                <a:gdLst>
                  <a:gd name="T0" fmla="*/ 13 w 975"/>
                  <a:gd name="T1" fmla="*/ 349 h 997"/>
                  <a:gd name="T2" fmla="*/ 5 w 975"/>
                  <a:gd name="T3" fmla="*/ 432 h 997"/>
                  <a:gd name="T4" fmla="*/ 33 w 975"/>
                  <a:gd name="T5" fmla="*/ 504 h 997"/>
                  <a:gd name="T6" fmla="*/ 59 w 975"/>
                  <a:gd name="T7" fmla="*/ 578 h 997"/>
                  <a:gd name="T8" fmla="*/ 77 w 975"/>
                  <a:gd name="T9" fmla="*/ 626 h 997"/>
                  <a:gd name="T10" fmla="*/ 126 w 975"/>
                  <a:gd name="T11" fmla="*/ 855 h 997"/>
                  <a:gd name="T12" fmla="*/ 180 w 975"/>
                  <a:gd name="T13" fmla="*/ 844 h 997"/>
                  <a:gd name="T14" fmla="*/ 271 w 975"/>
                  <a:gd name="T15" fmla="*/ 821 h 997"/>
                  <a:gd name="T16" fmla="*/ 286 w 975"/>
                  <a:gd name="T17" fmla="*/ 921 h 997"/>
                  <a:gd name="T18" fmla="*/ 336 w 975"/>
                  <a:gd name="T19" fmla="*/ 893 h 997"/>
                  <a:gd name="T20" fmla="*/ 376 w 975"/>
                  <a:gd name="T21" fmla="*/ 886 h 997"/>
                  <a:gd name="T22" fmla="*/ 422 w 975"/>
                  <a:gd name="T23" fmla="*/ 874 h 997"/>
                  <a:gd name="T24" fmla="*/ 470 w 975"/>
                  <a:gd name="T25" fmla="*/ 918 h 997"/>
                  <a:gd name="T26" fmla="*/ 517 w 975"/>
                  <a:gd name="T27" fmla="*/ 888 h 997"/>
                  <a:gd name="T28" fmla="*/ 557 w 975"/>
                  <a:gd name="T29" fmla="*/ 958 h 997"/>
                  <a:gd name="T30" fmla="*/ 578 w 975"/>
                  <a:gd name="T31" fmla="*/ 987 h 997"/>
                  <a:gd name="T32" fmla="*/ 700 w 975"/>
                  <a:gd name="T33" fmla="*/ 869 h 997"/>
                  <a:gd name="T34" fmla="*/ 728 w 975"/>
                  <a:gd name="T35" fmla="*/ 811 h 997"/>
                  <a:gd name="T36" fmla="*/ 731 w 975"/>
                  <a:gd name="T37" fmla="*/ 762 h 997"/>
                  <a:gd name="T38" fmla="*/ 741 w 975"/>
                  <a:gd name="T39" fmla="*/ 689 h 997"/>
                  <a:gd name="T40" fmla="*/ 827 w 975"/>
                  <a:gd name="T41" fmla="*/ 612 h 997"/>
                  <a:gd name="T42" fmla="*/ 834 w 975"/>
                  <a:gd name="T43" fmla="*/ 511 h 997"/>
                  <a:gd name="T44" fmla="*/ 872 w 975"/>
                  <a:gd name="T45" fmla="*/ 400 h 997"/>
                  <a:gd name="T46" fmla="*/ 954 w 975"/>
                  <a:gd name="T47" fmla="*/ 409 h 997"/>
                  <a:gd name="T48" fmla="*/ 925 w 975"/>
                  <a:gd name="T49" fmla="*/ 333 h 997"/>
                  <a:gd name="T50" fmla="*/ 871 w 975"/>
                  <a:gd name="T51" fmla="*/ 273 h 997"/>
                  <a:gd name="T52" fmla="*/ 836 w 975"/>
                  <a:gd name="T53" fmla="*/ 141 h 997"/>
                  <a:gd name="T54" fmla="*/ 823 w 975"/>
                  <a:gd name="T55" fmla="*/ 113 h 997"/>
                  <a:gd name="T56" fmla="*/ 859 w 975"/>
                  <a:gd name="T57" fmla="*/ 78 h 997"/>
                  <a:gd name="T58" fmla="*/ 857 w 975"/>
                  <a:gd name="T59" fmla="*/ 30 h 997"/>
                  <a:gd name="T60" fmla="*/ 797 w 975"/>
                  <a:gd name="T61" fmla="*/ 7 h 997"/>
                  <a:gd name="T62" fmla="*/ 687 w 975"/>
                  <a:gd name="T63" fmla="*/ 0 h 997"/>
                  <a:gd name="T64" fmla="*/ 654 w 975"/>
                  <a:gd name="T65" fmla="*/ 73 h 997"/>
                  <a:gd name="T66" fmla="*/ 619 w 975"/>
                  <a:gd name="T67" fmla="*/ 157 h 997"/>
                  <a:gd name="T68" fmla="*/ 573 w 975"/>
                  <a:gd name="T69" fmla="*/ 310 h 997"/>
                  <a:gd name="T70" fmla="*/ 496 w 975"/>
                  <a:gd name="T71" fmla="*/ 343 h 997"/>
                  <a:gd name="T72" fmla="*/ 439 w 975"/>
                  <a:gd name="T73" fmla="*/ 356 h 997"/>
                  <a:gd name="T74" fmla="*/ 352 w 975"/>
                  <a:gd name="T75" fmla="*/ 328 h 997"/>
                  <a:gd name="T76" fmla="*/ 269 w 975"/>
                  <a:gd name="T77" fmla="*/ 407 h 997"/>
                  <a:gd name="T78" fmla="*/ 210 w 975"/>
                  <a:gd name="T79" fmla="*/ 389 h 997"/>
                  <a:gd name="T80" fmla="*/ 136 w 975"/>
                  <a:gd name="T81" fmla="*/ 391 h 997"/>
                  <a:gd name="T82" fmla="*/ 69 w 975"/>
                  <a:gd name="T83" fmla="*/ 284 h 99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975"/>
                  <a:gd name="T127" fmla="*/ 0 h 997"/>
                  <a:gd name="T128" fmla="*/ 975 w 975"/>
                  <a:gd name="T129" fmla="*/ 997 h 997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975" h="997">
                    <a:moveTo>
                      <a:pt x="46" y="276"/>
                    </a:moveTo>
                    <a:lnTo>
                      <a:pt x="33" y="319"/>
                    </a:lnTo>
                    <a:lnTo>
                      <a:pt x="13" y="349"/>
                    </a:lnTo>
                    <a:lnTo>
                      <a:pt x="8" y="366"/>
                    </a:lnTo>
                    <a:lnTo>
                      <a:pt x="0" y="402"/>
                    </a:lnTo>
                    <a:lnTo>
                      <a:pt x="5" y="432"/>
                    </a:lnTo>
                    <a:lnTo>
                      <a:pt x="1" y="456"/>
                    </a:lnTo>
                    <a:lnTo>
                      <a:pt x="18" y="472"/>
                    </a:lnTo>
                    <a:lnTo>
                      <a:pt x="33" y="504"/>
                    </a:lnTo>
                    <a:lnTo>
                      <a:pt x="25" y="543"/>
                    </a:lnTo>
                    <a:lnTo>
                      <a:pt x="36" y="559"/>
                    </a:lnTo>
                    <a:lnTo>
                      <a:pt x="59" y="578"/>
                    </a:lnTo>
                    <a:lnTo>
                      <a:pt x="36" y="597"/>
                    </a:lnTo>
                    <a:lnTo>
                      <a:pt x="42" y="605"/>
                    </a:lnTo>
                    <a:lnTo>
                      <a:pt x="77" y="626"/>
                    </a:lnTo>
                    <a:lnTo>
                      <a:pt x="95" y="647"/>
                    </a:lnTo>
                    <a:lnTo>
                      <a:pt x="110" y="687"/>
                    </a:lnTo>
                    <a:lnTo>
                      <a:pt x="126" y="855"/>
                    </a:lnTo>
                    <a:lnTo>
                      <a:pt x="140" y="853"/>
                    </a:lnTo>
                    <a:lnTo>
                      <a:pt x="151" y="844"/>
                    </a:lnTo>
                    <a:lnTo>
                      <a:pt x="180" y="844"/>
                    </a:lnTo>
                    <a:lnTo>
                      <a:pt x="194" y="866"/>
                    </a:lnTo>
                    <a:lnTo>
                      <a:pt x="257" y="843"/>
                    </a:lnTo>
                    <a:lnTo>
                      <a:pt x="271" y="821"/>
                    </a:lnTo>
                    <a:lnTo>
                      <a:pt x="285" y="876"/>
                    </a:lnTo>
                    <a:lnTo>
                      <a:pt x="283" y="893"/>
                    </a:lnTo>
                    <a:lnTo>
                      <a:pt x="286" y="921"/>
                    </a:lnTo>
                    <a:lnTo>
                      <a:pt x="303" y="918"/>
                    </a:lnTo>
                    <a:lnTo>
                      <a:pt x="316" y="900"/>
                    </a:lnTo>
                    <a:lnTo>
                      <a:pt x="336" y="893"/>
                    </a:lnTo>
                    <a:lnTo>
                      <a:pt x="352" y="898"/>
                    </a:lnTo>
                    <a:lnTo>
                      <a:pt x="369" y="897"/>
                    </a:lnTo>
                    <a:lnTo>
                      <a:pt x="376" y="886"/>
                    </a:lnTo>
                    <a:lnTo>
                      <a:pt x="390" y="843"/>
                    </a:lnTo>
                    <a:lnTo>
                      <a:pt x="405" y="850"/>
                    </a:lnTo>
                    <a:lnTo>
                      <a:pt x="422" y="874"/>
                    </a:lnTo>
                    <a:lnTo>
                      <a:pt x="442" y="881"/>
                    </a:lnTo>
                    <a:lnTo>
                      <a:pt x="455" y="891"/>
                    </a:lnTo>
                    <a:lnTo>
                      <a:pt x="470" y="918"/>
                    </a:lnTo>
                    <a:lnTo>
                      <a:pt x="483" y="916"/>
                    </a:lnTo>
                    <a:lnTo>
                      <a:pt x="506" y="890"/>
                    </a:lnTo>
                    <a:lnTo>
                      <a:pt x="517" y="888"/>
                    </a:lnTo>
                    <a:lnTo>
                      <a:pt x="529" y="897"/>
                    </a:lnTo>
                    <a:lnTo>
                      <a:pt x="543" y="916"/>
                    </a:lnTo>
                    <a:lnTo>
                      <a:pt x="557" y="958"/>
                    </a:lnTo>
                    <a:lnTo>
                      <a:pt x="556" y="981"/>
                    </a:lnTo>
                    <a:lnTo>
                      <a:pt x="565" y="997"/>
                    </a:lnTo>
                    <a:lnTo>
                      <a:pt x="578" y="987"/>
                    </a:lnTo>
                    <a:lnTo>
                      <a:pt x="662" y="941"/>
                    </a:lnTo>
                    <a:lnTo>
                      <a:pt x="685" y="909"/>
                    </a:lnTo>
                    <a:lnTo>
                      <a:pt x="700" y="869"/>
                    </a:lnTo>
                    <a:lnTo>
                      <a:pt x="724" y="834"/>
                    </a:lnTo>
                    <a:lnTo>
                      <a:pt x="728" y="821"/>
                    </a:lnTo>
                    <a:lnTo>
                      <a:pt x="728" y="811"/>
                    </a:lnTo>
                    <a:lnTo>
                      <a:pt x="709" y="781"/>
                    </a:lnTo>
                    <a:lnTo>
                      <a:pt x="738" y="777"/>
                    </a:lnTo>
                    <a:lnTo>
                      <a:pt x="731" y="762"/>
                    </a:lnTo>
                    <a:lnTo>
                      <a:pt x="728" y="740"/>
                    </a:lnTo>
                    <a:lnTo>
                      <a:pt x="709" y="721"/>
                    </a:lnTo>
                    <a:lnTo>
                      <a:pt x="741" y="689"/>
                    </a:lnTo>
                    <a:lnTo>
                      <a:pt x="761" y="656"/>
                    </a:lnTo>
                    <a:lnTo>
                      <a:pt x="806" y="605"/>
                    </a:lnTo>
                    <a:lnTo>
                      <a:pt x="827" y="612"/>
                    </a:lnTo>
                    <a:lnTo>
                      <a:pt x="839" y="612"/>
                    </a:lnTo>
                    <a:lnTo>
                      <a:pt x="843" y="567"/>
                    </a:lnTo>
                    <a:lnTo>
                      <a:pt x="834" y="511"/>
                    </a:lnTo>
                    <a:lnTo>
                      <a:pt x="839" y="472"/>
                    </a:lnTo>
                    <a:lnTo>
                      <a:pt x="854" y="425"/>
                    </a:lnTo>
                    <a:lnTo>
                      <a:pt x="872" y="400"/>
                    </a:lnTo>
                    <a:lnTo>
                      <a:pt x="887" y="395"/>
                    </a:lnTo>
                    <a:lnTo>
                      <a:pt x="922" y="407"/>
                    </a:lnTo>
                    <a:lnTo>
                      <a:pt x="954" y="409"/>
                    </a:lnTo>
                    <a:lnTo>
                      <a:pt x="975" y="400"/>
                    </a:lnTo>
                    <a:lnTo>
                      <a:pt x="950" y="359"/>
                    </a:lnTo>
                    <a:lnTo>
                      <a:pt x="925" y="333"/>
                    </a:lnTo>
                    <a:lnTo>
                      <a:pt x="891" y="310"/>
                    </a:lnTo>
                    <a:lnTo>
                      <a:pt x="873" y="285"/>
                    </a:lnTo>
                    <a:lnTo>
                      <a:pt x="871" y="273"/>
                    </a:lnTo>
                    <a:lnTo>
                      <a:pt x="885" y="236"/>
                    </a:lnTo>
                    <a:lnTo>
                      <a:pt x="884" y="225"/>
                    </a:lnTo>
                    <a:lnTo>
                      <a:pt x="836" y="141"/>
                    </a:lnTo>
                    <a:lnTo>
                      <a:pt x="826" y="136"/>
                    </a:lnTo>
                    <a:lnTo>
                      <a:pt x="815" y="124"/>
                    </a:lnTo>
                    <a:lnTo>
                      <a:pt x="823" y="113"/>
                    </a:lnTo>
                    <a:lnTo>
                      <a:pt x="818" y="97"/>
                    </a:lnTo>
                    <a:lnTo>
                      <a:pt x="810" y="85"/>
                    </a:lnTo>
                    <a:lnTo>
                      <a:pt x="859" y="78"/>
                    </a:lnTo>
                    <a:lnTo>
                      <a:pt x="869" y="71"/>
                    </a:lnTo>
                    <a:lnTo>
                      <a:pt x="855" y="34"/>
                    </a:lnTo>
                    <a:lnTo>
                      <a:pt x="857" y="30"/>
                    </a:lnTo>
                    <a:lnTo>
                      <a:pt x="850" y="25"/>
                    </a:lnTo>
                    <a:lnTo>
                      <a:pt x="815" y="9"/>
                    </a:lnTo>
                    <a:lnTo>
                      <a:pt x="797" y="7"/>
                    </a:lnTo>
                    <a:lnTo>
                      <a:pt x="768" y="9"/>
                    </a:lnTo>
                    <a:lnTo>
                      <a:pt x="740" y="4"/>
                    </a:lnTo>
                    <a:lnTo>
                      <a:pt x="687" y="0"/>
                    </a:lnTo>
                    <a:lnTo>
                      <a:pt x="676" y="9"/>
                    </a:lnTo>
                    <a:lnTo>
                      <a:pt x="659" y="43"/>
                    </a:lnTo>
                    <a:lnTo>
                      <a:pt x="654" y="73"/>
                    </a:lnTo>
                    <a:lnTo>
                      <a:pt x="659" y="124"/>
                    </a:lnTo>
                    <a:lnTo>
                      <a:pt x="648" y="145"/>
                    </a:lnTo>
                    <a:lnTo>
                      <a:pt x="619" y="157"/>
                    </a:lnTo>
                    <a:lnTo>
                      <a:pt x="611" y="176"/>
                    </a:lnTo>
                    <a:lnTo>
                      <a:pt x="614" y="215"/>
                    </a:lnTo>
                    <a:lnTo>
                      <a:pt x="573" y="310"/>
                    </a:lnTo>
                    <a:lnTo>
                      <a:pt x="556" y="324"/>
                    </a:lnTo>
                    <a:lnTo>
                      <a:pt x="517" y="335"/>
                    </a:lnTo>
                    <a:lnTo>
                      <a:pt x="496" y="343"/>
                    </a:lnTo>
                    <a:lnTo>
                      <a:pt x="476" y="361"/>
                    </a:lnTo>
                    <a:lnTo>
                      <a:pt x="464" y="363"/>
                    </a:lnTo>
                    <a:lnTo>
                      <a:pt x="439" y="356"/>
                    </a:lnTo>
                    <a:lnTo>
                      <a:pt x="392" y="331"/>
                    </a:lnTo>
                    <a:lnTo>
                      <a:pt x="372" y="324"/>
                    </a:lnTo>
                    <a:lnTo>
                      <a:pt x="352" y="328"/>
                    </a:lnTo>
                    <a:lnTo>
                      <a:pt x="328" y="352"/>
                    </a:lnTo>
                    <a:lnTo>
                      <a:pt x="310" y="379"/>
                    </a:lnTo>
                    <a:lnTo>
                      <a:pt x="269" y="407"/>
                    </a:lnTo>
                    <a:lnTo>
                      <a:pt x="245" y="400"/>
                    </a:lnTo>
                    <a:lnTo>
                      <a:pt x="222" y="389"/>
                    </a:lnTo>
                    <a:lnTo>
                      <a:pt x="210" y="389"/>
                    </a:lnTo>
                    <a:lnTo>
                      <a:pt x="169" y="411"/>
                    </a:lnTo>
                    <a:lnTo>
                      <a:pt x="150" y="396"/>
                    </a:lnTo>
                    <a:lnTo>
                      <a:pt x="136" y="391"/>
                    </a:lnTo>
                    <a:lnTo>
                      <a:pt x="92" y="340"/>
                    </a:lnTo>
                    <a:lnTo>
                      <a:pt x="82" y="324"/>
                    </a:lnTo>
                    <a:lnTo>
                      <a:pt x="69" y="284"/>
                    </a:lnTo>
                    <a:lnTo>
                      <a:pt x="59" y="276"/>
                    </a:lnTo>
                    <a:lnTo>
                      <a:pt x="46" y="276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95" name="Freeform 159"/>
              <p:cNvSpPr>
                <a:spLocks/>
              </p:cNvSpPr>
              <p:nvPr>
                <p:custDataLst>
                  <p:tags r:id="rId220"/>
                </p:custDataLst>
              </p:nvPr>
            </p:nvSpPr>
            <p:spPr bwMode="auto">
              <a:xfrm>
                <a:off x="4269" y="2806"/>
                <a:ext cx="158" cy="203"/>
              </a:xfrm>
              <a:custGeom>
                <a:avLst/>
                <a:gdLst>
                  <a:gd name="T0" fmla="*/ 555 w 1054"/>
                  <a:gd name="T1" fmla="*/ 423 h 1362"/>
                  <a:gd name="T2" fmla="*/ 543 w 1054"/>
                  <a:gd name="T3" fmla="*/ 433 h 1362"/>
                  <a:gd name="T4" fmla="*/ 484 w 1054"/>
                  <a:gd name="T5" fmla="*/ 356 h 1362"/>
                  <a:gd name="T6" fmla="*/ 457 w 1054"/>
                  <a:gd name="T7" fmla="*/ 313 h 1362"/>
                  <a:gd name="T8" fmla="*/ 370 w 1054"/>
                  <a:gd name="T9" fmla="*/ 251 h 1362"/>
                  <a:gd name="T10" fmla="*/ 290 w 1054"/>
                  <a:gd name="T11" fmla="*/ 177 h 1362"/>
                  <a:gd name="T12" fmla="*/ 293 w 1054"/>
                  <a:gd name="T13" fmla="*/ 140 h 1362"/>
                  <a:gd name="T14" fmla="*/ 229 w 1054"/>
                  <a:gd name="T15" fmla="*/ 62 h 1362"/>
                  <a:gd name="T16" fmla="*/ 198 w 1054"/>
                  <a:gd name="T17" fmla="*/ 48 h 1362"/>
                  <a:gd name="T18" fmla="*/ 97 w 1054"/>
                  <a:gd name="T19" fmla="*/ 50 h 1362"/>
                  <a:gd name="T20" fmla="*/ 53 w 1054"/>
                  <a:gd name="T21" fmla="*/ 13 h 1362"/>
                  <a:gd name="T22" fmla="*/ 27 w 1054"/>
                  <a:gd name="T23" fmla="*/ 0 h 1362"/>
                  <a:gd name="T24" fmla="*/ 2 w 1054"/>
                  <a:gd name="T25" fmla="*/ 9 h 1362"/>
                  <a:gd name="T26" fmla="*/ 2 w 1054"/>
                  <a:gd name="T27" fmla="*/ 39 h 1362"/>
                  <a:gd name="T28" fmla="*/ 36 w 1054"/>
                  <a:gd name="T29" fmla="*/ 122 h 1362"/>
                  <a:gd name="T30" fmla="*/ 150 w 1054"/>
                  <a:gd name="T31" fmla="*/ 219 h 1362"/>
                  <a:gd name="T32" fmla="*/ 228 w 1054"/>
                  <a:gd name="T33" fmla="*/ 333 h 1362"/>
                  <a:gd name="T34" fmla="*/ 236 w 1054"/>
                  <a:gd name="T35" fmla="*/ 389 h 1362"/>
                  <a:gd name="T36" fmla="*/ 305 w 1054"/>
                  <a:gd name="T37" fmla="*/ 426 h 1362"/>
                  <a:gd name="T38" fmla="*/ 342 w 1054"/>
                  <a:gd name="T39" fmla="*/ 463 h 1362"/>
                  <a:gd name="T40" fmla="*/ 343 w 1054"/>
                  <a:gd name="T41" fmla="*/ 492 h 1362"/>
                  <a:gd name="T42" fmla="*/ 412 w 1054"/>
                  <a:gd name="T43" fmla="*/ 642 h 1362"/>
                  <a:gd name="T44" fmla="*/ 535 w 1054"/>
                  <a:gd name="T45" fmla="*/ 843 h 1362"/>
                  <a:gd name="T46" fmla="*/ 547 w 1054"/>
                  <a:gd name="T47" fmla="*/ 906 h 1362"/>
                  <a:gd name="T48" fmla="*/ 604 w 1054"/>
                  <a:gd name="T49" fmla="*/ 1005 h 1362"/>
                  <a:gd name="T50" fmla="*/ 678 w 1054"/>
                  <a:gd name="T51" fmla="*/ 1075 h 1362"/>
                  <a:gd name="T52" fmla="*/ 695 w 1054"/>
                  <a:gd name="T53" fmla="*/ 1117 h 1362"/>
                  <a:gd name="T54" fmla="*/ 817 w 1054"/>
                  <a:gd name="T55" fmla="*/ 1237 h 1362"/>
                  <a:gd name="T56" fmla="*/ 927 w 1054"/>
                  <a:gd name="T57" fmla="*/ 1352 h 1362"/>
                  <a:gd name="T58" fmla="*/ 918 w 1054"/>
                  <a:gd name="T59" fmla="*/ 1308 h 1362"/>
                  <a:gd name="T60" fmla="*/ 968 w 1054"/>
                  <a:gd name="T61" fmla="*/ 1325 h 1362"/>
                  <a:gd name="T62" fmla="*/ 990 w 1054"/>
                  <a:gd name="T63" fmla="*/ 1306 h 1362"/>
                  <a:gd name="T64" fmla="*/ 1025 w 1054"/>
                  <a:gd name="T65" fmla="*/ 1346 h 1362"/>
                  <a:gd name="T66" fmla="*/ 1034 w 1054"/>
                  <a:gd name="T67" fmla="*/ 1334 h 1362"/>
                  <a:gd name="T68" fmla="*/ 1038 w 1054"/>
                  <a:gd name="T69" fmla="*/ 1228 h 1362"/>
                  <a:gd name="T70" fmla="*/ 1029 w 1054"/>
                  <a:gd name="T71" fmla="*/ 1156 h 1362"/>
                  <a:gd name="T72" fmla="*/ 1054 w 1054"/>
                  <a:gd name="T73" fmla="*/ 1028 h 1362"/>
                  <a:gd name="T74" fmla="*/ 1017 w 1054"/>
                  <a:gd name="T75" fmla="*/ 970 h 1362"/>
                  <a:gd name="T76" fmla="*/ 998 w 1054"/>
                  <a:gd name="T77" fmla="*/ 954 h 1362"/>
                  <a:gd name="T78" fmla="*/ 930 w 1054"/>
                  <a:gd name="T79" fmla="*/ 964 h 1362"/>
                  <a:gd name="T80" fmla="*/ 943 w 1054"/>
                  <a:gd name="T81" fmla="*/ 904 h 1362"/>
                  <a:gd name="T82" fmla="*/ 910 w 1054"/>
                  <a:gd name="T83" fmla="*/ 896 h 1362"/>
                  <a:gd name="T84" fmla="*/ 899 w 1054"/>
                  <a:gd name="T85" fmla="*/ 851 h 1362"/>
                  <a:gd name="T86" fmla="*/ 886 w 1054"/>
                  <a:gd name="T87" fmla="*/ 792 h 1362"/>
                  <a:gd name="T88" fmla="*/ 838 w 1054"/>
                  <a:gd name="T89" fmla="*/ 783 h 1362"/>
                  <a:gd name="T90" fmla="*/ 797 w 1054"/>
                  <a:gd name="T91" fmla="*/ 747 h 1362"/>
                  <a:gd name="T92" fmla="*/ 805 w 1054"/>
                  <a:gd name="T93" fmla="*/ 710 h 1362"/>
                  <a:gd name="T94" fmla="*/ 832 w 1054"/>
                  <a:gd name="T95" fmla="*/ 666 h 1362"/>
                  <a:gd name="T96" fmla="*/ 837 w 1054"/>
                  <a:gd name="T97" fmla="*/ 650 h 1362"/>
                  <a:gd name="T98" fmla="*/ 789 w 1054"/>
                  <a:gd name="T99" fmla="*/ 599 h 1362"/>
                  <a:gd name="T100" fmla="*/ 736 w 1054"/>
                  <a:gd name="T101" fmla="*/ 587 h 1362"/>
                  <a:gd name="T102" fmla="*/ 694 w 1054"/>
                  <a:gd name="T103" fmla="*/ 566 h 1362"/>
                  <a:gd name="T104" fmla="*/ 669 w 1054"/>
                  <a:gd name="T105" fmla="*/ 504 h 1362"/>
                  <a:gd name="T106" fmla="*/ 634 w 1054"/>
                  <a:gd name="T107" fmla="*/ 474 h 1362"/>
                  <a:gd name="T108" fmla="*/ 596 w 1054"/>
                  <a:gd name="T109" fmla="*/ 451 h 1362"/>
                  <a:gd name="T110" fmla="*/ 554 w 1054"/>
                  <a:gd name="T111" fmla="*/ 398 h 1362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054"/>
                  <a:gd name="T169" fmla="*/ 0 h 1362"/>
                  <a:gd name="T170" fmla="*/ 1054 w 1054"/>
                  <a:gd name="T171" fmla="*/ 1362 h 1362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054" h="1362">
                    <a:moveTo>
                      <a:pt x="551" y="411"/>
                    </a:moveTo>
                    <a:lnTo>
                      <a:pt x="555" y="423"/>
                    </a:lnTo>
                    <a:lnTo>
                      <a:pt x="555" y="433"/>
                    </a:lnTo>
                    <a:lnTo>
                      <a:pt x="543" y="433"/>
                    </a:lnTo>
                    <a:lnTo>
                      <a:pt x="516" y="405"/>
                    </a:lnTo>
                    <a:lnTo>
                      <a:pt x="484" y="356"/>
                    </a:lnTo>
                    <a:lnTo>
                      <a:pt x="458" y="352"/>
                    </a:lnTo>
                    <a:lnTo>
                      <a:pt x="457" y="313"/>
                    </a:lnTo>
                    <a:lnTo>
                      <a:pt x="452" y="304"/>
                    </a:lnTo>
                    <a:lnTo>
                      <a:pt x="370" y="251"/>
                    </a:lnTo>
                    <a:lnTo>
                      <a:pt x="337" y="224"/>
                    </a:lnTo>
                    <a:lnTo>
                      <a:pt x="290" y="177"/>
                    </a:lnTo>
                    <a:lnTo>
                      <a:pt x="295" y="148"/>
                    </a:lnTo>
                    <a:lnTo>
                      <a:pt x="293" y="140"/>
                    </a:lnTo>
                    <a:lnTo>
                      <a:pt x="270" y="124"/>
                    </a:lnTo>
                    <a:lnTo>
                      <a:pt x="229" y="62"/>
                    </a:lnTo>
                    <a:lnTo>
                      <a:pt x="216" y="46"/>
                    </a:lnTo>
                    <a:lnTo>
                      <a:pt x="198" y="48"/>
                    </a:lnTo>
                    <a:lnTo>
                      <a:pt x="154" y="60"/>
                    </a:lnTo>
                    <a:lnTo>
                      <a:pt x="97" y="50"/>
                    </a:lnTo>
                    <a:lnTo>
                      <a:pt x="82" y="43"/>
                    </a:lnTo>
                    <a:lnTo>
                      <a:pt x="53" y="13"/>
                    </a:lnTo>
                    <a:lnTo>
                      <a:pt x="41" y="6"/>
                    </a:lnTo>
                    <a:lnTo>
                      <a:pt x="27" y="0"/>
                    </a:lnTo>
                    <a:lnTo>
                      <a:pt x="10" y="4"/>
                    </a:lnTo>
                    <a:lnTo>
                      <a:pt x="2" y="9"/>
                    </a:lnTo>
                    <a:lnTo>
                      <a:pt x="0" y="20"/>
                    </a:lnTo>
                    <a:lnTo>
                      <a:pt x="2" y="39"/>
                    </a:lnTo>
                    <a:lnTo>
                      <a:pt x="11" y="73"/>
                    </a:lnTo>
                    <a:lnTo>
                      <a:pt x="36" y="122"/>
                    </a:lnTo>
                    <a:lnTo>
                      <a:pt x="118" y="226"/>
                    </a:lnTo>
                    <a:lnTo>
                      <a:pt x="150" y="219"/>
                    </a:lnTo>
                    <a:lnTo>
                      <a:pt x="220" y="311"/>
                    </a:lnTo>
                    <a:lnTo>
                      <a:pt x="228" y="333"/>
                    </a:lnTo>
                    <a:lnTo>
                      <a:pt x="231" y="372"/>
                    </a:lnTo>
                    <a:lnTo>
                      <a:pt x="236" y="389"/>
                    </a:lnTo>
                    <a:lnTo>
                      <a:pt x="273" y="405"/>
                    </a:lnTo>
                    <a:lnTo>
                      <a:pt x="305" y="426"/>
                    </a:lnTo>
                    <a:lnTo>
                      <a:pt x="334" y="453"/>
                    </a:lnTo>
                    <a:lnTo>
                      <a:pt x="342" y="463"/>
                    </a:lnTo>
                    <a:lnTo>
                      <a:pt x="346" y="479"/>
                    </a:lnTo>
                    <a:lnTo>
                      <a:pt x="343" y="492"/>
                    </a:lnTo>
                    <a:lnTo>
                      <a:pt x="384" y="626"/>
                    </a:lnTo>
                    <a:lnTo>
                      <a:pt x="412" y="642"/>
                    </a:lnTo>
                    <a:lnTo>
                      <a:pt x="442" y="670"/>
                    </a:lnTo>
                    <a:lnTo>
                      <a:pt x="535" y="843"/>
                    </a:lnTo>
                    <a:lnTo>
                      <a:pt x="548" y="889"/>
                    </a:lnTo>
                    <a:lnTo>
                      <a:pt x="547" y="906"/>
                    </a:lnTo>
                    <a:lnTo>
                      <a:pt x="551" y="926"/>
                    </a:lnTo>
                    <a:lnTo>
                      <a:pt x="604" y="1005"/>
                    </a:lnTo>
                    <a:lnTo>
                      <a:pt x="633" y="1041"/>
                    </a:lnTo>
                    <a:lnTo>
                      <a:pt x="678" y="1075"/>
                    </a:lnTo>
                    <a:lnTo>
                      <a:pt x="687" y="1092"/>
                    </a:lnTo>
                    <a:lnTo>
                      <a:pt x="695" y="1117"/>
                    </a:lnTo>
                    <a:lnTo>
                      <a:pt x="714" y="1142"/>
                    </a:lnTo>
                    <a:lnTo>
                      <a:pt x="817" y="1237"/>
                    </a:lnTo>
                    <a:lnTo>
                      <a:pt x="920" y="1362"/>
                    </a:lnTo>
                    <a:lnTo>
                      <a:pt x="927" y="1352"/>
                    </a:lnTo>
                    <a:lnTo>
                      <a:pt x="910" y="1311"/>
                    </a:lnTo>
                    <a:lnTo>
                      <a:pt x="918" y="1308"/>
                    </a:lnTo>
                    <a:lnTo>
                      <a:pt x="965" y="1339"/>
                    </a:lnTo>
                    <a:lnTo>
                      <a:pt x="968" y="1325"/>
                    </a:lnTo>
                    <a:lnTo>
                      <a:pt x="980" y="1301"/>
                    </a:lnTo>
                    <a:lnTo>
                      <a:pt x="990" y="1306"/>
                    </a:lnTo>
                    <a:lnTo>
                      <a:pt x="1009" y="1332"/>
                    </a:lnTo>
                    <a:lnTo>
                      <a:pt x="1025" y="1346"/>
                    </a:lnTo>
                    <a:lnTo>
                      <a:pt x="1029" y="1343"/>
                    </a:lnTo>
                    <a:lnTo>
                      <a:pt x="1034" y="1334"/>
                    </a:lnTo>
                    <a:lnTo>
                      <a:pt x="1039" y="1278"/>
                    </a:lnTo>
                    <a:lnTo>
                      <a:pt x="1038" y="1228"/>
                    </a:lnTo>
                    <a:lnTo>
                      <a:pt x="1039" y="1205"/>
                    </a:lnTo>
                    <a:lnTo>
                      <a:pt x="1029" y="1156"/>
                    </a:lnTo>
                    <a:lnTo>
                      <a:pt x="1030" y="1133"/>
                    </a:lnTo>
                    <a:lnTo>
                      <a:pt x="1054" y="1028"/>
                    </a:lnTo>
                    <a:lnTo>
                      <a:pt x="1023" y="993"/>
                    </a:lnTo>
                    <a:lnTo>
                      <a:pt x="1017" y="970"/>
                    </a:lnTo>
                    <a:lnTo>
                      <a:pt x="1005" y="956"/>
                    </a:lnTo>
                    <a:lnTo>
                      <a:pt x="998" y="954"/>
                    </a:lnTo>
                    <a:lnTo>
                      <a:pt x="961" y="940"/>
                    </a:lnTo>
                    <a:lnTo>
                      <a:pt x="930" y="964"/>
                    </a:lnTo>
                    <a:lnTo>
                      <a:pt x="924" y="952"/>
                    </a:lnTo>
                    <a:lnTo>
                      <a:pt x="943" y="904"/>
                    </a:lnTo>
                    <a:lnTo>
                      <a:pt x="920" y="901"/>
                    </a:lnTo>
                    <a:lnTo>
                      <a:pt x="910" y="896"/>
                    </a:lnTo>
                    <a:lnTo>
                      <a:pt x="899" y="873"/>
                    </a:lnTo>
                    <a:lnTo>
                      <a:pt x="899" y="851"/>
                    </a:lnTo>
                    <a:lnTo>
                      <a:pt x="893" y="811"/>
                    </a:lnTo>
                    <a:lnTo>
                      <a:pt x="886" y="792"/>
                    </a:lnTo>
                    <a:lnTo>
                      <a:pt x="875" y="786"/>
                    </a:lnTo>
                    <a:lnTo>
                      <a:pt x="838" y="783"/>
                    </a:lnTo>
                    <a:lnTo>
                      <a:pt x="802" y="756"/>
                    </a:lnTo>
                    <a:lnTo>
                      <a:pt x="797" y="747"/>
                    </a:lnTo>
                    <a:lnTo>
                      <a:pt x="789" y="730"/>
                    </a:lnTo>
                    <a:lnTo>
                      <a:pt x="805" y="710"/>
                    </a:lnTo>
                    <a:lnTo>
                      <a:pt x="814" y="689"/>
                    </a:lnTo>
                    <a:lnTo>
                      <a:pt x="832" y="666"/>
                    </a:lnTo>
                    <a:lnTo>
                      <a:pt x="835" y="654"/>
                    </a:lnTo>
                    <a:lnTo>
                      <a:pt x="837" y="650"/>
                    </a:lnTo>
                    <a:lnTo>
                      <a:pt x="812" y="619"/>
                    </a:lnTo>
                    <a:lnTo>
                      <a:pt x="789" y="599"/>
                    </a:lnTo>
                    <a:lnTo>
                      <a:pt x="769" y="590"/>
                    </a:lnTo>
                    <a:lnTo>
                      <a:pt x="736" y="587"/>
                    </a:lnTo>
                    <a:lnTo>
                      <a:pt x="714" y="580"/>
                    </a:lnTo>
                    <a:lnTo>
                      <a:pt x="694" y="566"/>
                    </a:lnTo>
                    <a:lnTo>
                      <a:pt x="681" y="543"/>
                    </a:lnTo>
                    <a:lnTo>
                      <a:pt x="669" y="504"/>
                    </a:lnTo>
                    <a:lnTo>
                      <a:pt x="654" y="485"/>
                    </a:lnTo>
                    <a:lnTo>
                      <a:pt x="634" y="474"/>
                    </a:lnTo>
                    <a:lnTo>
                      <a:pt x="616" y="472"/>
                    </a:lnTo>
                    <a:lnTo>
                      <a:pt x="596" y="451"/>
                    </a:lnTo>
                    <a:lnTo>
                      <a:pt x="576" y="409"/>
                    </a:lnTo>
                    <a:lnTo>
                      <a:pt x="554" y="398"/>
                    </a:lnTo>
                    <a:lnTo>
                      <a:pt x="551" y="411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96" name="Freeform 160"/>
              <p:cNvSpPr>
                <a:spLocks/>
              </p:cNvSpPr>
              <p:nvPr>
                <p:custDataLst>
                  <p:tags r:id="rId221"/>
                </p:custDataLst>
              </p:nvPr>
            </p:nvSpPr>
            <p:spPr bwMode="auto">
              <a:xfrm>
                <a:off x="4417" y="2931"/>
                <a:ext cx="20" cy="26"/>
              </a:xfrm>
              <a:custGeom>
                <a:avLst/>
                <a:gdLst>
                  <a:gd name="T0" fmla="*/ 64 w 141"/>
                  <a:gd name="T1" fmla="*/ 0 h 180"/>
                  <a:gd name="T2" fmla="*/ 51 w 141"/>
                  <a:gd name="T3" fmla="*/ 14 h 180"/>
                  <a:gd name="T4" fmla="*/ 44 w 141"/>
                  <a:gd name="T5" fmla="*/ 38 h 180"/>
                  <a:gd name="T6" fmla="*/ 22 w 141"/>
                  <a:gd name="T7" fmla="*/ 8 h 180"/>
                  <a:gd name="T8" fmla="*/ 12 w 141"/>
                  <a:gd name="T9" fmla="*/ 21 h 180"/>
                  <a:gd name="T10" fmla="*/ 0 w 141"/>
                  <a:gd name="T11" fmla="*/ 56 h 180"/>
                  <a:gd name="T12" fmla="*/ 4 w 141"/>
                  <a:gd name="T13" fmla="*/ 63 h 180"/>
                  <a:gd name="T14" fmla="*/ 23 w 141"/>
                  <a:gd name="T15" fmla="*/ 61 h 180"/>
                  <a:gd name="T16" fmla="*/ 37 w 141"/>
                  <a:gd name="T17" fmla="*/ 67 h 180"/>
                  <a:gd name="T18" fmla="*/ 59 w 141"/>
                  <a:gd name="T19" fmla="*/ 88 h 180"/>
                  <a:gd name="T20" fmla="*/ 67 w 141"/>
                  <a:gd name="T21" fmla="*/ 107 h 180"/>
                  <a:gd name="T22" fmla="*/ 68 w 141"/>
                  <a:gd name="T23" fmla="*/ 127 h 180"/>
                  <a:gd name="T24" fmla="*/ 77 w 141"/>
                  <a:gd name="T25" fmla="*/ 146 h 180"/>
                  <a:gd name="T26" fmla="*/ 93 w 141"/>
                  <a:gd name="T27" fmla="*/ 158 h 180"/>
                  <a:gd name="T28" fmla="*/ 132 w 141"/>
                  <a:gd name="T29" fmla="*/ 180 h 180"/>
                  <a:gd name="T30" fmla="*/ 125 w 141"/>
                  <a:gd name="T31" fmla="*/ 150 h 180"/>
                  <a:gd name="T32" fmla="*/ 129 w 141"/>
                  <a:gd name="T33" fmla="*/ 135 h 180"/>
                  <a:gd name="T34" fmla="*/ 141 w 141"/>
                  <a:gd name="T35" fmla="*/ 125 h 180"/>
                  <a:gd name="T36" fmla="*/ 109 w 141"/>
                  <a:gd name="T37" fmla="*/ 109 h 180"/>
                  <a:gd name="T38" fmla="*/ 81 w 141"/>
                  <a:gd name="T39" fmla="*/ 67 h 180"/>
                  <a:gd name="T40" fmla="*/ 64 w 141"/>
                  <a:gd name="T41" fmla="*/ 0 h 180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41"/>
                  <a:gd name="T64" fmla="*/ 0 h 180"/>
                  <a:gd name="T65" fmla="*/ 141 w 141"/>
                  <a:gd name="T66" fmla="*/ 180 h 180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41" h="180">
                    <a:moveTo>
                      <a:pt x="64" y="0"/>
                    </a:moveTo>
                    <a:lnTo>
                      <a:pt x="51" y="14"/>
                    </a:lnTo>
                    <a:lnTo>
                      <a:pt x="44" y="38"/>
                    </a:lnTo>
                    <a:lnTo>
                      <a:pt x="22" y="8"/>
                    </a:lnTo>
                    <a:lnTo>
                      <a:pt x="12" y="21"/>
                    </a:lnTo>
                    <a:lnTo>
                      <a:pt x="0" y="56"/>
                    </a:lnTo>
                    <a:lnTo>
                      <a:pt x="4" y="63"/>
                    </a:lnTo>
                    <a:lnTo>
                      <a:pt x="23" y="61"/>
                    </a:lnTo>
                    <a:lnTo>
                      <a:pt x="37" y="67"/>
                    </a:lnTo>
                    <a:lnTo>
                      <a:pt x="59" y="88"/>
                    </a:lnTo>
                    <a:lnTo>
                      <a:pt x="67" y="107"/>
                    </a:lnTo>
                    <a:lnTo>
                      <a:pt x="68" y="127"/>
                    </a:lnTo>
                    <a:lnTo>
                      <a:pt x="77" y="146"/>
                    </a:lnTo>
                    <a:lnTo>
                      <a:pt x="93" y="158"/>
                    </a:lnTo>
                    <a:lnTo>
                      <a:pt x="132" y="180"/>
                    </a:lnTo>
                    <a:lnTo>
                      <a:pt x="125" y="150"/>
                    </a:lnTo>
                    <a:lnTo>
                      <a:pt x="129" y="135"/>
                    </a:lnTo>
                    <a:lnTo>
                      <a:pt x="141" y="125"/>
                    </a:lnTo>
                    <a:lnTo>
                      <a:pt x="109" y="109"/>
                    </a:lnTo>
                    <a:lnTo>
                      <a:pt x="81" y="67"/>
                    </a:lnTo>
                    <a:lnTo>
                      <a:pt x="64" y="0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97" name="Freeform 161"/>
              <p:cNvSpPr>
                <a:spLocks/>
              </p:cNvSpPr>
              <p:nvPr>
                <p:custDataLst>
                  <p:tags r:id="rId222"/>
                </p:custDataLst>
              </p:nvPr>
            </p:nvSpPr>
            <p:spPr bwMode="auto">
              <a:xfrm>
                <a:off x="4415" y="3007"/>
                <a:ext cx="135" cy="47"/>
              </a:xfrm>
              <a:custGeom>
                <a:avLst/>
                <a:gdLst>
                  <a:gd name="T0" fmla="*/ 77 w 900"/>
                  <a:gd name="T1" fmla="*/ 0 h 323"/>
                  <a:gd name="T2" fmla="*/ 63 w 900"/>
                  <a:gd name="T3" fmla="*/ 26 h 323"/>
                  <a:gd name="T4" fmla="*/ 52 w 900"/>
                  <a:gd name="T5" fmla="*/ 51 h 323"/>
                  <a:gd name="T6" fmla="*/ 47 w 900"/>
                  <a:gd name="T7" fmla="*/ 86 h 323"/>
                  <a:gd name="T8" fmla="*/ 13 w 900"/>
                  <a:gd name="T9" fmla="*/ 88 h 323"/>
                  <a:gd name="T10" fmla="*/ 4 w 900"/>
                  <a:gd name="T11" fmla="*/ 99 h 323"/>
                  <a:gd name="T12" fmla="*/ 95 w 900"/>
                  <a:gd name="T13" fmla="*/ 115 h 323"/>
                  <a:gd name="T14" fmla="*/ 138 w 900"/>
                  <a:gd name="T15" fmla="*/ 132 h 323"/>
                  <a:gd name="T16" fmla="*/ 115 w 900"/>
                  <a:gd name="T17" fmla="*/ 166 h 323"/>
                  <a:gd name="T18" fmla="*/ 201 w 900"/>
                  <a:gd name="T19" fmla="*/ 176 h 323"/>
                  <a:gd name="T20" fmla="*/ 254 w 900"/>
                  <a:gd name="T21" fmla="*/ 206 h 323"/>
                  <a:gd name="T22" fmla="*/ 316 w 900"/>
                  <a:gd name="T23" fmla="*/ 212 h 323"/>
                  <a:gd name="T24" fmla="*/ 381 w 900"/>
                  <a:gd name="T25" fmla="*/ 199 h 323"/>
                  <a:gd name="T26" fmla="*/ 517 w 900"/>
                  <a:gd name="T27" fmla="*/ 256 h 323"/>
                  <a:gd name="T28" fmla="*/ 713 w 900"/>
                  <a:gd name="T29" fmla="*/ 289 h 323"/>
                  <a:gd name="T30" fmla="*/ 754 w 900"/>
                  <a:gd name="T31" fmla="*/ 272 h 323"/>
                  <a:gd name="T32" fmla="*/ 843 w 900"/>
                  <a:gd name="T33" fmla="*/ 302 h 323"/>
                  <a:gd name="T34" fmla="*/ 900 w 900"/>
                  <a:gd name="T35" fmla="*/ 323 h 323"/>
                  <a:gd name="T36" fmla="*/ 883 w 900"/>
                  <a:gd name="T37" fmla="*/ 256 h 323"/>
                  <a:gd name="T38" fmla="*/ 891 w 900"/>
                  <a:gd name="T39" fmla="*/ 224 h 323"/>
                  <a:gd name="T40" fmla="*/ 844 w 900"/>
                  <a:gd name="T41" fmla="*/ 212 h 323"/>
                  <a:gd name="T42" fmla="*/ 777 w 900"/>
                  <a:gd name="T43" fmla="*/ 217 h 323"/>
                  <a:gd name="T44" fmla="*/ 733 w 900"/>
                  <a:gd name="T45" fmla="*/ 194 h 323"/>
                  <a:gd name="T46" fmla="*/ 725 w 900"/>
                  <a:gd name="T47" fmla="*/ 145 h 323"/>
                  <a:gd name="T48" fmla="*/ 630 w 900"/>
                  <a:gd name="T49" fmla="*/ 104 h 323"/>
                  <a:gd name="T50" fmla="*/ 578 w 900"/>
                  <a:gd name="T51" fmla="*/ 97 h 323"/>
                  <a:gd name="T52" fmla="*/ 556 w 900"/>
                  <a:gd name="T53" fmla="*/ 60 h 323"/>
                  <a:gd name="T54" fmla="*/ 525 w 900"/>
                  <a:gd name="T55" fmla="*/ 74 h 323"/>
                  <a:gd name="T56" fmla="*/ 500 w 900"/>
                  <a:gd name="T57" fmla="*/ 118 h 323"/>
                  <a:gd name="T58" fmla="*/ 415 w 900"/>
                  <a:gd name="T59" fmla="*/ 113 h 323"/>
                  <a:gd name="T60" fmla="*/ 373 w 900"/>
                  <a:gd name="T61" fmla="*/ 108 h 323"/>
                  <a:gd name="T62" fmla="*/ 327 w 900"/>
                  <a:gd name="T63" fmla="*/ 78 h 323"/>
                  <a:gd name="T64" fmla="*/ 296 w 900"/>
                  <a:gd name="T65" fmla="*/ 39 h 323"/>
                  <a:gd name="T66" fmla="*/ 257 w 900"/>
                  <a:gd name="T67" fmla="*/ 49 h 323"/>
                  <a:gd name="T68" fmla="*/ 233 w 900"/>
                  <a:gd name="T69" fmla="*/ 39 h 323"/>
                  <a:gd name="T70" fmla="*/ 188 w 900"/>
                  <a:gd name="T71" fmla="*/ 7 h 323"/>
                  <a:gd name="T72" fmla="*/ 175 w 900"/>
                  <a:gd name="T73" fmla="*/ 12 h 323"/>
                  <a:gd name="T74" fmla="*/ 145 w 900"/>
                  <a:gd name="T75" fmla="*/ 33 h 323"/>
                  <a:gd name="T76" fmla="*/ 114 w 900"/>
                  <a:gd name="T77" fmla="*/ 12 h 323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900"/>
                  <a:gd name="T118" fmla="*/ 0 h 323"/>
                  <a:gd name="T119" fmla="*/ 900 w 900"/>
                  <a:gd name="T120" fmla="*/ 323 h 323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900" h="323">
                    <a:moveTo>
                      <a:pt x="86" y="7"/>
                    </a:moveTo>
                    <a:lnTo>
                      <a:pt x="77" y="0"/>
                    </a:lnTo>
                    <a:lnTo>
                      <a:pt x="73" y="14"/>
                    </a:lnTo>
                    <a:lnTo>
                      <a:pt x="63" y="26"/>
                    </a:lnTo>
                    <a:lnTo>
                      <a:pt x="65" y="53"/>
                    </a:lnTo>
                    <a:lnTo>
                      <a:pt x="52" y="51"/>
                    </a:lnTo>
                    <a:lnTo>
                      <a:pt x="50" y="58"/>
                    </a:lnTo>
                    <a:lnTo>
                      <a:pt x="47" y="86"/>
                    </a:lnTo>
                    <a:lnTo>
                      <a:pt x="31" y="92"/>
                    </a:lnTo>
                    <a:lnTo>
                      <a:pt x="13" y="88"/>
                    </a:lnTo>
                    <a:lnTo>
                      <a:pt x="0" y="88"/>
                    </a:lnTo>
                    <a:lnTo>
                      <a:pt x="4" y="99"/>
                    </a:lnTo>
                    <a:lnTo>
                      <a:pt x="73" y="106"/>
                    </a:lnTo>
                    <a:lnTo>
                      <a:pt x="95" y="115"/>
                    </a:lnTo>
                    <a:lnTo>
                      <a:pt x="120" y="118"/>
                    </a:lnTo>
                    <a:lnTo>
                      <a:pt x="138" y="132"/>
                    </a:lnTo>
                    <a:lnTo>
                      <a:pt x="117" y="157"/>
                    </a:lnTo>
                    <a:lnTo>
                      <a:pt x="115" y="166"/>
                    </a:lnTo>
                    <a:lnTo>
                      <a:pt x="132" y="173"/>
                    </a:lnTo>
                    <a:lnTo>
                      <a:pt x="201" y="176"/>
                    </a:lnTo>
                    <a:lnTo>
                      <a:pt x="218" y="180"/>
                    </a:lnTo>
                    <a:lnTo>
                      <a:pt x="254" y="206"/>
                    </a:lnTo>
                    <a:lnTo>
                      <a:pt x="295" y="215"/>
                    </a:lnTo>
                    <a:lnTo>
                      <a:pt x="316" y="212"/>
                    </a:lnTo>
                    <a:lnTo>
                      <a:pt x="340" y="196"/>
                    </a:lnTo>
                    <a:lnTo>
                      <a:pt x="381" y="199"/>
                    </a:lnTo>
                    <a:lnTo>
                      <a:pt x="480" y="231"/>
                    </a:lnTo>
                    <a:lnTo>
                      <a:pt x="517" y="256"/>
                    </a:lnTo>
                    <a:lnTo>
                      <a:pt x="553" y="270"/>
                    </a:lnTo>
                    <a:lnTo>
                      <a:pt x="713" y="289"/>
                    </a:lnTo>
                    <a:lnTo>
                      <a:pt x="728" y="286"/>
                    </a:lnTo>
                    <a:lnTo>
                      <a:pt x="754" y="272"/>
                    </a:lnTo>
                    <a:lnTo>
                      <a:pt x="777" y="272"/>
                    </a:lnTo>
                    <a:lnTo>
                      <a:pt x="843" y="302"/>
                    </a:lnTo>
                    <a:lnTo>
                      <a:pt x="879" y="312"/>
                    </a:lnTo>
                    <a:lnTo>
                      <a:pt x="900" y="323"/>
                    </a:lnTo>
                    <a:lnTo>
                      <a:pt x="875" y="282"/>
                    </a:lnTo>
                    <a:lnTo>
                      <a:pt x="883" y="256"/>
                    </a:lnTo>
                    <a:lnTo>
                      <a:pt x="892" y="235"/>
                    </a:lnTo>
                    <a:lnTo>
                      <a:pt x="891" y="224"/>
                    </a:lnTo>
                    <a:lnTo>
                      <a:pt x="863" y="212"/>
                    </a:lnTo>
                    <a:lnTo>
                      <a:pt x="844" y="212"/>
                    </a:lnTo>
                    <a:lnTo>
                      <a:pt x="824" y="222"/>
                    </a:lnTo>
                    <a:lnTo>
                      <a:pt x="777" y="217"/>
                    </a:lnTo>
                    <a:lnTo>
                      <a:pt x="738" y="199"/>
                    </a:lnTo>
                    <a:lnTo>
                      <a:pt x="733" y="194"/>
                    </a:lnTo>
                    <a:lnTo>
                      <a:pt x="720" y="169"/>
                    </a:lnTo>
                    <a:lnTo>
                      <a:pt x="725" y="145"/>
                    </a:lnTo>
                    <a:lnTo>
                      <a:pt x="700" y="118"/>
                    </a:lnTo>
                    <a:lnTo>
                      <a:pt x="630" y="104"/>
                    </a:lnTo>
                    <a:lnTo>
                      <a:pt x="606" y="104"/>
                    </a:lnTo>
                    <a:lnTo>
                      <a:pt x="578" y="97"/>
                    </a:lnTo>
                    <a:lnTo>
                      <a:pt x="566" y="71"/>
                    </a:lnTo>
                    <a:lnTo>
                      <a:pt x="556" y="60"/>
                    </a:lnTo>
                    <a:lnTo>
                      <a:pt x="537" y="60"/>
                    </a:lnTo>
                    <a:lnTo>
                      <a:pt x="525" y="74"/>
                    </a:lnTo>
                    <a:lnTo>
                      <a:pt x="515" y="109"/>
                    </a:lnTo>
                    <a:lnTo>
                      <a:pt x="500" y="118"/>
                    </a:lnTo>
                    <a:lnTo>
                      <a:pt x="479" y="120"/>
                    </a:lnTo>
                    <a:lnTo>
                      <a:pt x="415" y="113"/>
                    </a:lnTo>
                    <a:lnTo>
                      <a:pt x="394" y="116"/>
                    </a:lnTo>
                    <a:lnTo>
                      <a:pt x="373" y="108"/>
                    </a:lnTo>
                    <a:lnTo>
                      <a:pt x="335" y="106"/>
                    </a:lnTo>
                    <a:lnTo>
                      <a:pt x="327" y="78"/>
                    </a:lnTo>
                    <a:lnTo>
                      <a:pt x="310" y="49"/>
                    </a:lnTo>
                    <a:lnTo>
                      <a:pt x="296" y="39"/>
                    </a:lnTo>
                    <a:lnTo>
                      <a:pt x="278" y="49"/>
                    </a:lnTo>
                    <a:lnTo>
                      <a:pt x="257" y="49"/>
                    </a:lnTo>
                    <a:lnTo>
                      <a:pt x="247" y="35"/>
                    </a:lnTo>
                    <a:lnTo>
                      <a:pt x="233" y="39"/>
                    </a:lnTo>
                    <a:lnTo>
                      <a:pt x="214" y="16"/>
                    </a:lnTo>
                    <a:lnTo>
                      <a:pt x="188" y="7"/>
                    </a:lnTo>
                    <a:lnTo>
                      <a:pt x="176" y="0"/>
                    </a:lnTo>
                    <a:lnTo>
                      <a:pt x="175" y="12"/>
                    </a:lnTo>
                    <a:lnTo>
                      <a:pt x="169" y="28"/>
                    </a:lnTo>
                    <a:lnTo>
                      <a:pt x="145" y="33"/>
                    </a:lnTo>
                    <a:lnTo>
                      <a:pt x="135" y="11"/>
                    </a:lnTo>
                    <a:lnTo>
                      <a:pt x="114" y="12"/>
                    </a:lnTo>
                    <a:lnTo>
                      <a:pt x="86" y="7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98" name="Freeform 162"/>
              <p:cNvSpPr>
                <a:spLocks/>
              </p:cNvSpPr>
              <p:nvPr>
                <p:custDataLst>
                  <p:tags r:id="rId223"/>
                </p:custDataLst>
              </p:nvPr>
            </p:nvSpPr>
            <p:spPr bwMode="auto">
              <a:xfrm>
                <a:off x="4614" y="2874"/>
                <a:ext cx="95" cy="128"/>
              </a:xfrm>
              <a:custGeom>
                <a:avLst/>
                <a:gdLst>
                  <a:gd name="T0" fmla="*/ 618 w 622"/>
                  <a:gd name="T1" fmla="*/ 0 h 871"/>
                  <a:gd name="T2" fmla="*/ 576 w 622"/>
                  <a:gd name="T3" fmla="*/ 37 h 871"/>
                  <a:gd name="T4" fmla="*/ 565 w 622"/>
                  <a:gd name="T5" fmla="*/ 81 h 871"/>
                  <a:gd name="T6" fmla="*/ 424 w 622"/>
                  <a:gd name="T7" fmla="*/ 102 h 871"/>
                  <a:gd name="T8" fmla="*/ 306 w 622"/>
                  <a:gd name="T9" fmla="*/ 93 h 871"/>
                  <a:gd name="T10" fmla="*/ 228 w 622"/>
                  <a:gd name="T11" fmla="*/ 56 h 871"/>
                  <a:gd name="T12" fmla="*/ 172 w 622"/>
                  <a:gd name="T13" fmla="*/ 118 h 871"/>
                  <a:gd name="T14" fmla="*/ 122 w 622"/>
                  <a:gd name="T15" fmla="*/ 129 h 871"/>
                  <a:gd name="T16" fmla="*/ 90 w 622"/>
                  <a:gd name="T17" fmla="*/ 250 h 871"/>
                  <a:gd name="T18" fmla="*/ 56 w 622"/>
                  <a:gd name="T19" fmla="*/ 335 h 871"/>
                  <a:gd name="T20" fmla="*/ 57 w 622"/>
                  <a:gd name="T21" fmla="*/ 421 h 871"/>
                  <a:gd name="T22" fmla="*/ 7 w 622"/>
                  <a:gd name="T23" fmla="*/ 515 h 871"/>
                  <a:gd name="T24" fmla="*/ 12 w 622"/>
                  <a:gd name="T25" fmla="*/ 620 h 871"/>
                  <a:gd name="T26" fmla="*/ 69 w 622"/>
                  <a:gd name="T27" fmla="*/ 617 h 871"/>
                  <a:gd name="T28" fmla="*/ 82 w 622"/>
                  <a:gd name="T29" fmla="*/ 682 h 871"/>
                  <a:gd name="T30" fmla="*/ 69 w 622"/>
                  <a:gd name="T31" fmla="*/ 855 h 871"/>
                  <a:gd name="T32" fmla="*/ 122 w 622"/>
                  <a:gd name="T33" fmla="*/ 855 h 871"/>
                  <a:gd name="T34" fmla="*/ 143 w 622"/>
                  <a:gd name="T35" fmla="*/ 803 h 871"/>
                  <a:gd name="T36" fmla="*/ 144 w 622"/>
                  <a:gd name="T37" fmla="*/ 706 h 871"/>
                  <a:gd name="T38" fmla="*/ 144 w 622"/>
                  <a:gd name="T39" fmla="*/ 552 h 871"/>
                  <a:gd name="T40" fmla="*/ 221 w 622"/>
                  <a:gd name="T41" fmla="*/ 522 h 871"/>
                  <a:gd name="T42" fmla="*/ 212 w 622"/>
                  <a:gd name="T43" fmla="*/ 601 h 871"/>
                  <a:gd name="T44" fmla="*/ 278 w 622"/>
                  <a:gd name="T45" fmla="*/ 687 h 871"/>
                  <a:gd name="T46" fmla="*/ 272 w 622"/>
                  <a:gd name="T47" fmla="*/ 761 h 871"/>
                  <a:gd name="T48" fmla="*/ 324 w 622"/>
                  <a:gd name="T49" fmla="*/ 736 h 871"/>
                  <a:gd name="T50" fmla="*/ 391 w 622"/>
                  <a:gd name="T51" fmla="*/ 721 h 871"/>
                  <a:gd name="T52" fmla="*/ 365 w 622"/>
                  <a:gd name="T53" fmla="*/ 671 h 871"/>
                  <a:gd name="T54" fmla="*/ 352 w 622"/>
                  <a:gd name="T55" fmla="*/ 568 h 871"/>
                  <a:gd name="T56" fmla="*/ 254 w 622"/>
                  <a:gd name="T57" fmla="*/ 437 h 871"/>
                  <a:gd name="T58" fmla="*/ 275 w 622"/>
                  <a:gd name="T59" fmla="*/ 425 h 871"/>
                  <a:gd name="T60" fmla="*/ 302 w 622"/>
                  <a:gd name="T61" fmla="*/ 409 h 871"/>
                  <a:gd name="T62" fmla="*/ 385 w 622"/>
                  <a:gd name="T63" fmla="*/ 335 h 871"/>
                  <a:gd name="T64" fmla="*/ 445 w 622"/>
                  <a:gd name="T65" fmla="*/ 337 h 871"/>
                  <a:gd name="T66" fmla="*/ 424 w 622"/>
                  <a:gd name="T67" fmla="*/ 277 h 871"/>
                  <a:gd name="T68" fmla="*/ 342 w 622"/>
                  <a:gd name="T69" fmla="*/ 310 h 871"/>
                  <a:gd name="T70" fmla="*/ 291 w 622"/>
                  <a:gd name="T71" fmla="*/ 310 h 871"/>
                  <a:gd name="T72" fmla="*/ 233 w 622"/>
                  <a:gd name="T73" fmla="*/ 374 h 871"/>
                  <a:gd name="T74" fmla="*/ 180 w 622"/>
                  <a:gd name="T75" fmla="*/ 362 h 871"/>
                  <a:gd name="T76" fmla="*/ 142 w 622"/>
                  <a:gd name="T77" fmla="*/ 307 h 871"/>
                  <a:gd name="T78" fmla="*/ 118 w 622"/>
                  <a:gd name="T79" fmla="*/ 247 h 871"/>
                  <a:gd name="T80" fmla="*/ 164 w 622"/>
                  <a:gd name="T81" fmla="*/ 152 h 871"/>
                  <a:gd name="T82" fmla="*/ 237 w 622"/>
                  <a:gd name="T83" fmla="*/ 148 h 871"/>
                  <a:gd name="T84" fmla="*/ 470 w 622"/>
                  <a:gd name="T85" fmla="*/ 175 h 871"/>
                  <a:gd name="T86" fmla="*/ 606 w 622"/>
                  <a:gd name="T87" fmla="*/ 70 h 871"/>
                  <a:gd name="T88" fmla="*/ 618 w 622"/>
                  <a:gd name="T89" fmla="*/ 40 h 871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622"/>
                  <a:gd name="T136" fmla="*/ 0 h 871"/>
                  <a:gd name="T137" fmla="*/ 622 w 622"/>
                  <a:gd name="T138" fmla="*/ 871 h 871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622" h="871">
                    <a:moveTo>
                      <a:pt x="618" y="40"/>
                    </a:moveTo>
                    <a:lnTo>
                      <a:pt x="622" y="12"/>
                    </a:lnTo>
                    <a:lnTo>
                      <a:pt x="618" y="0"/>
                    </a:lnTo>
                    <a:lnTo>
                      <a:pt x="605" y="3"/>
                    </a:lnTo>
                    <a:lnTo>
                      <a:pt x="593" y="25"/>
                    </a:lnTo>
                    <a:lnTo>
                      <a:pt x="576" y="37"/>
                    </a:lnTo>
                    <a:lnTo>
                      <a:pt x="567" y="51"/>
                    </a:lnTo>
                    <a:lnTo>
                      <a:pt x="575" y="65"/>
                    </a:lnTo>
                    <a:lnTo>
                      <a:pt x="565" y="81"/>
                    </a:lnTo>
                    <a:lnTo>
                      <a:pt x="537" y="99"/>
                    </a:lnTo>
                    <a:lnTo>
                      <a:pt x="506" y="106"/>
                    </a:lnTo>
                    <a:lnTo>
                      <a:pt x="424" y="102"/>
                    </a:lnTo>
                    <a:lnTo>
                      <a:pt x="398" y="115"/>
                    </a:lnTo>
                    <a:lnTo>
                      <a:pt x="344" y="92"/>
                    </a:lnTo>
                    <a:lnTo>
                      <a:pt x="306" y="93"/>
                    </a:lnTo>
                    <a:lnTo>
                      <a:pt x="287" y="92"/>
                    </a:lnTo>
                    <a:lnTo>
                      <a:pt x="254" y="63"/>
                    </a:lnTo>
                    <a:lnTo>
                      <a:pt x="228" y="56"/>
                    </a:lnTo>
                    <a:lnTo>
                      <a:pt x="205" y="60"/>
                    </a:lnTo>
                    <a:lnTo>
                      <a:pt x="187" y="102"/>
                    </a:lnTo>
                    <a:lnTo>
                      <a:pt x="172" y="118"/>
                    </a:lnTo>
                    <a:lnTo>
                      <a:pt x="154" y="100"/>
                    </a:lnTo>
                    <a:lnTo>
                      <a:pt x="142" y="108"/>
                    </a:lnTo>
                    <a:lnTo>
                      <a:pt x="122" y="129"/>
                    </a:lnTo>
                    <a:lnTo>
                      <a:pt x="101" y="192"/>
                    </a:lnTo>
                    <a:lnTo>
                      <a:pt x="101" y="194"/>
                    </a:lnTo>
                    <a:lnTo>
                      <a:pt x="90" y="250"/>
                    </a:lnTo>
                    <a:lnTo>
                      <a:pt x="91" y="294"/>
                    </a:lnTo>
                    <a:lnTo>
                      <a:pt x="72" y="298"/>
                    </a:lnTo>
                    <a:lnTo>
                      <a:pt x="56" y="335"/>
                    </a:lnTo>
                    <a:lnTo>
                      <a:pt x="53" y="360"/>
                    </a:lnTo>
                    <a:lnTo>
                      <a:pt x="53" y="372"/>
                    </a:lnTo>
                    <a:lnTo>
                      <a:pt x="57" y="421"/>
                    </a:lnTo>
                    <a:lnTo>
                      <a:pt x="49" y="446"/>
                    </a:lnTo>
                    <a:lnTo>
                      <a:pt x="29" y="487"/>
                    </a:lnTo>
                    <a:lnTo>
                      <a:pt x="7" y="515"/>
                    </a:lnTo>
                    <a:lnTo>
                      <a:pt x="0" y="531"/>
                    </a:lnTo>
                    <a:lnTo>
                      <a:pt x="12" y="599"/>
                    </a:lnTo>
                    <a:lnTo>
                      <a:pt x="12" y="620"/>
                    </a:lnTo>
                    <a:lnTo>
                      <a:pt x="37" y="620"/>
                    </a:lnTo>
                    <a:lnTo>
                      <a:pt x="54" y="611"/>
                    </a:lnTo>
                    <a:lnTo>
                      <a:pt x="69" y="617"/>
                    </a:lnTo>
                    <a:lnTo>
                      <a:pt x="78" y="638"/>
                    </a:lnTo>
                    <a:lnTo>
                      <a:pt x="77" y="655"/>
                    </a:lnTo>
                    <a:lnTo>
                      <a:pt x="82" y="682"/>
                    </a:lnTo>
                    <a:lnTo>
                      <a:pt x="77" y="784"/>
                    </a:lnTo>
                    <a:lnTo>
                      <a:pt x="61" y="826"/>
                    </a:lnTo>
                    <a:lnTo>
                      <a:pt x="69" y="855"/>
                    </a:lnTo>
                    <a:lnTo>
                      <a:pt x="79" y="871"/>
                    </a:lnTo>
                    <a:lnTo>
                      <a:pt x="101" y="867"/>
                    </a:lnTo>
                    <a:lnTo>
                      <a:pt x="122" y="855"/>
                    </a:lnTo>
                    <a:lnTo>
                      <a:pt x="155" y="846"/>
                    </a:lnTo>
                    <a:lnTo>
                      <a:pt x="143" y="816"/>
                    </a:lnTo>
                    <a:lnTo>
                      <a:pt x="143" y="803"/>
                    </a:lnTo>
                    <a:lnTo>
                      <a:pt x="159" y="770"/>
                    </a:lnTo>
                    <a:lnTo>
                      <a:pt x="160" y="754"/>
                    </a:lnTo>
                    <a:lnTo>
                      <a:pt x="144" y="706"/>
                    </a:lnTo>
                    <a:lnTo>
                      <a:pt x="158" y="620"/>
                    </a:lnTo>
                    <a:lnTo>
                      <a:pt x="152" y="570"/>
                    </a:lnTo>
                    <a:lnTo>
                      <a:pt x="144" y="552"/>
                    </a:lnTo>
                    <a:lnTo>
                      <a:pt x="167" y="531"/>
                    </a:lnTo>
                    <a:lnTo>
                      <a:pt x="189" y="518"/>
                    </a:lnTo>
                    <a:lnTo>
                      <a:pt x="221" y="522"/>
                    </a:lnTo>
                    <a:lnTo>
                      <a:pt x="229" y="548"/>
                    </a:lnTo>
                    <a:lnTo>
                      <a:pt x="223" y="579"/>
                    </a:lnTo>
                    <a:lnTo>
                      <a:pt x="212" y="601"/>
                    </a:lnTo>
                    <a:lnTo>
                      <a:pt x="209" y="613"/>
                    </a:lnTo>
                    <a:lnTo>
                      <a:pt x="217" y="627"/>
                    </a:lnTo>
                    <a:lnTo>
                      <a:pt x="278" y="687"/>
                    </a:lnTo>
                    <a:lnTo>
                      <a:pt x="269" y="719"/>
                    </a:lnTo>
                    <a:lnTo>
                      <a:pt x="267" y="752"/>
                    </a:lnTo>
                    <a:lnTo>
                      <a:pt x="272" y="761"/>
                    </a:lnTo>
                    <a:lnTo>
                      <a:pt x="293" y="772"/>
                    </a:lnTo>
                    <a:lnTo>
                      <a:pt x="314" y="772"/>
                    </a:lnTo>
                    <a:lnTo>
                      <a:pt x="324" y="736"/>
                    </a:lnTo>
                    <a:lnTo>
                      <a:pt x="342" y="721"/>
                    </a:lnTo>
                    <a:lnTo>
                      <a:pt x="371" y="717"/>
                    </a:lnTo>
                    <a:lnTo>
                      <a:pt x="391" y="721"/>
                    </a:lnTo>
                    <a:lnTo>
                      <a:pt x="392" y="705"/>
                    </a:lnTo>
                    <a:lnTo>
                      <a:pt x="389" y="694"/>
                    </a:lnTo>
                    <a:lnTo>
                      <a:pt x="365" y="671"/>
                    </a:lnTo>
                    <a:lnTo>
                      <a:pt x="344" y="643"/>
                    </a:lnTo>
                    <a:lnTo>
                      <a:pt x="340" y="620"/>
                    </a:lnTo>
                    <a:lnTo>
                      <a:pt x="352" y="568"/>
                    </a:lnTo>
                    <a:lnTo>
                      <a:pt x="294" y="474"/>
                    </a:lnTo>
                    <a:lnTo>
                      <a:pt x="263" y="444"/>
                    </a:lnTo>
                    <a:lnTo>
                      <a:pt x="254" y="437"/>
                    </a:lnTo>
                    <a:lnTo>
                      <a:pt x="253" y="421"/>
                    </a:lnTo>
                    <a:lnTo>
                      <a:pt x="254" y="418"/>
                    </a:lnTo>
                    <a:lnTo>
                      <a:pt x="275" y="425"/>
                    </a:lnTo>
                    <a:lnTo>
                      <a:pt x="286" y="427"/>
                    </a:lnTo>
                    <a:lnTo>
                      <a:pt x="293" y="425"/>
                    </a:lnTo>
                    <a:lnTo>
                      <a:pt x="302" y="409"/>
                    </a:lnTo>
                    <a:lnTo>
                      <a:pt x="349" y="384"/>
                    </a:lnTo>
                    <a:lnTo>
                      <a:pt x="368" y="363"/>
                    </a:lnTo>
                    <a:lnTo>
                      <a:pt x="385" y="335"/>
                    </a:lnTo>
                    <a:lnTo>
                      <a:pt x="401" y="319"/>
                    </a:lnTo>
                    <a:lnTo>
                      <a:pt x="425" y="323"/>
                    </a:lnTo>
                    <a:lnTo>
                      <a:pt x="445" y="337"/>
                    </a:lnTo>
                    <a:lnTo>
                      <a:pt x="449" y="298"/>
                    </a:lnTo>
                    <a:lnTo>
                      <a:pt x="444" y="286"/>
                    </a:lnTo>
                    <a:lnTo>
                      <a:pt x="424" y="277"/>
                    </a:lnTo>
                    <a:lnTo>
                      <a:pt x="412" y="279"/>
                    </a:lnTo>
                    <a:lnTo>
                      <a:pt x="400" y="294"/>
                    </a:lnTo>
                    <a:lnTo>
                      <a:pt x="342" y="310"/>
                    </a:lnTo>
                    <a:lnTo>
                      <a:pt x="326" y="323"/>
                    </a:lnTo>
                    <a:lnTo>
                      <a:pt x="305" y="321"/>
                    </a:lnTo>
                    <a:lnTo>
                      <a:pt x="291" y="310"/>
                    </a:lnTo>
                    <a:lnTo>
                      <a:pt x="274" y="307"/>
                    </a:lnTo>
                    <a:lnTo>
                      <a:pt x="245" y="358"/>
                    </a:lnTo>
                    <a:lnTo>
                      <a:pt x="233" y="374"/>
                    </a:lnTo>
                    <a:lnTo>
                      <a:pt x="197" y="372"/>
                    </a:lnTo>
                    <a:lnTo>
                      <a:pt x="188" y="369"/>
                    </a:lnTo>
                    <a:lnTo>
                      <a:pt x="180" y="362"/>
                    </a:lnTo>
                    <a:lnTo>
                      <a:pt x="170" y="330"/>
                    </a:lnTo>
                    <a:lnTo>
                      <a:pt x="159" y="319"/>
                    </a:lnTo>
                    <a:lnTo>
                      <a:pt x="142" y="307"/>
                    </a:lnTo>
                    <a:lnTo>
                      <a:pt x="132" y="298"/>
                    </a:lnTo>
                    <a:lnTo>
                      <a:pt x="121" y="272"/>
                    </a:lnTo>
                    <a:lnTo>
                      <a:pt x="118" y="247"/>
                    </a:lnTo>
                    <a:lnTo>
                      <a:pt x="127" y="208"/>
                    </a:lnTo>
                    <a:lnTo>
                      <a:pt x="144" y="169"/>
                    </a:lnTo>
                    <a:lnTo>
                      <a:pt x="164" y="152"/>
                    </a:lnTo>
                    <a:lnTo>
                      <a:pt x="181" y="146"/>
                    </a:lnTo>
                    <a:lnTo>
                      <a:pt x="212" y="145"/>
                    </a:lnTo>
                    <a:lnTo>
                      <a:pt x="237" y="148"/>
                    </a:lnTo>
                    <a:lnTo>
                      <a:pt x="424" y="148"/>
                    </a:lnTo>
                    <a:lnTo>
                      <a:pt x="449" y="171"/>
                    </a:lnTo>
                    <a:lnTo>
                      <a:pt x="470" y="175"/>
                    </a:lnTo>
                    <a:lnTo>
                      <a:pt x="547" y="157"/>
                    </a:lnTo>
                    <a:lnTo>
                      <a:pt x="564" y="136"/>
                    </a:lnTo>
                    <a:lnTo>
                      <a:pt x="606" y="70"/>
                    </a:lnTo>
                    <a:lnTo>
                      <a:pt x="610" y="63"/>
                    </a:lnTo>
                    <a:lnTo>
                      <a:pt x="614" y="56"/>
                    </a:lnTo>
                    <a:lnTo>
                      <a:pt x="618" y="40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99" name="Freeform 163"/>
              <p:cNvSpPr>
                <a:spLocks/>
              </p:cNvSpPr>
              <p:nvPr>
                <p:custDataLst>
                  <p:tags r:id="rId224"/>
                </p:custDataLst>
              </p:nvPr>
            </p:nvSpPr>
            <p:spPr bwMode="auto">
              <a:xfrm>
                <a:off x="4744" y="2870"/>
                <a:ext cx="18" cy="51"/>
              </a:xfrm>
              <a:custGeom>
                <a:avLst/>
                <a:gdLst>
                  <a:gd name="T0" fmla="*/ 2 w 126"/>
                  <a:gd name="T1" fmla="*/ 88 h 340"/>
                  <a:gd name="T2" fmla="*/ 0 w 126"/>
                  <a:gd name="T3" fmla="*/ 106 h 340"/>
                  <a:gd name="T4" fmla="*/ 10 w 126"/>
                  <a:gd name="T5" fmla="*/ 128 h 340"/>
                  <a:gd name="T6" fmla="*/ 2 w 126"/>
                  <a:gd name="T7" fmla="*/ 158 h 340"/>
                  <a:gd name="T8" fmla="*/ 21 w 126"/>
                  <a:gd name="T9" fmla="*/ 213 h 340"/>
                  <a:gd name="T10" fmla="*/ 21 w 126"/>
                  <a:gd name="T11" fmla="*/ 222 h 340"/>
                  <a:gd name="T12" fmla="*/ 22 w 126"/>
                  <a:gd name="T13" fmla="*/ 236 h 340"/>
                  <a:gd name="T14" fmla="*/ 22 w 126"/>
                  <a:gd name="T15" fmla="*/ 255 h 340"/>
                  <a:gd name="T16" fmla="*/ 46 w 126"/>
                  <a:gd name="T17" fmla="*/ 294 h 340"/>
                  <a:gd name="T18" fmla="*/ 86 w 126"/>
                  <a:gd name="T19" fmla="*/ 340 h 340"/>
                  <a:gd name="T20" fmla="*/ 93 w 126"/>
                  <a:gd name="T21" fmla="*/ 330 h 340"/>
                  <a:gd name="T22" fmla="*/ 84 w 126"/>
                  <a:gd name="T23" fmla="*/ 314 h 340"/>
                  <a:gd name="T24" fmla="*/ 66 w 126"/>
                  <a:gd name="T25" fmla="*/ 291 h 340"/>
                  <a:gd name="T26" fmla="*/ 51 w 126"/>
                  <a:gd name="T27" fmla="*/ 259 h 340"/>
                  <a:gd name="T28" fmla="*/ 44 w 126"/>
                  <a:gd name="T29" fmla="*/ 208 h 340"/>
                  <a:gd name="T30" fmla="*/ 47 w 126"/>
                  <a:gd name="T31" fmla="*/ 185 h 340"/>
                  <a:gd name="T32" fmla="*/ 61 w 126"/>
                  <a:gd name="T33" fmla="*/ 178 h 340"/>
                  <a:gd name="T34" fmla="*/ 77 w 126"/>
                  <a:gd name="T35" fmla="*/ 180 h 340"/>
                  <a:gd name="T36" fmla="*/ 96 w 126"/>
                  <a:gd name="T37" fmla="*/ 188 h 340"/>
                  <a:gd name="T38" fmla="*/ 126 w 126"/>
                  <a:gd name="T39" fmla="*/ 195 h 340"/>
                  <a:gd name="T40" fmla="*/ 120 w 126"/>
                  <a:gd name="T41" fmla="*/ 178 h 340"/>
                  <a:gd name="T42" fmla="*/ 120 w 126"/>
                  <a:gd name="T43" fmla="*/ 171 h 340"/>
                  <a:gd name="T44" fmla="*/ 102 w 126"/>
                  <a:gd name="T45" fmla="*/ 158 h 340"/>
                  <a:gd name="T46" fmla="*/ 75 w 126"/>
                  <a:gd name="T47" fmla="*/ 148 h 340"/>
                  <a:gd name="T48" fmla="*/ 83 w 126"/>
                  <a:gd name="T49" fmla="*/ 130 h 340"/>
                  <a:gd name="T50" fmla="*/ 118 w 126"/>
                  <a:gd name="T51" fmla="*/ 100 h 340"/>
                  <a:gd name="T52" fmla="*/ 114 w 126"/>
                  <a:gd name="T53" fmla="*/ 72 h 340"/>
                  <a:gd name="T54" fmla="*/ 116 w 126"/>
                  <a:gd name="T55" fmla="*/ 58 h 340"/>
                  <a:gd name="T56" fmla="*/ 111 w 126"/>
                  <a:gd name="T57" fmla="*/ 51 h 340"/>
                  <a:gd name="T58" fmla="*/ 75 w 126"/>
                  <a:gd name="T59" fmla="*/ 74 h 340"/>
                  <a:gd name="T60" fmla="*/ 66 w 126"/>
                  <a:gd name="T61" fmla="*/ 81 h 340"/>
                  <a:gd name="T62" fmla="*/ 61 w 126"/>
                  <a:gd name="T63" fmla="*/ 107 h 340"/>
                  <a:gd name="T64" fmla="*/ 41 w 126"/>
                  <a:gd name="T65" fmla="*/ 130 h 340"/>
                  <a:gd name="T66" fmla="*/ 38 w 126"/>
                  <a:gd name="T67" fmla="*/ 137 h 340"/>
                  <a:gd name="T68" fmla="*/ 29 w 126"/>
                  <a:gd name="T69" fmla="*/ 130 h 340"/>
                  <a:gd name="T70" fmla="*/ 26 w 126"/>
                  <a:gd name="T71" fmla="*/ 113 h 340"/>
                  <a:gd name="T72" fmla="*/ 53 w 126"/>
                  <a:gd name="T73" fmla="*/ 51 h 340"/>
                  <a:gd name="T74" fmla="*/ 56 w 126"/>
                  <a:gd name="T75" fmla="*/ 37 h 340"/>
                  <a:gd name="T76" fmla="*/ 49 w 126"/>
                  <a:gd name="T77" fmla="*/ 17 h 340"/>
                  <a:gd name="T78" fmla="*/ 37 w 126"/>
                  <a:gd name="T79" fmla="*/ 0 h 340"/>
                  <a:gd name="T80" fmla="*/ 14 w 126"/>
                  <a:gd name="T81" fmla="*/ 42 h 340"/>
                  <a:gd name="T82" fmla="*/ 2 w 126"/>
                  <a:gd name="T83" fmla="*/ 88 h 340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26"/>
                  <a:gd name="T127" fmla="*/ 0 h 340"/>
                  <a:gd name="T128" fmla="*/ 126 w 126"/>
                  <a:gd name="T129" fmla="*/ 340 h 340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26" h="340">
                    <a:moveTo>
                      <a:pt x="2" y="88"/>
                    </a:moveTo>
                    <a:lnTo>
                      <a:pt x="0" y="106"/>
                    </a:lnTo>
                    <a:lnTo>
                      <a:pt x="10" y="128"/>
                    </a:lnTo>
                    <a:lnTo>
                      <a:pt x="2" y="158"/>
                    </a:lnTo>
                    <a:lnTo>
                      <a:pt x="21" y="213"/>
                    </a:lnTo>
                    <a:lnTo>
                      <a:pt x="21" y="222"/>
                    </a:lnTo>
                    <a:lnTo>
                      <a:pt x="22" y="236"/>
                    </a:lnTo>
                    <a:lnTo>
                      <a:pt x="22" y="255"/>
                    </a:lnTo>
                    <a:lnTo>
                      <a:pt x="46" y="294"/>
                    </a:lnTo>
                    <a:lnTo>
                      <a:pt x="86" y="340"/>
                    </a:lnTo>
                    <a:lnTo>
                      <a:pt x="93" y="330"/>
                    </a:lnTo>
                    <a:lnTo>
                      <a:pt x="84" y="314"/>
                    </a:lnTo>
                    <a:lnTo>
                      <a:pt x="66" y="291"/>
                    </a:lnTo>
                    <a:lnTo>
                      <a:pt x="51" y="259"/>
                    </a:lnTo>
                    <a:lnTo>
                      <a:pt x="44" y="208"/>
                    </a:lnTo>
                    <a:lnTo>
                      <a:pt x="47" y="185"/>
                    </a:lnTo>
                    <a:lnTo>
                      <a:pt x="61" y="178"/>
                    </a:lnTo>
                    <a:lnTo>
                      <a:pt x="77" y="180"/>
                    </a:lnTo>
                    <a:lnTo>
                      <a:pt x="96" y="188"/>
                    </a:lnTo>
                    <a:lnTo>
                      <a:pt x="126" y="195"/>
                    </a:lnTo>
                    <a:lnTo>
                      <a:pt x="120" y="178"/>
                    </a:lnTo>
                    <a:lnTo>
                      <a:pt x="120" y="171"/>
                    </a:lnTo>
                    <a:lnTo>
                      <a:pt x="102" y="158"/>
                    </a:lnTo>
                    <a:lnTo>
                      <a:pt x="75" y="148"/>
                    </a:lnTo>
                    <a:lnTo>
                      <a:pt x="83" y="130"/>
                    </a:lnTo>
                    <a:lnTo>
                      <a:pt x="118" y="100"/>
                    </a:lnTo>
                    <a:lnTo>
                      <a:pt x="114" y="72"/>
                    </a:lnTo>
                    <a:lnTo>
                      <a:pt x="116" y="58"/>
                    </a:lnTo>
                    <a:lnTo>
                      <a:pt x="111" y="51"/>
                    </a:lnTo>
                    <a:lnTo>
                      <a:pt x="75" y="74"/>
                    </a:lnTo>
                    <a:lnTo>
                      <a:pt x="66" y="81"/>
                    </a:lnTo>
                    <a:lnTo>
                      <a:pt x="61" y="107"/>
                    </a:lnTo>
                    <a:lnTo>
                      <a:pt x="41" y="130"/>
                    </a:lnTo>
                    <a:lnTo>
                      <a:pt x="38" y="137"/>
                    </a:lnTo>
                    <a:lnTo>
                      <a:pt x="29" y="130"/>
                    </a:lnTo>
                    <a:lnTo>
                      <a:pt x="26" y="113"/>
                    </a:lnTo>
                    <a:lnTo>
                      <a:pt x="53" y="51"/>
                    </a:lnTo>
                    <a:lnTo>
                      <a:pt x="56" y="37"/>
                    </a:lnTo>
                    <a:lnTo>
                      <a:pt x="49" y="17"/>
                    </a:lnTo>
                    <a:lnTo>
                      <a:pt x="37" y="0"/>
                    </a:lnTo>
                    <a:lnTo>
                      <a:pt x="14" y="42"/>
                    </a:lnTo>
                    <a:lnTo>
                      <a:pt x="2" y="88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400" name="Freeform 164"/>
              <p:cNvSpPr>
                <a:spLocks/>
              </p:cNvSpPr>
              <p:nvPr>
                <p:custDataLst>
                  <p:tags r:id="rId225"/>
                </p:custDataLst>
              </p:nvPr>
            </p:nvSpPr>
            <p:spPr bwMode="auto">
              <a:xfrm>
                <a:off x="4753" y="2954"/>
                <a:ext cx="41" cy="15"/>
              </a:xfrm>
              <a:custGeom>
                <a:avLst/>
                <a:gdLst>
                  <a:gd name="T0" fmla="*/ 11 w 271"/>
                  <a:gd name="T1" fmla="*/ 35 h 108"/>
                  <a:gd name="T2" fmla="*/ 32 w 271"/>
                  <a:gd name="T3" fmla="*/ 70 h 108"/>
                  <a:gd name="T4" fmla="*/ 47 w 271"/>
                  <a:gd name="T5" fmla="*/ 59 h 108"/>
                  <a:gd name="T6" fmla="*/ 60 w 271"/>
                  <a:gd name="T7" fmla="*/ 45 h 108"/>
                  <a:gd name="T8" fmla="*/ 86 w 271"/>
                  <a:gd name="T9" fmla="*/ 33 h 108"/>
                  <a:gd name="T10" fmla="*/ 98 w 271"/>
                  <a:gd name="T11" fmla="*/ 54 h 108"/>
                  <a:gd name="T12" fmla="*/ 141 w 271"/>
                  <a:gd name="T13" fmla="*/ 75 h 108"/>
                  <a:gd name="T14" fmla="*/ 151 w 271"/>
                  <a:gd name="T15" fmla="*/ 73 h 108"/>
                  <a:gd name="T16" fmla="*/ 149 w 271"/>
                  <a:gd name="T17" fmla="*/ 50 h 108"/>
                  <a:gd name="T18" fmla="*/ 152 w 271"/>
                  <a:gd name="T19" fmla="*/ 45 h 108"/>
                  <a:gd name="T20" fmla="*/ 170 w 271"/>
                  <a:gd name="T21" fmla="*/ 43 h 108"/>
                  <a:gd name="T22" fmla="*/ 184 w 271"/>
                  <a:gd name="T23" fmla="*/ 50 h 108"/>
                  <a:gd name="T24" fmla="*/ 251 w 271"/>
                  <a:gd name="T25" fmla="*/ 105 h 108"/>
                  <a:gd name="T26" fmla="*/ 270 w 271"/>
                  <a:gd name="T27" fmla="*/ 108 h 108"/>
                  <a:gd name="T28" fmla="*/ 271 w 271"/>
                  <a:gd name="T29" fmla="*/ 94 h 108"/>
                  <a:gd name="T30" fmla="*/ 263 w 271"/>
                  <a:gd name="T31" fmla="*/ 63 h 108"/>
                  <a:gd name="T32" fmla="*/ 250 w 271"/>
                  <a:gd name="T33" fmla="*/ 41 h 108"/>
                  <a:gd name="T34" fmla="*/ 227 w 271"/>
                  <a:gd name="T35" fmla="*/ 19 h 108"/>
                  <a:gd name="T36" fmla="*/ 167 w 271"/>
                  <a:gd name="T37" fmla="*/ 2 h 108"/>
                  <a:gd name="T38" fmla="*/ 149 w 271"/>
                  <a:gd name="T39" fmla="*/ 3 h 108"/>
                  <a:gd name="T40" fmla="*/ 124 w 271"/>
                  <a:gd name="T41" fmla="*/ 19 h 108"/>
                  <a:gd name="T42" fmla="*/ 111 w 271"/>
                  <a:gd name="T43" fmla="*/ 21 h 108"/>
                  <a:gd name="T44" fmla="*/ 86 w 271"/>
                  <a:gd name="T45" fmla="*/ 5 h 108"/>
                  <a:gd name="T46" fmla="*/ 25 w 271"/>
                  <a:gd name="T47" fmla="*/ 0 h 108"/>
                  <a:gd name="T48" fmla="*/ 11 w 271"/>
                  <a:gd name="T49" fmla="*/ 2 h 108"/>
                  <a:gd name="T50" fmla="*/ 0 w 271"/>
                  <a:gd name="T51" fmla="*/ 10 h 108"/>
                  <a:gd name="T52" fmla="*/ 11 w 271"/>
                  <a:gd name="T53" fmla="*/ 35 h 108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271"/>
                  <a:gd name="T82" fmla="*/ 0 h 108"/>
                  <a:gd name="T83" fmla="*/ 271 w 271"/>
                  <a:gd name="T84" fmla="*/ 108 h 108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271" h="108">
                    <a:moveTo>
                      <a:pt x="11" y="35"/>
                    </a:moveTo>
                    <a:lnTo>
                      <a:pt x="32" y="70"/>
                    </a:lnTo>
                    <a:lnTo>
                      <a:pt x="47" y="59"/>
                    </a:lnTo>
                    <a:lnTo>
                      <a:pt x="60" y="45"/>
                    </a:lnTo>
                    <a:lnTo>
                      <a:pt x="86" y="33"/>
                    </a:lnTo>
                    <a:lnTo>
                      <a:pt x="98" y="54"/>
                    </a:lnTo>
                    <a:lnTo>
                      <a:pt x="141" y="75"/>
                    </a:lnTo>
                    <a:lnTo>
                      <a:pt x="151" y="73"/>
                    </a:lnTo>
                    <a:lnTo>
                      <a:pt x="149" y="50"/>
                    </a:lnTo>
                    <a:lnTo>
                      <a:pt x="152" y="45"/>
                    </a:lnTo>
                    <a:lnTo>
                      <a:pt x="170" y="43"/>
                    </a:lnTo>
                    <a:lnTo>
                      <a:pt x="184" y="50"/>
                    </a:lnTo>
                    <a:lnTo>
                      <a:pt x="251" y="105"/>
                    </a:lnTo>
                    <a:lnTo>
                      <a:pt x="270" y="108"/>
                    </a:lnTo>
                    <a:lnTo>
                      <a:pt x="271" y="94"/>
                    </a:lnTo>
                    <a:lnTo>
                      <a:pt x="263" y="63"/>
                    </a:lnTo>
                    <a:lnTo>
                      <a:pt x="250" y="41"/>
                    </a:lnTo>
                    <a:lnTo>
                      <a:pt x="227" y="19"/>
                    </a:lnTo>
                    <a:lnTo>
                      <a:pt x="167" y="2"/>
                    </a:lnTo>
                    <a:lnTo>
                      <a:pt x="149" y="3"/>
                    </a:lnTo>
                    <a:lnTo>
                      <a:pt x="124" y="19"/>
                    </a:lnTo>
                    <a:lnTo>
                      <a:pt x="111" y="21"/>
                    </a:lnTo>
                    <a:lnTo>
                      <a:pt x="86" y="5"/>
                    </a:lnTo>
                    <a:lnTo>
                      <a:pt x="25" y="0"/>
                    </a:lnTo>
                    <a:lnTo>
                      <a:pt x="11" y="2"/>
                    </a:lnTo>
                    <a:lnTo>
                      <a:pt x="0" y="10"/>
                    </a:lnTo>
                    <a:lnTo>
                      <a:pt x="11" y="35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401" name="Freeform 165"/>
              <p:cNvSpPr>
                <a:spLocks/>
              </p:cNvSpPr>
              <p:nvPr>
                <p:custDataLst>
                  <p:tags r:id="rId226"/>
                </p:custDataLst>
              </p:nvPr>
            </p:nvSpPr>
            <p:spPr bwMode="auto">
              <a:xfrm>
                <a:off x="4723" y="2958"/>
                <a:ext cx="17" cy="11"/>
              </a:xfrm>
              <a:custGeom>
                <a:avLst/>
                <a:gdLst>
                  <a:gd name="T0" fmla="*/ 0 w 108"/>
                  <a:gd name="T1" fmla="*/ 24 h 76"/>
                  <a:gd name="T2" fmla="*/ 10 w 108"/>
                  <a:gd name="T3" fmla="*/ 47 h 76"/>
                  <a:gd name="T4" fmla="*/ 42 w 108"/>
                  <a:gd name="T5" fmla="*/ 73 h 76"/>
                  <a:gd name="T6" fmla="*/ 61 w 108"/>
                  <a:gd name="T7" fmla="*/ 76 h 76"/>
                  <a:gd name="T8" fmla="*/ 99 w 108"/>
                  <a:gd name="T9" fmla="*/ 61 h 76"/>
                  <a:gd name="T10" fmla="*/ 104 w 108"/>
                  <a:gd name="T11" fmla="*/ 57 h 76"/>
                  <a:gd name="T12" fmla="*/ 108 w 108"/>
                  <a:gd name="T13" fmla="*/ 47 h 76"/>
                  <a:gd name="T14" fmla="*/ 103 w 108"/>
                  <a:gd name="T15" fmla="*/ 34 h 76"/>
                  <a:gd name="T16" fmla="*/ 89 w 108"/>
                  <a:gd name="T17" fmla="*/ 24 h 76"/>
                  <a:gd name="T18" fmla="*/ 78 w 108"/>
                  <a:gd name="T19" fmla="*/ 8 h 76"/>
                  <a:gd name="T20" fmla="*/ 66 w 108"/>
                  <a:gd name="T21" fmla="*/ 0 h 76"/>
                  <a:gd name="T22" fmla="*/ 34 w 108"/>
                  <a:gd name="T23" fmla="*/ 1 h 76"/>
                  <a:gd name="T24" fmla="*/ 8 w 108"/>
                  <a:gd name="T25" fmla="*/ 8 h 76"/>
                  <a:gd name="T26" fmla="*/ 0 w 108"/>
                  <a:gd name="T27" fmla="*/ 24 h 7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08"/>
                  <a:gd name="T43" fmla="*/ 0 h 76"/>
                  <a:gd name="T44" fmla="*/ 108 w 108"/>
                  <a:gd name="T45" fmla="*/ 76 h 7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08" h="76">
                    <a:moveTo>
                      <a:pt x="0" y="24"/>
                    </a:moveTo>
                    <a:lnTo>
                      <a:pt x="10" y="47"/>
                    </a:lnTo>
                    <a:lnTo>
                      <a:pt x="42" y="73"/>
                    </a:lnTo>
                    <a:lnTo>
                      <a:pt x="61" y="76"/>
                    </a:lnTo>
                    <a:lnTo>
                      <a:pt x="99" y="61"/>
                    </a:lnTo>
                    <a:lnTo>
                      <a:pt x="104" y="57"/>
                    </a:lnTo>
                    <a:lnTo>
                      <a:pt x="108" y="47"/>
                    </a:lnTo>
                    <a:lnTo>
                      <a:pt x="103" y="34"/>
                    </a:lnTo>
                    <a:lnTo>
                      <a:pt x="89" y="24"/>
                    </a:lnTo>
                    <a:lnTo>
                      <a:pt x="78" y="8"/>
                    </a:lnTo>
                    <a:lnTo>
                      <a:pt x="66" y="0"/>
                    </a:lnTo>
                    <a:lnTo>
                      <a:pt x="34" y="1"/>
                    </a:lnTo>
                    <a:lnTo>
                      <a:pt x="8" y="8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402" name="Freeform 166"/>
              <p:cNvSpPr>
                <a:spLocks/>
              </p:cNvSpPr>
              <p:nvPr>
                <p:custDataLst>
                  <p:tags r:id="rId227"/>
                </p:custDataLst>
              </p:nvPr>
            </p:nvSpPr>
            <p:spPr bwMode="auto">
              <a:xfrm>
                <a:off x="4633" y="3042"/>
                <a:ext cx="45" cy="17"/>
              </a:xfrm>
              <a:custGeom>
                <a:avLst/>
                <a:gdLst>
                  <a:gd name="T0" fmla="*/ 297 w 305"/>
                  <a:gd name="T1" fmla="*/ 6 h 113"/>
                  <a:gd name="T2" fmla="*/ 286 w 305"/>
                  <a:gd name="T3" fmla="*/ 0 h 113"/>
                  <a:gd name="T4" fmla="*/ 280 w 305"/>
                  <a:gd name="T5" fmla="*/ 0 h 113"/>
                  <a:gd name="T6" fmla="*/ 274 w 305"/>
                  <a:gd name="T7" fmla="*/ 9 h 113"/>
                  <a:gd name="T8" fmla="*/ 283 w 305"/>
                  <a:gd name="T9" fmla="*/ 9 h 113"/>
                  <a:gd name="T10" fmla="*/ 286 w 305"/>
                  <a:gd name="T11" fmla="*/ 14 h 113"/>
                  <a:gd name="T12" fmla="*/ 281 w 305"/>
                  <a:gd name="T13" fmla="*/ 23 h 113"/>
                  <a:gd name="T14" fmla="*/ 264 w 305"/>
                  <a:gd name="T15" fmla="*/ 36 h 113"/>
                  <a:gd name="T16" fmla="*/ 246 w 305"/>
                  <a:gd name="T17" fmla="*/ 44 h 113"/>
                  <a:gd name="T18" fmla="*/ 249 w 305"/>
                  <a:gd name="T19" fmla="*/ 57 h 113"/>
                  <a:gd name="T20" fmla="*/ 228 w 305"/>
                  <a:gd name="T21" fmla="*/ 64 h 113"/>
                  <a:gd name="T22" fmla="*/ 209 w 305"/>
                  <a:gd name="T23" fmla="*/ 53 h 113"/>
                  <a:gd name="T24" fmla="*/ 171 w 305"/>
                  <a:gd name="T25" fmla="*/ 59 h 113"/>
                  <a:gd name="T26" fmla="*/ 155 w 305"/>
                  <a:gd name="T27" fmla="*/ 73 h 113"/>
                  <a:gd name="T28" fmla="*/ 141 w 305"/>
                  <a:gd name="T29" fmla="*/ 73 h 113"/>
                  <a:gd name="T30" fmla="*/ 122 w 305"/>
                  <a:gd name="T31" fmla="*/ 55 h 113"/>
                  <a:gd name="T32" fmla="*/ 72 w 305"/>
                  <a:gd name="T33" fmla="*/ 34 h 113"/>
                  <a:gd name="T34" fmla="*/ 48 w 305"/>
                  <a:gd name="T35" fmla="*/ 36 h 113"/>
                  <a:gd name="T36" fmla="*/ 17 w 305"/>
                  <a:gd name="T37" fmla="*/ 46 h 113"/>
                  <a:gd name="T38" fmla="*/ 2 w 305"/>
                  <a:gd name="T39" fmla="*/ 57 h 113"/>
                  <a:gd name="T40" fmla="*/ 0 w 305"/>
                  <a:gd name="T41" fmla="*/ 69 h 113"/>
                  <a:gd name="T42" fmla="*/ 8 w 305"/>
                  <a:gd name="T43" fmla="*/ 99 h 113"/>
                  <a:gd name="T44" fmla="*/ 24 w 305"/>
                  <a:gd name="T45" fmla="*/ 96 h 113"/>
                  <a:gd name="T46" fmla="*/ 69 w 305"/>
                  <a:gd name="T47" fmla="*/ 99 h 113"/>
                  <a:gd name="T48" fmla="*/ 111 w 305"/>
                  <a:gd name="T49" fmla="*/ 113 h 113"/>
                  <a:gd name="T50" fmla="*/ 125 w 305"/>
                  <a:gd name="T51" fmla="*/ 110 h 113"/>
                  <a:gd name="T52" fmla="*/ 141 w 305"/>
                  <a:gd name="T53" fmla="*/ 96 h 113"/>
                  <a:gd name="T54" fmla="*/ 160 w 305"/>
                  <a:gd name="T55" fmla="*/ 103 h 113"/>
                  <a:gd name="T56" fmla="*/ 182 w 305"/>
                  <a:gd name="T57" fmla="*/ 106 h 113"/>
                  <a:gd name="T58" fmla="*/ 201 w 305"/>
                  <a:gd name="T59" fmla="*/ 89 h 113"/>
                  <a:gd name="T60" fmla="*/ 216 w 305"/>
                  <a:gd name="T61" fmla="*/ 90 h 113"/>
                  <a:gd name="T62" fmla="*/ 281 w 305"/>
                  <a:gd name="T63" fmla="*/ 59 h 113"/>
                  <a:gd name="T64" fmla="*/ 280 w 305"/>
                  <a:gd name="T65" fmla="*/ 46 h 113"/>
                  <a:gd name="T66" fmla="*/ 305 w 305"/>
                  <a:gd name="T67" fmla="*/ 32 h 113"/>
                  <a:gd name="T68" fmla="*/ 303 w 305"/>
                  <a:gd name="T69" fmla="*/ 16 h 113"/>
                  <a:gd name="T70" fmla="*/ 297 w 305"/>
                  <a:gd name="T71" fmla="*/ 6 h 113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305"/>
                  <a:gd name="T109" fmla="*/ 0 h 113"/>
                  <a:gd name="T110" fmla="*/ 305 w 305"/>
                  <a:gd name="T111" fmla="*/ 113 h 113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305" h="113">
                    <a:moveTo>
                      <a:pt x="297" y="6"/>
                    </a:moveTo>
                    <a:lnTo>
                      <a:pt x="286" y="0"/>
                    </a:lnTo>
                    <a:lnTo>
                      <a:pt x="280" y="0"/>
                    </a:lnTo>
                    <a:lnTo>
                      <a:pt x="274" y="9"/>
                    </a:lnTo>
                    <a:lnTo>
                      <a:pt x="283" y="9"/>
                    </a:lnTo>
                    <a:lnTo>
                      <a:pt x="286" y="14"/>
                    </a:lnTo>
                    <a:lnTo>
                      <a:pt x="281" y="23"/>
                    </a:lnTo>
                    <a:lnTo>
                      <a:pt x="264" y="36"/>
                    </a:lnTo>
                    <a:lnTo>
                      <a:pt x="246" y="44"/>
                    </a:lnTo>
                    <a:lnTo>
                      <a:pt x="249" y="57"/>
                    </a:lnTo>
                    <a:lnTo>
                      <a:pt x="228" y="64"/>
                    </a:lnTo>
                    <a:lnTo>
                      <a:pt x="209" y="53"/>
                    </a:lnTo>
                    <a:lnTo>
                      <a:pt x="171" y="59"/>
                    </a:lnTo>
                    <a:lnTo>
                      <a:pt x="155" y="73"/>
                    </a:lnTo>
                    <a:lnTo>
                      <a:pt x="141" y="73"/>
                    </a:lnTo>
                    <a:lnTo>
                      <a:pt x="122" y="55"/>
                    </a:lnTo>
                    <a:lnTo>
                      <a:pt x="72" y="34"/>
                    </a:lnTo>
                    <a:lnTo>
                      <a:pt x="48" y="36"/>
                    </a:lnTo>
                    <a:lnTo>
                      <a:pt x="17" y="46"/>
                    </a:lnTo>
                    <a:lnTo>
                      <a:pt x="2" y="57"/>
                    </a:lnTo>
                    <a:lnTo>
                      <a:pt x="0" y="69"/>
                    </a:lnTo>
                    <a:lnTo>
                      <a:pt x="8" y="99"/>
                    </a:lnTo>
                    <a:lnTo>
                      <a:pt x="24" y="96"/>
                    </a:lnTo>
                    <a:lnTo>
                      <a:pt x="69" y="99"/>
                    </a:lnTo>
                    <a:lnTo>
                      <a:pt x="111" y="113"/>
                    </a:lnTo>
                    <a:lnTo>
                      <a:pt x="125" y="110"/>
                    </a:lnTo>
                    <a:lnTo>
                      <a:pt x="141" y="96"/>
                    </a:lnTo>
                    <a:lnTo>
                      <a:pt x="160" y="103"/>
                    </a:lnTo>
                    <a:lnTo>
                      <a:pt x="182" y="106"/>
                    </a:lnTo>
                    <a:lnTo>
                      <a:pt x="201" y="89"/>
                    </a:lnTo>
                    <a:lnTo>
                      <a:pt x="216" y="90"/>
                    </a:lnTo>
                    <a:lnTo>
                      <a:pt x="281" y="59"/>
                    </a:lnTo>
                    <a:lnTo>
                      <a:pt x="280" y="46"/>
                    </a:lnTo>
                    <a:lnTo>
                      <a:pt x="305" y="32"/>
                    </a:lnTo>
                    <a:lnTo>
                      <a:pt x="303" y="16"/>
                    </a:lnTo>
                    <a:lnTo>
                      <a:pt x="297" y="6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403" name="Freeform 167"/>
              <p:cNvSpPr>
                <a:spLocks/>
              </p:cNvSpPr>
              <p:nvPr>
                <p:custDataLst>
                  <p:tags r:id="rId228"/>
                </p:custDataLst>
              </p:nvPr>
            </p:nvSpPr>
            <p:spPr bwMode="auto">
              <a:xfrm>
                <a:off x="4686" y="3050"/>
                <a:ext cx="54" cy="32"/>
              </a:xfrm>
              <a:custGeom>
                <a:avLst/>
                <a:gdLst>
                  <a:gd name="T0" fmla="*/ 46 w 358"/>
                  <a:gd name="T1" fmla="*/ 125 h 222"/>
                  <a:gd name="T2" fmla="*/ 17 w 358"/>
                  <a:gd name="T3" fmla="*/ 151 h 222"/>
                  <a:gd name="T4" fmla="*/ 13 w 358"/>
                  <a:gd name="T5" fmla="*/ 167 h 222"/>
                  <a:gd name="T6" fmla="*/ 11 w 358"/>
                  <a:gd name="T7" fmla="*/ 196 h 222"/>
                  <a:gd name="T8" fmla="*/ 0 w 358"/>
                  <a:gd name="T9" fmla="*/ 222 h 222"/>
                  <a:gd name="T10" fmla="*/ 21 w 358"/>
                  <a:gd name="T11" fmla="*/ 222 h 222"/>
                  <a:gd name="T12" fmla="*/ 45 w 358"/>
                  <a:gd name="T13" fmla="*/ 210 h 222"/>
                  <a:gd name="T14" fmla="*/ 64 w 358"/>
                  <a:gd name="T15" fmla="*/ 204 h 222"/>
                  <a:gd name="T16" fmla="*/ 94 w 358"/>
                  <a:gd name="T17" fmla="*/ 180 h 222"/>
                  <a:gd name="T18" fmla="*/ 141 w 358"/>
                  <a:gd name="T19" fmla="*/ 128 h 222"/>
                  <a:gd name="T20" fmla="*/ 168 w 358"/>
                  <a:gd name="T21" fmla="*/ 109 h 222"/>
                  <a:gd name="T22" fmla="*/ 332 w 358"/>
                  <a:gd name="T23" fmla="*/ 39 h 222"/>
                  <a:gd name="T24" fmla="*/ 358 w 358"/>
                  <a:gd name="T25" fmla="*/ 15 h 222"/>
                  <a:gd name="T26" fmla="*/ 353 w 358"/>
                  <a:gd name="T27" fmla="*/ 4 h 222"/>
                  <a:gd name="T28" fmla="*/ 348 w 358"/>
                  <a:gd name="T29" fmla="*/ 0 h 222"/>
                  <a:gd name="T30" fmla="*/ 246 w 358"/>
                  <a:gd name="T31" fmla="*/ 22 h 222"/>
                  <a:gd name="T32" fmla="*/ 176 w 358"/>
                  <a:gd name="T33" fmla="*/ 27 h 222"/>
                  <a:gd name="T34" fmla="*/ 155 w 358"/>
                  <a:gd name="T35" fmla="*/ 36 h 222"/>
                  <a:gd name="T36" fmla="*/ 140 w 358"/>
                  <a:gd name="T37" fmla="*/ 68 h 222"/>
                  <a:gd name="T38" fmla="*/ 111 w 358"/>
                  <a:gd name="T39" fmla="*/ 92 h 222"/>
                  <a:gd name="T40" fmla="*/ 46 w 358"/>
                  <a:gd name="T41" fmla="*/ 125 h 22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358"/>
                  <a:gd name="T64" fmla="*/ 0 h 222"/>
                  <a:gd name="T65" fmla="*/ 358 w 358"/>
                  <a:gd name="T66" fmla="*/ 222 h 22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358" h="222">
                    <a:moveTo>
                      <a:pt x="46" y="125"/>
                    </a:moveTo>
                    <a:lnTo>
                      <a:pt x="17" y="151"/>
                    </a:lnTo>
                    <a:lnTo>
                      <a:pt x="13" y="167"/>
                    </a:lnTo>
                    <a:lnTo>
                      <a:pt x="11" y="196"/>
                    </a:lnTo>
                    <a:lnTo>
                      <a:pt x="0" y="222"/>
                    </a:lnTo>
                    <a:lnTo>
                      <a:pt x="21" y="222"/>
                    </a:lnTo>
                    <a:lnTo>
                      <a:pt x="45" y="210"/>
                    </a:lnTo>
                    <a:lnTo>
                      <a:pt x="64" y="204"/>
                    </a:lnTo>
                    <a:lnTo>
                      <a:pt x="94" y="180"/>
                    </a:lnTo>
                    <a:lnTo>
                      <a:pt x="141" y="128"/>
                    </a:lnTo>
                    <a:lnTo>
                      <a:pt x="168" y="109"/>
                    </a:lnTo>
                    <a:lnTo>
                      <a:pt x="332" y="39"/>
                    </a:lnTo>
                    <a:lnTo>
                      <a:pt x="358" y="15"/>
                    </a:lnTo>
                    <a:lnTo>
                      <a:pt x="353" y="4"/>
                    </a:lnTo>
                    <a:lnTo>
                      <a:pt x="348" y="0"/>
                    </a:lnTo>
                    <a:lnTo>
                      <a:pt x="246" y="22"/>
                    </a:lnTo>
                    <a:lnTo>
                      <a:pt x="176" y="27"/>
                    </a:lnTo>
                    <a:lnTo>
                      <a:pt x="155" y="36"/>
                    </a:lnTo>
                    <a:lnTo>
                      <a:pt x="140" y="68"/>
                    </a:lnTo>
                    <a:lnTo>
                      <a:pt x="111" y="92"/>
                    </a:lnTo>
                    <a:lnTo>
                      <a:pt x="46" y="125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404" name="Freeform 168"/>
              <p:cNvSpPr>
                <a:spLocks/>
              </p:cNvSpPr>
              <p:nvPr>
                <p:custDataLst>
                  <p:tags r:id="rId229"/>
                </p:custDataLst>
              </p:nvPr>
            </p:nvSpPr>
            <p:spPr bwMode="auto">
              <a:xfrm>
                <a:off x="4585" y="3044"/>
                <a:ext cx="35" cy="18"/>
              </a:xfrm>
              <a:custGeom>
                <a:avLst/>
                <a:gdLst>
                  <a:gd name="T0" fmla="*/ 230 w 230"/>
                  <a:gd name="T1" fmla="*/ 64 h 120"/>
                  <a:gd name="T2" fmla="*/ 228 w 230"/>
                  <a:gd name="T3" fmla="*/ 59 h 120"/>
                  <a:gd name="T4" fmla="*/ 220 w 230"/>
                  <a:gd name="T5" fmla="*/ 60 h 120"/>
                  <a:gd name="T6" fmla="*/ 219 w 230"/>
                  <a:gd name="T7" fmla="*/ 37 h 120"/>
                  <a:gd name="T8" fmla="*/ 209 w 230"/>
                  <a:gd name="T9" fmla="*/ 27 h 120"/>
                  <a:gd name="T10" fmla="*/ 195 w 230"/>
                  <a:gd name="T11" fmla="*/ 27 h 120"/>
                  <a:gd name="T12" fmla="*/ 187 w 230"/>
                  <a:gd name="T13" fmla="*/ 45 h 120"/>
                  <a:gd name="T14" fmla="*/ 180 w 230"/>
                  <a:gd name="T15" fmla="*/ 52 h 120"/>
                  <a:gd name="T16" fmla="*/ 180 w 230"/>
                  <a:gd name="T17" fmla="*/ 27 h 120"/>
                  <a:gd name="T18" fmla="*/ 175 w 230"/>
                  <a:gd name="T19" fmla="*/ 20 h 120"/>
                  <a:gd name="T20" fmla="*/ 160 w 230"/>
                  <a:gd name="T21" fmla="*/ 15 h 120"/>
                  <a:gd name="T22" fmla="*/ 147 w 230"/>
                  <a:gd name="T23" fmla="*/ 22 h 120"/>
                  <a:gd name="T24" fmla="*/ 138 w 230"/>
                  <a:gd name="T25" fmla="*/ 16 h 120"/>
                  <a:gd name="T26" fmla="*/ 137 w 230"/>
                  <a:gd name="T27" fmla="*/ 6 h 120"/>
                  <a:gd name="T28" fmla="*/ 130 w 230"/>
                  <a:gd name="T29" fmla="*/ 0 h 120"/>
                  <a:gd name="T30" fmla="*/ 114 w 230"/>
                  <a:gd name="T31" fmla="*/ 2 h 120"/>
                  <a:gd name="T32" fmla="*/ 105 w 230"/>
                  <a:gd name="T33" fmla="*/ 13 h 120"/>
                  <a:gd name="T34" fmla="*/ 103 w 230"/>
                  <a:gd name="T35" fmla="*/ 23 h 120"/>
                  <a:gd name="T36" fmla="*/ 106 w 230"/>
                  <a:gd name="T37" fmla="*/ 34 h 120"/>
                  <a:gd name="T38" fmla="*/ 114 w 230"/>
                  <a:gd name="T39" fmla="*/ 39 h 120"/>
                  <a:gd name="T40" fmla="*/ 128 w 230"/>
                  <a:gd name="T41" fmla="*/ 45 h 120"/>
                  <a:gd name="T42" fmla="*/ 140 w 230"/>
                  <a:gd name="T43" fmla="*/ 53 h 120"/>
                  <a:gd name="T44" fmla="*/ 137 w 230"/>
                  <a:gd name="T45" fmla="*/ 62 h 120"/>
                  <a:gd name="T46" fmla="*/ 125 w 230"/>
                  <a:gd name="T47" fmla="*/ 64 h 120"/>
                  <a:gd name="T48" fmla="*/ 117 w 230"/>
                  <a:gd name="T49" fmla="*/ 76 h 120"/>
                  <a:gd name="T50" fmla="*/ 103 w 230"/>
                  <a:gd name="T51" fmla="*/ 75 h 120"/>
                  <a:gd name="T52" fmla="*/ 91 w 230"/>
                  <a:gd name="T53" fmla="*/ 69 h 120"/>
                  <a:gd name="T54" fmla="*/ 86 w 230"/>
                  <a:gd name="T55" fmla="*/ 53 h 120"/>
                  <a:gd name="T56" fmla="*/ 69 w 230"/>
                  <a:gd name="T57" fmla="*/ 48 h 120"/>
                  <a:gd name="T58" fmla="*/ 42 w 230"/>
                  <a:gd name="T59" fmla="*/ 48 h 120"/>
                  <a:gd name="T60" fmla="*/ 32 w 230"/>
                  <a:gd name="T61" fmla="*/ 45 h 120"/>
                  <a:gd name="T62" fmla="*/ 4 w 230"/>
                  <a:gd name="T63" fmla="*/ 64 h 120"/>
                  <a:gd name="T64" fmla="*/ 7 w 230"/>
                  <a:gd name="T65" fmla="*/ 78 h 120"/>
                  <a:gd name="T66" fmla="*/ 0 w 230"/>
                  <a:gd name="T67" fmla="*/ 90 h 120"/>
                  <a:gd name="T68" fmla="*/ 4 w 230"/>
                  <a:gd name="T69" fmla="*/ 106 h 120"/>
                  <a:gd name="T70" fmla="*/ 17 w 230"/>
                  <a:gd name="T71" fmla="*/ 117 h 120"/>
                  <a:gd name="T72" fmla="*/ 35 w 230"/>
                  <a:gd name="T73" fmla="*/ 120 h 120"/>
                  <a:gd name="T74" fmla="*/ 48 w 230"/>
                  <a:gd name="T75" fmla="*/ 113 h 120"/>
                  <a:gd name="T76" fmla="*/ 63 w 230"/>
                  <a:gd name="T77" fmla="*/ 117 h 120"/>
                  <a:gd name="T78" fmla="*/ 119 w 230"/>
                  <a:gd name="T79" fmla="*/ 94 h 120"/>
                  <a:gd name="T80" fmla="*/ 131 w 230"/>
                  <a:gd name="T81" fmla="*/ 96 h 120"/>
                  <a:gd name="T82" fmla="*/ 155 w 230"/>
                  <a:gd name="T83" fmla="*/ 69 h 120"/>
                  <a:gd name="T84" fmla="*/ 159 w 230"/>
                  <a:gd name="T85" fmla="*/ 71 h 120"/>
                  <a:gd name="T86" fmla="*/ 155 w 230"/>
                  <a:gd name="T87" fmla="*/ 85 h 120"/>
                  <a:gd name="T88" fmla="*/ 160 w 230"/>
                  <a:gd name="T89" fmla="*/ 90 h 120"/>
                  <a:gd name="T90" fmla="*/ 199 w 230"/>
                  <a:gd name="T91" fmla="*/ 82 h 120"/>
                  <a:gd name="T92" fmla="*/ 196 w 230"/>
                  <a:gd name="T93" fmla="*/ 75 h 120"/>
                  <a:gd name="T94" fmla="*/ 203 w 230"/>
                  <a:gd name="T95" fmla="*/ 71 h 120"/>
                  <a:gd name="T96" fmla="*/ 216 w 230"/>
                  <a:gd name="T97" fmla="*/ 75 h 120"/>
                  <a:gd name="T98" fmla="*/ 229 w 230"/>
                  <a:gd name="T99" fmla="*/ 85 h 120"/>
                  <a:gd name="T100" fmla="*/ 230 w 230"/>
                  <a:gd name="T101" fmla="*/ 64 h 12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230"/>
                  <a:gd name="T154" fmla="*/ 0 h 120"/>
                  <a:gd name="T155" fmla="*/ 230 w 230"/>
                  <a:gd name="T156" fmla="*/ 120 h 120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230" h="120">
                    <a:moveTo>
                      <a:pt x="230" y="64"/>
                    </a:moveTo>
                    <a:lnTo>
                      <a:pt x="228" y="59"/>
                    </a:lnTo>
                    <a:lnTo>
                      <a:pt x="220" y="60"/>
                    </a:lnTo>
                    <a:lnTo>
                      <a:pt x="219" y="37"/>
                    </a:lnTo>
                    <a:lnTo>
                      <a:pt x="209" y="27"/>
                    </a:lnTo>
                    <a:lnTo>
                      <a:pt x="195" y="27"/>
                    </a:lnTo>
                    <a:lnTo>
                      <a:pt x="187" y="45"/>
                    </a:lnTo>
                    <a:lnTo>
                      <a:pt x="180" y="52"/>
                    </a:lnTo>
                    <a:lnTo>
                      <a:pt x="180" y="27"/>
                    </a:lnTo>
                    <a:lnTo>
                      <a:pt x="175" y="20"/>
                    </a:lnTo>
                    <a:lnTo>
                      <a:pt x="160" y="15"/>
                    </a:lnTo>
                    <a:lnTo>
                      <a:pt x="147" y="22"/>
                    </a:lnTo>
                    <a:lnTo>
                      <a:pt x="138" y="16"/>
                    </a:lnTo>
                    <a:lnTo>
                      <a:pt x="137" y="6"/>
                    </a:lnTo>
                    <a:lnTo>
                      <a:pt x="130" y="0"/>
                    </a:lnTo>
                    <a:lnTo>
                      <a:pt x="114" y="2"/>
                    </a:lnTo>
                    <a:lnTo>
                      <a:pt x="105" y="13"/>
                    </a:lnTo>
                    <a:lnTo>
                      <a:pt x="103" y="23"/>
                    </a:lnTo>
                    <a:lnTo>
                      <a:pt x="106" y="34"/>
                    </a:lnTo>
                    <a:lnTo>
                      <a:pt x="114" y="39"/>
                    </a:lnTo>
                    <a:lnTo>
                      <a:pt x="128" y="45"/>
                    </a:lnTo>
                    <a:lnTo>
                      <a:pt x="140" y="53"/>
                    </a:lnTo>
                    <a:lnTo>
                      <a:pt x="137" y="62"/>
                    </a:lnTo>
                    <a:lnTo>
                      <a:pt x="125" y="64"/>
                    </a:lnTo>
                    <a:lnTo>
                      <a:pt x="117" y="76"/>
                    </a:lnTo>
                    <a:lnTo>
                      <a:pt x="103" y="75"/>
                    </a:lnTo>
                    <a:lnTo>
                      <a:pt x="91" y="69"/>
                    </a:lnTo>
                    <a:lnTo>
                      <a:pt x="86" y="53"/>
                    </a:lnTo>
                    <a:lnTo>
                      <a:pt x="69" y="48"/>
                    </a:lnTo>
                    <a:lnTo>
                      <a:pt x="42" y="48"/>
                    </a:lnTo>
                    <a:lnTo>
                      <a:pt x="32" y="45"/>
                    </a:lnTo>
                    <a:lnTo>
                      <a:pt x="4" y="64"/>
                    </a:lnTo>
                    <a:lnTo>
                      <a:pt x="7" y="78"/>
                    </a:lnTo>
                    <a:lnTo>
                      <a:pt x="0" y="90"/>
                    </a:lnTo>
                    <a:lnTo>
                      <a:pt x="4" y="106"/>
                    </a:lnTo>
                    <a:lnTo>
                      <a:pt x="17" y="117"/>
                    </a:lnTo>
                    <a:lnTo>
                      <a:pt x="35" y="120"/>
                    </a:lnTo>
                    <a:lnTo>
                      <a:pt x="48" y="113"/>
                    </a:lnTo>
                    <a:lnTo>
                      <a:pt x="63" y="117"/>
                    </a:lnTo>
                    <a:lnTo>
                      <a:pt x="119" y="94"/>
                    </a:lnTo>
                    <a:lnTo>
                      <a:pt x="131" y="96"/>
                    </a:lnTo>
                    <a:lnTo>
                      <a:pt x="155" y="69"/>
                    </a:lnTo>
                    <a:lnTo>
                      <a:pt x="159" y="71"/>
                    </a:lnTo>
                    <a:lnTo>
                      <a:pt x="155" y="85"/>
                    </a:lnTo>
                    <a:lnTo>
                      <a:pt x="160" y="90"/>
                    </a:lnTo>
                    <a:lnTo>
                      <a:pt x="199" y="82"/>
                    </a:lnTo>
                    <a:lnTo>
                      <a:pt x="196" y="75"/>
                    </a:lnTo>
                    <a:lnTo>
                      <a:pt x="203" y="71"/>
                    </a:lnTo>
                    <a:lnTo>
                      <a:pt x="216" y="75"/>
                    </a:lnTo>
                    <a:lnTo>
                      <a:pt x="229" y="85"/>
                    </a:lnTo>
                    <a:lnTo>
                      <a:pt x="230" y="64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405" name="Freeform 169"/>
              <p:cNvSpPr>
                <a:spLocks/>
              </p:cNvSpPr>
              <p:nvPr>
                <p:custDataLst>
                  <p:tags r:id="rId230"/>
                </p:custDataLst>
              </p:nvPr>
            </p:nvSpPr>
            <p:spPr bwMode="auto">
              <a:xfrm>
                <a:off x="4618" y="3067"/>
                <a:ext cx="25" cy="15"/>
              </a:xfrm>
              <a:custGeom>
                <a:avLst/>
                <a:gdLst>
                  <a:gd name="T0" fmla="*/ 5 w 165"/>
                  <a:gd name="T1" fmla="*/ 16 h 109"/>
                  <a:gd name="T2" fmla="*/ 0 w 165"/>
                  <a:gd name="T3" fmla="*/ 27 h 109"/>
                  <a:gd name="T4" fmla="*/ 12 w 165"/>
                  <a:gd name="T5" fmla="*/ 37 h 109"/>
                  <a:gd name="T6" fmla="*/ 49 w 165"/>
                  <a:gd name="T7" fmla="*/ 50 h 109"/>
                  <a:gd name="T8" fmla="*/ 125 w 165"/>
                  <a:gd name="T9" fmla="*/ 106 h 109"/>
                  <a:gd name="T10" fmla="*/ 135 w 165"/>
                  <a:gd name="T11" fmla="*/ 109 h 109"/>
                  <a:gd name="T12" fmla="*/ 148 w 165"/>
                  <a:gd name="T13" fmla="*/ 106 h 109"/>
                  <a:gd name="T14" fmla="*/ 158 w 165"/>
                  <a:gd name="T15" fmla="*/ 94 h 109"/>
                  <a:gd name="T16" fmla="*/ 165 w 165"/>
                  <a:gd name="T17" fmla="*/ 76 h 109"/>
                  <a:gd name="T18" fmla="*/ 153 w 165"/>
                  <a:gd name="T19" fmla="*/ 57 h 109"/>
                  <a:gd name="T20" fmla="*/ 103 w 165"/>
                  <a:gd name="T21" fmla="*/ 16 h 109"/>
                  <a:gd name="T22" fmla="*/ 87 w 165"/>
                  <a:gd name="T23" fmla="*/ 0 h 109"/>
                  <a:gd name="T24" fmla="*/ 66 w 165"/>
                  <a:gd name="T25" fmla="*/ 7 h 109"/>
                  <a:gd name="T26" fmla="*/ 21 w 165"/>
                  <a:gd name="T27" fmla="*/ 9 h 109"/>
                  <a:gd name="T28" fmla="*/ 5 w 165"/>
                  <a:gd name="T29" fmla="*/ 16 h 10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65"/>
                  <a:gd name="T46" fmla="*/ 0 h 109"/>
                  <a:gd name="T47" fmla="*/ 165 w 165"/>
                  <a:gd name="T48" fmla="*/ 109 h 109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65" h="109">
                    <a:moveTo>
                      <a:pt x="5" y="16"/>
                    </a:moveTo>
                    <a:lnTo>
                      <a:pt x="0" y="27"/>
                    </a:lnTo>
                    <a:lnTo>
                      <a:pt x="12" y="37"/>
                    </a:lnTo>
                    <a:lnTo>
                      <a:pt x="49" y="50"/>
                    </a:lnTo>
                    <a:lnTo>
                      <a:pt x="125" y="106"/>
                    </a:lnTo>
                    <a:lnTo>
                      <a:pt x="135" y="109"/>
                    </a:lnTo>
                    <a:lnTo>
                      <a:pt x="148" y="106"/>
                    </a:lnTo>
                    <a:lnTo>
                      <a:pt x="158" y="94"/>
                    </a:lnTo>
                    <a:lnTo>
                      <a:pt x="165" y="76"/>
                    </a:lnTo>
                    <a:lnTo>
                      <a:pt x="153" y="57"/>
                    </a:lnTo>
                    <a:lnTo>
                      <a:pt x="103" y="16"/>
                    </a:lnTo>
                    <a:lnTo>
                      <a:pt x="87" y="0"/>
                    </a:lnTo>
                    <a:lnTo>
                      <a:pt x="66" y="7"/>
                    </a:lnTo>
                    <a:lnTo>
                      <a:pt x="21" y="9"/>
                    </a:lnTo>
                    <a:lnTo>
                      <a:pt x="5" y="16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406" name="Freeform 170"/>
              <p:cNvSpPr>
                <a:spLocks/>
              </p:cNvSpPr>
              <p:nvPr>
                <p:custDataLst>
                  <p:tags r:id="rId231"/>
                </p:custDataLst>
              </p:nvPr>
            </p:nvSpPr>
            <p:spPr bwMode="auto">
              <a:xfrm>
                <a:off x="4552" y="3045"/>
                <a:ext cx="16" cy="9"/>
              </a:xfrm>
              <a:custGeom>
                <a:avLst/>
                <a:gdLst>
                  <a:gd name="T0" fmla="*/ 61 w 102"/>
                  <a:gd name="T1" fmla="*/ 0 h 64"/>
                  <a:gd name="T2" fmla="*/ 41 w 102"/>
                  <a:gd name="T3" fmla="*/ 2 h 64"/>
                  <a:gd name="T4" fmla="*/ 17 w 102"/>
                  <a:gd name="T5" fmla="*/ 11 h 64"/>
                  <a:gd name="T6" fmla="*/ 0 w 102"/>
                  <a:gd name="T7" fmla="*/ 11 h 64"/>
                  <a:gd name="T8" fmla="*/ 4 w 102"/>
                  <a:gd name="T9" fmla="*/ 25 h 64"/>
                  <a:gd name="T10" fmla="*/ 44 w 102"/>
                  <a:gd name="T11" fmla="*/ 50 h 64"/>
                  <a:gd name="T12" fmla="*/ 61 w 102"/>
                  <a:gd name="T13" fmla="*/ 64 h 64"/>
                  <a:gd name="T14" fmla="*/ 77 w 102"/>
                  <a:gd name="T15" fmla="*/ 43 h 64"/>
                  <a:gd name="T16" fmla="*/ 102 w 102"/>
                  <a:gd name="T17" fmla="*/ 28 h 64"/>
                  <a:gd name="T18" fmla="*/ 61 w 102"/>
                  <a:gd name="T19" fmla="*/ 0 h 6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02"/>
                  <a:gd name="T31" fmla="*/ 0 h 64"/>
                  <a:gd name="T32" fmla="*/ 102 w 102"/>
                  <a:gd name="T33" fmla="*/ 64 h 6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02" h="64">
                    <a:moveTo>
                      <a:pt x="61" y="0"/>
                    </a:moveTo>
                    <a:lnTo>
                      <a:pt x="41" y="2"/>
                    </a:lnTo>
                    <a:lnTo>
                      <a:pt x="17" y="11"/>
                    </a:lnTo>
                    <a:lnTo>
                      <a:pt x="0" y="11"/>
                    </a:lnTo>
                    <a:lnTo>
                      <a:pt x="4" y="25"/>
                    </a:lnTo>
                    <a:lnTo>
                      <a:pt x="44" y="50"/>
                    </a:lnTo>
                    <a:lnTo>
                      <a:pt x="61" y="64"/>
                    </a:lnTo>
                    <a:lnTo>
                      <a:pt x="77" y="43"/>
                    </a:lnTo>
                    <a:lnTo>
                      <a:pt x="102" y="28"/>
                    </a:lnTo>
                    <a:lnTo>
                      <a:pt x="61" y="0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407" name="Freeform 171"/>
              <p:cNvSpPr>
                <a:spLocks/>
              </p:cNvSpPr>
              <p:nvPr>
                <p:custDataLst>
                  <p:tags r:id="rId232"/>
                </p:custDataLst>
              </p:nvPr>
            </p:nvSpPr>
            <p:spPr bwMode="auto">
              <a:xfrm>
                <a:off x="4550" y="2074"/>
                <a:ext cx="52" cy="85"/>
              </a:xfrm>
              <a:custGeom>
                <a:avLst/>
                <a:gdLst>
                  <a:gd name="T0" fmla="*/ 310 w 344"/>
                  <a:gd name="T1" fmla="*/ 165 h 572"/>
                  <a:gd name="T2" fmla="*/ 297 w 344"/>
                  <a:gd name="T3" fmla="*/ 135 h 572"/>
                  <a:gd name="T4" fmla="*/ 243 w 344"/>
                  <a:gd name="T5" fmla="*/ 38 h 572"/>
                  <a:gd name="T6" fmla="*/ 214 w 344"/>
                  <a:gd name="T7" fmla="*/ 0 h 572"/>
                  <a:gd name="T8" fmla="*/ 189 w 344"/>
                  <a:gd name="T9" fmla="*/ 42 h 572"/>
                  <a:gd name="T10" fmla="*/ 175 w 344"/>
                  <a:gd name="T11" fmla="*/ 49 h 572"/>
                  <a:gd name="T12" fmla="*/ 128 w 344"/>
                  <a:gd name="T13" fmla="*/ 38 h 572"/>
                  <a:gd name="T14" fmla="*/ 101 w 344"/>
                  <a:gd name="T15" fmla="*/ 38 h 572"/>
                  <a:gd name="T16" fmla="*/ 87 w 344"/>
                  <a:gd name="T17" fmla="*/ 47 h 572"/>
                  <a:gd name="T18" fmla="*/ 59 w 344"/>
                  <a:gd name="T19" fmla="*/ 93 h 572"/>
                  <a:gd name="T20" fmla="*/ 46 w 344"/>
                  <a:gd name="T21" fmla="*/ 109 h 572"/>
                  <a:gd name="T22" fmla="*/ 35 w 344"/>
                  <a:gd name="T23" fmla="*/ 118 h 572"/>
                  <a:gd name="T24" fmla="*/ 42 w 344"/>
                  <a:gd name="T25" fmla="*/ 125 h 572"/>
                  <a:gd name="T26" fmla="*/ 47 w 344"/>
                  <a:gd name="T27" fmla="*/ 144 h 572"/>
                  <a:gd name="T28" fmla="*/ 80 w 344"/>
                  <a:gd name="T29" fmla="*/ 197 h 572"/>
                  <a:gd name="T30" fmla="*/ 81 w 344"/>
                  <a:gd name="T31" fmla="*/ 215 h 572"/>
                  <a:gd name="T32" fmla="*/ 71 w 344"/>
                  <a:gd name="T33" fmla="*/ 229 h 572"/>
                  <a:gd name="T34" fmla="*/ 42 w 344"/>
                  <a:gd name="T35" fmla="*/ 213 h 572"/>
                  <a:gd name="T36" fmla="*/ 28 w 344"/>
                  <a:gd name="T37" fmla="*/ 220 h 572"/>
                  <a:gd name="T38" fmla="*/ 0 w 344"/>
                  <a:gd name="T39" fmla="*/ 245 h 572"/>
                  <a:gd name="T40" fmla="*/ 27 w 344"/>
                  <a:gd name="T41" fmla="*/ 250 h 572"/>
                  <a:gd name="T42" fmla="*/ 39 w 344"/>
                  <a:gd name="T43" fmla="*/ 257 h 572"/>
                  <a:gd name="T44" fmla="*/ 43 w 344"/>
                  <a:gd name="T45" fmla="*/ 278 h 572"/>
                  <a:gd name="T46" fmla="*/ 42 w 344"/>
                  <a:gd name="T47" fmla="*/ 306 h 572"/>
                  <a:gd name="T48" fmla="*/ 46 w 344"/>
                  <a:gd name="T49" fmla="*/ 324 h 572"/>
                  <a:gd name="T50" fmla="*/ 63 w 344"/>
                  <a:gd name="T51" fmla="*/ 343 h 572"/>
                  <a:gd name="T52" fmla="*/ 65 w 344"/>
                  <a:gd name="T53" fmla="*/ 352 h 572"/>
                  <a:gd name="T54" fmla="*/ 55 w 344"/>
                  <a:gd name="T55" fmla="*/ 378 h 572"/>
                  <a:gd name="T56" fmla="*/ 55 w 344"/>
                  <a:gd name="T57" fmla="*/ 397 h 572"/>
                  <a:gd name="T58" fmla="*/ 32 w 344"/>
                  <a:gd name="T59" fmla="*/ 426 h 572"/>
                  <a:gd name="T60" fmla="*/ 26 w 344"/>
                  <a:gd name="T61" fmla="*/ 454 h 572"/>
                  <a:gd name="T62" fmla="*/ 42 w 344"/>
                  <a:gd name="T63" fmla="*/ 539 h 572"/>
                  <a:gd name="T64" fmla="*/ 43 w 344"/>
                  <a:gd name="T65" fmla="*/ 572 h 572"/>
                  <a:gd name="T66" fmla="*/ 64 w 344"/>
                  <a:gd name="T67" fmla="*/ 553 h 572"/>
                  <a:gd name="T68" fmla="*/ 84 w 344"/>
                  <a:gd name="T69" fmla="*/ 551 h 572"/>
                  <a:gd name="T70" fmla="*/ 137 w 344"/>
                  <a:gd name="T71" fmla="*/ 502 h 572"/>
                  <a:gd name="T72" fmla="*/ 161 w 344"/>
                  <a:gd name="T73" fmla="*/ 489 h 572"/>
                  <a:gd name="T74" fmla="*/ 183 w 344"/>
                  <a:gd name="T75" fmla="*/ 484 h 572"/>
                  <a:gd name="T76" fmla="*/ 198 w 344"/>
                  <a:gd name="T77" fmla="*/ 496 h 572"/>
                  <a:gd name="T78" fmla="*/ 216 w 344"/>
                  <a:gd name="T79" fmla="*/ 502 h 572"/>
                  <a:gd name="T80" fmla="*/ 243 w 344"/>
                  <a:gd name="T81" fmla="*/ 466 h 572"/>
                  <a:gd name="T82" fmla="*/ 253 w 344"/>
                  <a:gd name="T83" fmla="*/ 461 h 572"/>
                  <a:gd name="T84" fmla="*/ 279 w 344"/>
                  <a:gd name="T85" fmla="*/ 473 h 572"/>
                  <a:gd name="T86" fmla="*/ 289 w 344"/>
                  <a:gd name="T87" fmla="*/ 472 h 572"/>
                  <a:gd name="T88" fmla="*/ 304 w 344"/>
                  <a:gd name="T89" fmla="*/ 452 h 572"/>
                  <a:gd name="T90" fmla="*/ 326 w 344"/>
                  <a:gd name="T91" fmla="*/ 408 h 572"/>
                  <a:gd name="T92" fmla="*/ 338 w 344"/>
                  <a:gd name="T93" fmla="*/ 376 h 572"/>
                  <a:gd name="T94" fmla="*/ 344 w 344"/>
                  <a:gd name="T95" fmla="*/ 352 h 572"/>
                  <a:gd name="T96" fmla="*/ 322 w 344"/>
                  <a:gd name="T97" fmla="*/ 355 h 572"/>
                  <a:gd name="T98" fmla="*/ 316 w 344"/>
                  <a:gd name="T99" fmla="*/ 348 h 572"/>
                  <a:gd name="T100" fmla="*/ 321 w 344"/>
                  <a:gd name="T101" fmla="*/ 308 h 572"/>
                  <a:gd name="T102" fmla="*/ 322 w 344"/>
                  <a:gd name="T103" fmla="*/ 206 h 572"/>
                  <a:gd name="T104" fmla="*/ 310 w 344"/>
                  <a:gd name="T105" fmla="*/ 165 h 57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344"/>
                  <a:gd name="T160" fmla="*/ 0 h 572"/>
                  <a:gd name="T161" fmla="*/ 344 w 344"/>
                  <a:gd name="T162" fmla="*/ 572 h 572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344" h="572">
                    <a:moveTo>
                      <a:pt x="310" y="165"/>
                    </a:moveTo>
                    <a:lnTo>
                      <a:pt x="297" y="135"/>
                    </a:lnTo>
                    <a:lnTo>
                      <a:pt x="243" y="38"/>
                    </a:lnTo>
                    <a:lnTo>
                      <a:pt x="214" y="0"/>
                    </a:lnTo>
                    <a:lnTo>
                      <a:pt x="189" y="42"/>
                    </a:lnTo>
                    <a:lnTo>
                      <a:pt x="175" y="49"/>
                    </a:lnTo>
                    <a:lnTo>
                      <a:pt x="128" y="38"/>
                    </a:lnTo>
                    <a:lnTo>
                      <a:pt x="101" y="38"/>
                    </a:lnTo>
                    <a:lnTo>
                      <a:pt x="87" y="47"/>
                    </a:lnTo>
                    <a:lnTo>
                      <a:pt x="59" y="93"/>
                    </a:lnTo>
                    <a:lnTo>
                      <a:pt x="46" y="109"/>
                    </a:lnTo>
                    <a:lnTo>
                      <a:pt x="35" y="118"/>
                    </a:lnTo>
                    <a:lnTo>
                      <a:pt x="42" y="125"/>
                    </a:lnTo>
                    <a:lnTo>
                      <a:pt x="47" y="144"/>
                    </a:lnTo>
                    <a:lnTo>
                      <a:pt x="80" y="197"/>
                    </a:lnTo>
                    <a:lnTo>
                      <a:pt x="81" y="215"/>
                    </a:lnTo>
                    <a:lnTo>
                      <a:pt x="71" y="229"/>
                    </a:lnTo>
                    <a:lnTo>
                      <a:pt x="42" y="213"/>
                    </a:lnTo>
                    <a:lnTo>
                      <a:pt x="28" y="220"/>
                    </a:lnTo>
                    <a:lnTo>
                      <a:pt x="0" y="245"/>
                    </a:lnTo>
                    <a:lnTo>
                      <a:pt x="27" y="250"/>
                    </a:lnTo>
                    <a:lnTo>
                      <a:pt x="39" y="257"/>
                    </a:lnTo>
                    <a:lnTo>
                      <a:pt x="43" y="278"/>
                    </a:lnTo>
                    <a:lnTo>
                      <a:pt x="42" y="306"/>
                    </a:lnTo>
                    <a:lnTo>
                      <a:pt x="46" y="324"/>
                    </a:lnTo>
                    <a:lnTo>
                      <a:pt x="63" y="343"/>
                    </a:lnTo>
                    <a:lnTo>
                      <a:pt x="65" y="352"/>
                    </a:lnTo>
                    <a:lnTo>
                      <a:pt x="55" y="378"/>
                    </a:lnTo>
                    <a:lnTo>
                      <a:pt x="55" y="397"/>
                    </a:lnTo>
                    <a:lnTo>
                      <a:pt x="32" y="426"/>
                    </a:lnTo>
                    <a:lnTo>
                      <a:pt x="26" y="454"/>
                    </a:lnTo>
                    <a:lnTo>
                      <a:pt x="42" y="539"/>
                    </a:lnTo>
                    <a:lnTo>
                      <a:pt x="43" y="572"/>
                    </a:lnTo>
                    <a:lnTo>
                      <a:pt x="64" y="553"/>
                    </a:lnTo>
                    <a:lnTo>
                      <a:pt x="84" y="551"/>
                    </a:lnTo>
                    <a:lnTo>
                      <a:pt x="137" y="502"/>
                    </a:lnTo>
                    <a:lnTo>
                      <a:pt x="161" y="489"/>
                    </a:lnTo>
                    <a:lnTo>
                      <a:pt x="183" y="484"/>
                    </a:lnTo>
                    <a:lnTo>
                      <a:pt x="198" y="496"/>
                    </a:lnTo>
                    <a:lnTo>
                      <a:pt x="216" y="502"/>
                    </a:lnTo>
                    <a:lnTo>
                      <a:pt x="243" y="466"/>
                    </a:lnTo>
                    <a:lnTo>
                      <a:pt x="253" y="461"/>
                    </a:lnTo>
                    <a:lnTo>
                      <a:pt x="279" y="473"/>
                    </a:lnTo>
                    <a:lnTo>
                      <a:pt x="289" y="472"/>
                    </a:lnTo>
                    <a:lnTo>
                      <a:pt x="304" y="452"/>
                    </a:lnTo>
                    <a:lnTo>
                      <a:pt x="326" y="408"/>
                    </a:lnTo>
                    <a:lnTo>
                      <a:pt x="338" y="376"/>
                    </a:lnTo>
                    <a:lnTo>
                      <a:pt x="344" y="352"/>
                    </a:lnTo>
                    <a:lnTo>
                      <a:pt x="322" y="355"/>
                    </a:lnTo>
                    <a:lnTo>
                      <a:pt x="316" y="348"/>
                    </a:lnTo>
                    <a:lnTo>
                      <a:pt x="321" y="308"/>
                    </a:lnTo>
                    <a:lnTo>
                      <a:pt x="322" y="206"/>
                    </a:lnTo>
                    <a:lnTo>
                      <a:pt x="310" y="165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408" name="Freeform 172"/>
              <p:cNvSpPr>
                <a:spLocks/>
              </p:cNvSpPr>
              <p:nvPr>
                <p:custDataLst>
                  <p:tags r:id="rId233"/>
                </p:custDataLst>
              </p:nvPr>
            </p:nvSpPr>
            <p:spPr bwMode="auto">
              <a:xfrm>
                <a:off x="4640" y="2161"/>
                <a:ext cx="36" cy="31"/>
              </a:xfrm>
              <a:custGeom>
                <a:avLst/>
                <a:gdLst>
                  <a:gd name="T0" fmla="*/ 83 w 245"/>
                  <a:gd name="T1" fmla="*/ 53 h 215"/>
                  <a:gd name="T2" fmla="*/ 66 w 245"/>
                  <a:gd name="T3" fmla="*/ 37 h 215"/>
                  <a:gd name="T4" fmla="*/ 46 w 245"/>
                  <a:gd name="T5" fmla="*/ 72 h 215"/>
                  <a:gd name="T6" fmla="*/ 33 w 245"/>
                  <a:gd name="T7" fmla="*/ 88 h 215"/>
                  <a:gd name="T8" fmla="*/ 0 w 245"/>
                  <a:gd name="T9" fmla="*/ 111 h 215"/>
                  <a:gd name="T10" fmla="*/ 22 w 245"/>
                  <a:gd name="T11" fmla="*/ 143 h 215"/>
                  <a:gd name="T12" fmla="*/ 30 w 245"/>
                  <a:gd name="T13" fmla="*/ 166 h 215"/>
                  <a:gd name="T14" fmla="*/ 34 w 245"/>
                  <a:gd name="T15" fmla="*/ 189 h 215"/>
                  <a:gd name="T16" fmla="*/ 45 w 245"/>
                  <a:gd name="T17" fmla="*/ 203 h 215"/>
                  <a:gd name="T18" fmla="*/ 57 w 245"/>
                  <a:gd name="T19" fmla="*/ 215 h 215"/>
                  <a:gd name="T20" fmla="*/ 78 w 245"/>
                  <a:gd name="T21" fmla="*/ 199 h 215"/>
                  <a:gd name="T22" fmla="*/ 83 w 245"/>
                  <a:gd name="T23" fmla="*/ 187 h 215"/>
                  <a:gd name="T24" fmla="*/ 91 w 245"/>
                  <a:gd name="T25" fmla="*/ 157 h 215"/>
                  <a:gd name="T26" fmla="*/ 103 w 245"/>
                  <a:gd name="T27" fmla="*/ 129 h 215"/>
                  <a:gd name="T28" fmla="*/ 110 w 245"/>
                  <a:gd name="T29" fmla="*/ 118 h 215"/>
                  <a:gd name="T30" fmla="*/ 136 w 245"/>
                  <a:gd name="T31" fmla="*/ 104 h 215"/>
                  <a:gd name="T32" fmla="*/ 157 w 245"/>
                  <a:gd name="T33" fmla="*/ 107 h 215"/>
                  <a:gd name="T34" fmla="*/ 177 w 245"/>
                  <a:gd name="T35" fmla="*/ 125 h 215"/>
                  <a:gd name="T36" fmla="*/ 184 w 245"/>
                  <a:gd name="T37" fmla="*/ 137 h 215"/>
                  <a:gd name="T38" fmla="*/ 237 w 245"/>
                  <a:gd name="T39" fmla="*/ 70 h 215"/>
                  <a:gd name="T40" fmla="*/ 241 w 245"/>
                  <a:gd name="T41" fmla="*/ 46 h 215"/>
                  <a:gd name="T42" fmla="*/ 245 w 245"/>
                  <a:gd name="T43" fmla="*/ 39 h 215"/>
                  <a:gd name="T44" fmla="*/ 238 w 245"/>
                  <a:gd name="T45" fmla="*/ 25 h 215"/>
                  <a:gd name="T46" fmla="*/ 201 w 245"/>
                  <a:gd name="T47" fmla="*/ 10 h 215"/>
                  <a:gd name="T48" fmla="*/ 185 w 245"/>
                  <a:gd name="T49" fmla="*/ 0 h 215"/>
                  <a:gd name="T50" fmla="*/ 167 w 245"/>
                  <a:gd name="T51" fmla="*/ 2 h 215"/>
                  <a:gd name="T52" fmla="*/ 146 w 245"/>
                  <a:gd name="T53" fmla="*/ 21 h 215"/>
                  <a:gd name="T54" fmla="*/ 132 w 245"/>
                  <a:gd name="T55" fmla="*/ 40 h 215"/>
                  <a:gd name="T56" fmla="*/ 111 w 245"/>
                  <a:gd name="T57" fmla="*/ 51 h 215"/>
                  <a:gd name="T58" fmla="*/ 83 w 245"/>
                  <a:gd name="T59" fmla="*/ 53 h 215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245"/>
                  <a:gd name="T91" fmla="*/ 0 h 215"/>
                  <a:gd name="T92" fmla="*/ 245 w 245"/>
                  <a:gd name="T93" fmla="*/ 215 h 215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245" h="215">
                    <a:moveTo>
                      <a:pt x="83" y="53"/>
                    </a:moveTo>
                    <a:lnTo>
                      <a:pt x="66" y="37"/>
                    </a:lnTo>
                    <a:lnTo>
                      <a:pt x="46" y="72"/>
                    </a:lnTo>
                    <a:lnTo>
                      <a:pt x="33" y="88"/>
                    </a:lnTo>
                    <a:lnTo>
                      <a:pt x="0" y="111"/>
                    </a:lnTo>
                    <a:lnTo>
                      <a:pt x="22" y="143"/>
                    </a:lnTo>
                    <a:lnTo>
                      <a:pt x="30" y="166"/>
                    </a:lnTo>
                    <a:lnTo>
                      <a:pt x="34" y="189"/>
                    </a:lnTo>
                    <a:lnTo>
                      <a:pt x="45" y="203"/>
                    </a:lnTo>
                    <a:lnTo>
                      <a:pt x="57" y="215"/>
                    </a:lnTo>
                    <a:lnTo>
                      <a:pt x="78" y="199"/>
                    </a:lnTo>
                    <a:lnTo>
                      <a:pt x="83" y="187"/>
                    </a:lnTo>
                    <a:lnTo>
                      <a:pt x="91" y="157"/>
                    </a:lnTo>
                    <a:lnTo>
                      <a:pt x="103" y="129"/>
                    </a:lnTo>
                    <a:lnTo>
                      <a:pt x="110" y="118"/>
                    </a:lnTo>
                    <a:lnTo>
                      <a:pt x="136" y="104"/>
                    </a:lnTo>
                    <a:lnTo>
                      <a:pt x="157" y="107"/>
                    </a:lnTo>
                    <a:lnTo>
                      <a:pt x="177" y="125"/>
                    </a:lnTo>
                    <a:lnTo>
                      <a:pt x="184" y="137"/>
                    </a:lnTo>
                    <a:lnTo>
                      <a:pt x="237" y="70"/>
                    </a:lnTo>
                    <a:lnTo>
                      <a:pt x="241" y="46"/>
                    </a:lnTo>
                    <a:lnTo>
                      <a:pt x="245" y="39"/>
                    </a:lnTo>
                    <a:lnTo>
                      <a:pt x="238" y="25"/>
                    </a:lnTo>
                    <a:lnTo>
                      <a:pt x="201" y="10"/>
                    </a:lnTo>
                    <a:lnTo>
                      <a:pt x="185" y="0"/>
                    </a:lnTo>
                    <a:lnTo>
                      <a:pt x="167" y="2"/>
                    </a:lnTo>
                    <a:lnTo>
                      <a:pt x="146" y="21"/>
                    </a:lnTo>
                    <a:lnTo>
                      <a:pt x="132" y="40"/>
                    </a:lnTo>
                    <a:lnTo>
                      <a:pt x="111" y="51"/>
                    </a:lnTo>
                    <a:lnTo>
                      <a:pt x="83" y="53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409" name="Freeform 173"/>
              <p:cNvSpPr>
                <a:spLocks/>
              </p:cNvSpPr>
              <p:nvPr>
                <p:custDataLst>
                  <p:tags r:id="rId234"/>
                </p:custDataLst>
              </p:nvPr>
            </p:nvSpPr>
            <p:spPr bwMode="auto">
              <a:xfrm>
                <a:off x="4621" y="2015"/>
                <a:ext cx="165" cy="162"/>
              </a:xfrm>
              <a:custGeom>
                <a:avLst/>
                <a:gdLst>
                  <a:gd name="T0" fmla="*/ 137 w 1101"/>
                  <a:gd name="T1" fmla="*/ 969 h 1092"/>
                  <a:gd name="T2" fmla="*/ 202 w 1101"/>
                  <a:gd name="T3" fmla="*/ 972 h 1092"/>
                  <a:gd name="T4" fmla="*/ 299 w 1101"/>
                  <a:gd name="T5" fmla="*/ 956 h 1092"/>
                  <a:gd name="T6" fmla="*/ 393 w 1101"/>
                  <a:gd name="T7" fmla="*/ 933 h 1092"/>
                  <a:gd name="T8" fmla="*/ 443 w 1101"/>
                  <a:gd name="T9" fmla="*/ 928 h 1092"/>
                  <a:gd name="T10" fmla="*/ 417 w 1101"/>
                  <a:gd name="T11" fmla="*/ 979 h 1092"/>
                  <a:gd name="T12" fmla="*/ 433 w 1101"/>
                  <a:gd name="T13" fmla="*/ 1058 h 1092"/>
                  <a:gd name="T14" fmla="*/ 532 w 1101"/>
                  <a:gd name="T15" fmla="*/ 1006 h 1092"/>
                  <a:gd name="T16" fmla="*/ 600 w 1101"/>
                  <a:gd name="T17" fmla="*/ 972 h 1092"/>
                  <a:gd name="T18" fmla="*/ 561 w 1101"/>
                  <a:gd name="T19" fmla="*/ 939 h 1092"/>
                  <a:gd name="T20" fmla="*/ 584 w 1101"/>
                  <a:gd name="T21" fmla="*/ 891 h 1092"/>
                  <a:gd name="T22" fmla="*/ 684 w 1101"/>
                  <a:gd name="T23" fmla="*/ 933 h 1092"/>
                  <a:gd name="T24" fmla="*/ 753 w 1101"/>
                  <a:gd name="T25" fmla="*/ 887 h 1092"/>
                  <a:gd name="T26" fmla="*/ 782 w 1101"/>
                  <a:gd name="T27" fmla="*/ 886 h 1092"/>
                  <a:gd name="T28" fmla="*/ 793 w 1101"/>
                  <a:gd name="T29" fmla="*/ 931 h 1092"/>
                  <a:gd name="T30" fmla="*/ 827 w 1101"/>
                  <a:gd name="T31" fmla="*/ 854 h 1092"/>
                  <a:gd name="T32" fmla="*/ 896 w 1101"/>
                  <a:gd name="T33" fmla="*/ 801 h 1092"/>
                  <a:gd name="T34" fmla="*/ 888 w 1101"/>
                  <a:gd name="T35" fmla="*/ 896 h 1092"/>
                  <a:gd name="T36" fmla="*/ 950 w 1101"/>
                  <a:gd name="T37" fmla="*/ 810 h 1092"/>
                  <a:gd name="T38" fmla="*/ 967 w 1101"/>
                  <a:gd name="T39" fmla="*/ 764 h 1092"/>
                  <a:gd name="T40" fmla="*/ 969 w 1101"/>
                  <a:gd name="T41" fmla="*/ 659 h 1092"/>
                  <a:gd name="T42" fmla="*/ 994 w 1101"/>
                  <a:gd name="T43" fmla="*/ 523 h 1092"/>
                  <a:gd name="T44" fmla="*/ 998 w 1101"/>
                  <a:gd name="T45" fmla="*/ 456 h 1092"/>
                  <a:gd name="T46" fmla="*/ 1044 w 1101"/>
                  <a:gd name="T47" fmla="*/ 421 h 1092"/>
                  <a:gd name="T48" fmla="*/ 1058 w 1101"/>
                  <a:gd name="T49" fmla="*/ 366 h 1092"/>
                  <a:gd name="T50" fmla="*/ 1100 w 1101"/>
                  <a:gd name="T51" fmla="*/ 244 h 1092"/>
                  <a:gd name="T52" fmla="*/ 1048 w 1101"/>
                  <a:gd name="T53" fmla="*/ 130 h 1092"/>
                  <a:gd name="T54" fmla="*/ 1030 w 1101"/>
                  <a:gd name="T55" fmla="*/ 9 h 1092"/>
                  <a:gd name="T56" fmla="*/ 995 w 1101"/>
                  <a:gd name="T57" fmla="*/ 45 h 1092"/>
                  <a:gd name="T58" fmla="*/ 982 w 1101"/>
                  <a:gd name="T59" fmla="*/ 96 h 1092"/>
                  <a:gd name="T60" fmla="*/ 951 w 1101"/>
                  <a:gd name="T61" fmla="*/ 64 h 1092"/>
                  <a:gd name="T62" fmla="*/ 920 w 1101"/>
                  <a:gd name="T63" fmla="*/ 100 h 1092"/>
                  <a:gd name="T64" fmla="*/ 895 w 1101"/>
                  <a:gd name="T65" fmla="*/ 202 h 1092"/>
                  <a:gd name="T66" fmla="*/ 905 w 1101"/>
                  <a:gd name="T67" fmla="*/ 243 h 1092"/>
                  <a:gd name="T68" fmla="*/ 879 w 1101"/>
                  <a:gd name="T69" fmla="*/ 371 h 1092"/>
                  <a:gd name="T70" fmla="*/ 848 w 1101"/>
                  <a:gd name="T71" fmla="*/ 447 h 1092"/>
                  <a:gd name="T72" fmla="*/ 793 w 1101"/>
                  <a:gd name="T73" fmla="*/ 509 h 1092"/>
                  <a:gd name="T74" fmla="*/ 656 w 1101"/>
                  <a:gd name="T75" fmla="*/ 627 h 1092"/>
                  <a:gd name="T76" fmla="*/ 615 w 1101"/>
                  <a:gd name="T77" fmla="*/ 652 h 1092"/>
                  <a:gd name="T78" fmla="*/ 622 w 1101"/>
                  <a:gd name="T79" fmla="*/ 588 h 1092"/>
                  <a:gd name="T80" fmla="*/ 591 w 1101"/>
                  <a:gd name="T81" fmla="*/ 565 h 1092"/>
                  <a:gd name="T82" fmla="*/ 578 w 1101"/>
                  <a:gd name="T83" fmla="*/ 652 h 1092"/>
                  <a:gd name="T84" fmla="*/ 509 w 1101"/>
                  <a:gd name="T85" fmla="*/ 746 h 1092"/>
                  <a:gd name="T86" fmla="*/ 486 w 1101"/>
                  <a:gd name="T87" fmla="*/ 815 h 1092"/>
                  <a:gd name="T88" fmla="*/ 433 w 1101"/>
                  <a:gd name="T89" fmla="*/ 817 h 1092"/>
                  <a:gd name="T90" fmla="*/ 239 w 1101"/>
                  <a:gd name="T91" fmla="*/ 834 h 1092"/>
                  <a:gd name="T92" fmla="*/ 197 w 1101"/>
                  <a:gd name="T93" fmla="*/ 824 h 1092"/>
                  <a:gd name="T94" fmla="*/ 54 w 1101"/>
                  <a:gd name="T95" fmla="*/ 969 h 1092"/>
                  <a:gd name="T96" fmla="*/ 4 w 1101"/>
                  <a:gd name="T97" fmla="*/ 991 h 1092"/>
                  <a:gd name="T98" fmla="*/ 61 w 1101"/>
                  <a:gd name="T99" fmla="*/ 1014 h 1092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101"/>
                  <a:gd name="T151" fmla="*/ 0 h 1092"/>
                  <a:gd name="T152" fmla="*/ 1101 w 1101"/>
                  <a:gd name="T153" fmla="*/ 1092 h 1092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101" h="1092">
                    <a:moveTo>
                      <a:pt x="119" y="1032"/>
                    </a:moveTo>
                    <a:lnTo>
                      <a:pt x="119" y="995"/>
                    </a:lnTo>
                    <a:lnTo>
                      <a:pt x="137" y="969"/>
                    </a:lnTo>
                    <a:lnTo>
                      <a:pt x="159" y="972"/>
                    </a:lnTo>
                    <a:lnTo>
                      <a:pt x="167" y="990"/>
                    </a:lnTo>
                    <a:lnTo>
                      <a:pt x="202" y="972"/>
                    </a:lnTo>
                    <a:lnTo>
                      <a:pt x="275" y="949"/>
                    </a:lnTo>
                    <a:lnTo>
                      <a:pt x="287" y="951"/>
                    </a:lnTo>
                    <a:lnTo>
                      <a:pt x="299" y="956"/>
                    </a:lnTo>
                    <a:lnTo>
                      <a:pt x="337" y="931"/>
                    </a:lnTo>
                    <a:lnTo>
                      <a:pt x="358" y="924"/>
                    </a:lnTo>
                    <a:lnTo>
                      <a:pt x="393" y="933"/>
                    </a:lnTo>
                    <a:lnTo>
                      <a:pt x="407" y="935"/>
                    </a:lnTo>
                    <a:lnTo>
                      <a:pt x="434" y="926"/>
                    </a:lnTo>
                    <a:lnTo>
                      <a:pt x="443" y="928"/>
                    </a:lnTo>
                    <a:lnTo>
                      <a:pt x="446" y="944"/>
                    </a:lnTo>
                    <a:lnTo>
                      <a:pt x="437" y="960"/>
                    </a:lnTo>
                    <a:lnTo>
                      <a:pt x="417" y="979"/>
                    </a:lnTo>
                    <a:lnTo>
                      <a:pt x="412" y="990"/>
                    </a:lnTo>
                    <a:lnTo>
                      <a:pt x="421" y="1048"/>
                    </a:lnTo>
                    <a:lnTo>
                      <a:pt x="433" y="1058"/>
                    </a:lnTo>
                    <a:lnTo>
                      <a:pt x="458" y="1071"/>
                    </a:lnTo>
                    <a:lnTo>
                      <a:pt x="488" y="1092"/>
                    </a:lnTo>
                    <a:lnTo>
                      <a:pt x="532" y="1006"/>
                    </a:lnTo>
                    <a:lnTo>
                      <a:pt x="551" y="991"/>
                    </a:lnTo>
                    <a:lnTo>
                      <a:pt x="586" y="984"/>
                    </a:lnTo>
                    <a:lnTo>
                      <a:pt x="600" y="972"/>
                    </a:lnTo>
                    <a:lnTo>
                      <a:pt x="582" y="953"/>
                    </a:lnTo>
                    <a:lnTo>
                      <a:pt x="562" y="942"/>
                    </a:lnTo>
                    <a:lnTo>
                      <a:pt x="561" y="939"/>
                    </a:lnTo>
                    <a:lnTo>
                      <a:pt x="570" y="917"/>
                    </a:lnTo>
                    <a:lnTo>
                      <a:pt x="573" y="907"/>
                    </a:lnTo>
                    <a:lnTo>
                      <a:pt x="584" y="891"/>
                    </a:lnTo>
                    <a:lnTo>
                      <a:pt x="615" y="910"/>
                    </a:lnTo>
                    <a:lnTo>
                      <a:pt x="634" y="944"/>
                    </a:lnTo>
                    <a:lnTo>
                      <a:pt x="684" y="933"/>
                    </a:lnTo>
                    <a:lnTo>
                      <a:pt x="723" y="937"/>
                    </a:lnTo>
                    <a:lnTo>
                      <a:pt x="737" y="907"/>
                    </a:lnTo>
                    <a:lnTo>
                      <a:pt x="753" y="887"/>
                    </a:lnTo>
                    <a:lnTo>
                      <a:pt x="766" y="879"/>
                    </a:lnTo>
                    <a:lnTo>
                      <a:pt x="774" y="875"/>
                    </a:lnTo>
                    <a:lnTo>
                      <a:pt x="782" y="886"/>
                    </a:lnTo>
                    <a:lnTo>
                      <a:pt x="782" y="921"/>
                    </a:lnTo>
                    <a:lnTo>
                      <a:pt x="785" y="930"/>
                    </a:lnTo>
                    <a:lnTo>
                      <a:pt x="793" y="931"/>
                    </a:lnTo>
                    <a:lnTo>
                      <a:pt x="809" y="916"/>
                    </a:lnTo>
                    <a:lnTo>
                      <a:pt x="811" y="872"/>
                    </a:lnTo>
                    <a:lnTo>
                      <a:pt x="827" y="854"/>
                    </a:lnTo>
                    <a:lnTo>
                      <a:pt x="847" y="852"/>
                    </a:lnTo>
                    <a:lnTo>
                      <a:pt x="872" y="815"/>
                    </a:lnTo>
                    <a:lnTo>
                      <a:pt x="896" y="801"/>
                    </a:lnTo>
                    <a:lnTo>
                      <a:pt x="905" y="810"/>
                    </a:lnTo>
                    <a:lnTo>
                      <a:pt x="883" y="880"/>
                    </a:lnTo>
                    <a:lnTo>
                      <a:pt x="888" y="896"/>
                    </a:lnTo>
                    <a:lnTo>
                      <a:pt x="934" y="870"/>
                    </a:lnTo>
                    <a:lnTo>
                      <a:pt x="942" y="820"/>
                    </a:lnTo>
                    <a:lnTo>
                      <a:pt x="950" y="810"/>
                    </a:lnTo>
                    <a:lnTo>
                      <a:pt x="958" y="803"/>
                    </a:lnTo>
                    <a:lnTo>
                      <a:pt x="987" y="785"/>
                    </a:lnTo>
                    <a:lnTo>
                      <a:pt x="967" y="764"/>
                    </a:lnTo>
                    <a:lnTo>
                      <a:pt x="958" y="746"/>
                    </a:lnTo>
                    <a:lnTo>
                      <a:pt x="957" y="703"/>
                    </a:lnTo>
                    <a:lnTo>
                      <a:pt x="969" y="659"/>
                    </a:lnTo>
                    <a:lnTo>
                      <a:pt x="999" y="613"/>
                    </a:lnTo>
                    <a:lnTo>
                      <a:pt x="1000" y="571"/>
                    </a:lnTo>
                    <a:lnTo>
                      <a:pt x="994" y="523"/>
                    </a:lnTo>
                    <a:lnTo>
                      <a:pt x="991" y="509"/>
                    </a:lnTo>
                    <a:lnTo>
                      <a:pt x="990" y="484"/>
                    </a:lnTo>
                    <a:lnTo>
                      <a:pt x="998" y="456"/>
                    </a:lnTo>
                    <a:lnTo>
                      <a:pt x="1005" y="444"/>
                    </a:lnTo>
                    <a:lnTo>
                      <a:pt x="1012" y="437"/>
                    </a:lnTo>
                    <a:lnTo>
                      <a:pt x="1044" y="421"/>
                    </a:lnTo>
                    <a:lnTo>
                      <a:pt x="1051" y="415"/>
                    </a:lnTo>
                    <a:lnTo>
                      <a:pt x="1048" y="393"/>
                    </a:lnTo>
                    <a:lnTo>
                      <a:pt x="1058" y="366"/>
                    </a:lnTo>
                    <a:lnTo>
                      <a:pt x="1089" y="318"/>
                    </a:lnTo>
                    <a:lnTo>
                      <a:pt x="1101" y="276"/>
                    </a:lnTo>
                    <a:lnTo>
                      <a:pt x="1100" y="244"/>
                    </a:lnTo>
                    <a:lnTo>
                      <a:pt x="1068" y="156"/>
                    </a:lnTo>
                    <a:lnTo>
                      <a:pt x="1058" y="137"/>
                    </a:lnTo>
                    <a:lnTo>
                      <a:pt x="1048" y="130"/>
                    </a:lnTo>
                    <a:lnTo>
                      <a:pt x="1047" y="36"/>
                    </a:lnTo>
                    <a:lnTo>
                      <a:pt x="1044" y="23"/>
                    </a:lnTo>
                    <a:lnTo>
                      <a:pt x="1030" y="9"/>
                    </a:lnTo>
                    <a:lnTo>
                      <a:pt x="1011" y="0"/>
                    </a:lnTo>
                    <a:lnTo>
                      <a:pt x="981" y="25"/>
                    </a:lnTo>
                    <a:lnTo>
                      <a:pt x="995" y="45"/>
                    </a:lnTo>
                    <a:lnTo>
                      <a:pt x="1011" y="47"/>
                    </a:lnTo>
                    <a:lnTo>
                      <a:pt x="1018" y="80"/>
                    </a:lnTo>
                    <a:lnTo>
                      <a:pt x="982" y="96"/>
                    </a:lnTo>
                    <a:lnTo>
                      <a:pt x="969" y="100"/>
                    </a:lnTo>
                    <a:lnTo>
                      <a:pt x="961" y="86"/>
                    </a:lnTo>
                    <a:lnTo>
                      <a:pt x="951" y="64"/>
                    </a:lnTo>
                    <a:lnTo>
                      <a:pt x="942" y="64"/>
                    </a:lnTo>
                    <a:lnTo>
                      <a:pt x="928" y="84"/>
                    </a:lnTo>
                    <a:lnTo>
                      <a:pt x="920" y="100"/>
                    </a:lnTo>
                    <a:lnTo>
                      <a:pt x="896" y="121"/>
                    </a:lnTo>
                    <a:lnTo>
                      <a:pt x="902" y="184"/>
                    </a:lnTo>
                    <a:lnTo>
                      <a:pt x="895" y="202"/>
                    </a:lnTo>
                    <a:lnTo>
                      <a:pt x="884" y="214"/>
                    </a:lnTo>
                    <a:lnTo>
                      <a:pt x="891" y="230"/>
                    </a:lnTo>
                    <a:lnTo>
                      <a:pt x="905" y="243"/>
                    </a:lnTo>
                    <a:lnTo>
                      <a:pt x="907" y="271"/>
                    </a:lnTo>
                    <a:lnTo>
                      <a:pt x="893" y="338"/>
                    </a:lnTo>
                    <a:lnTo>
                      <a:pt x="879" y="371"/>
                    </a:lnTo>
                    <a:lnTo>
                      <a:pt x="880" y="380"/>
                    </a:lnTo>
                    <a:lnTo>
                      <a:pt x="856" y="415"/>
                    </a:lnTo>
                    <a:lnTo>
                      <a:pt x="848" y="447"/>
                    </a:lnTo>
                    <a:lnTo>
                      <a:pt x="842" y="463"/>
                    </a:lnTo>
                    <a:lnTo>
                      <a:pt x="826" y="484"/>
                    </a:lnTo>
                    <a:lnTo>
                      <a:pt x="793" y="509"/>
                    </a:lnTo>
                    <a:lnTo>
                      <a:pt x="777" y="548"/>
                    </a:lnTo>
                    <a:lnTo>
                      <a:pt x="757" y="567"/>
                    </a:lnTo>
                    <a:lnTo>
                      <a:pt x="656" y="627"/>
                    </a:lnTo>
                    <a:lnTo>
                      <a:pt x="637" y="648"/>
                    </a:lnTo>
                    <a:lnTo>
                      <a:pt x="628" y="655"/>
                    </a:lnTo>
                    <a:lnTo>
                      <a:pt x="615" y="652"/>
                    </a:lnTo>
                    <a:lnTo>
                      <a:pt x="609" y="631"/>
                    </a:lnTo>
                    <a:lnTo>
                      <a:pt x="611" y="602"/>
                    </a:lnTo>
                    <a:lnTo>
                      <a:pt x="622" y="588"/>
                    </a:lnTo>
                    <a:lnTo>
                      <a:pt x="643" y="571"/>
                    </a:lnTo>
                    <a:lnTo>
                      <a:pt x="640" y="549"/>
                    </a:lnTo>
                    <a:lnTo>
                      <a:pt x="591" y="565"/>
                    </a:lnTo>
                    <a:lnTo>
                      <a:pt x="584" y="572"/>
                    </a:lnTo>
                    <a:lnTo>
                      <a:pt x="574" y="585"/>
                    </a:lnTo>
                    <a:lnTo>
                      <a:pt x="578" y="652"/>
                    </a:lnTo>
                    <a:lnTo>
                      <a:pt x="561" y="680"/>
                    </a:lnTo>
                    <a:lnTo>
                      <a:pt x="531" y="714"/>
                    </a:lnTo>
                    <a:lnTo>
                      <a:pt x="509" y="746"/>
                    </a:lnTo>
                    <a:lnTo>
                      <a:pt x="505" y="775"/>
                    </a:lnTo>
                    <a:lnTo>
                      <a:pt x="505" y="796"/>
                    </a:lnTo>
                    <a:lnTo>
                      <a:pt x="486" y="815"/>
                    </a:lnTo>
                    <a:lnTo>
                      <a:pt x="456" y="827"/>
                    </a:lnTo>
                    <a:lnTo>
                      <a:pt x="449" y="833"/>
                    </a:lnTo>
                    <a:lnTo>
                      <a:pt x="433" y="817"/>
                    </a:lnTo>
                    <a:lnTo>
                      <a:pt x="430" y="789"/>
                    </a:lnTo>
                    <a:lnTo>
                      <a:pt x="389" y="804"/>
                    </a:lnTo>
                    <a:lnTo>
                      <a:pt x="239" y="834"/>
                    </a:lnTo>
                    <a:lnTo>
                      <a:pt x="218" y="842"/>
                    </a:lnTo>
                    <a:lnTo>
                      <a:pt x="216" y="817"/>
                    </a:lnTo>
                    <a:lnTo>
                      <a:pt x="197" y="824"/>
                    </a:lnTo>
                    <a:lnTo>
                      <a:pt x="185" y="824"/>
                    </a:lnTo>
                    <a:lnTo>
                      <a:pt x="89" y="940"/>
                    </a:lnTo>
                    <a:lnTo>
                      <a:pt x="54" y="969"/>
                    </a:lnTo>
                    <a:lnTo>
                      <a:pt x="32" y="976"/>
                    </a:lnTo>
                    <a:lnTo>
                      <a:pt x="12" y="974"/>
                    </a:lnTo>
                    <a:lnTo>
                      <a:pt x="4" y="991"/>
                    </a:lnTo>
                    <a:lnTo>
                      <a:pt x="0" y="1011"/>
                    </a:lnTo>
                    <a:lnTo>
                      <a:pt x="12" y="1020"/>
                    </a:lnTo>
                    <a:lnTo>
                      <a:pt x="61" y="1014"/>
                    </a:lnTo>
                    <a:lnTo>
                      <a:pt x="86" y="1018"/>
                    </a:lnTo>
                    <a:lnTo>
                      <a:pt x="119" y="1032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410" name="Freeform 174"/>
              <p:cNvSpPr>
                <a:spLocks/>
              </p:cNvSpPr>
              <p:nvPr>
                <p:custDataLst>
                  <p:tags r:id="rId235"/>
                </p:custDataLst>
              </p:nvPr>
            </p:nvSpPr>
            <p:spPr bwMode="auto">
              <a:xfrm>
                <a:off x="4600" y="2170"/>
                <a:ext cx="35" cy="54"/>
              </a:xfrm>
              <a:custGeom>
                <a:avLst/>
                <a:gdLst>
                  <a:gd name="T0" fmla="*/ 192 w 245"/>
                  <a:gd name="T1" fmla="*/ 41 h 365"/>
                  <a:gd name="T2" fmla="*/ 172 w 245"/>
                  <a:gd name="T3" fmla="*/ 35 h 365"/>
                  <a:gd name="T4" fmla="*/ 160 w 245"/>
                  <a:gd name="T5" fmla="*/ 25 h 365"/>
                  <a:gd name="T6" fmla="*/ 150 w 245"/>
                  <a:gd name="T7" fmla="*/ 4 h 365"/>
                  <a:gd name="T8" fmla="*/ 130 w 245"/>
                  <a:gd name="T9" fmla="*/ 0 h 365"/>
                  <a:gd name="T10" fmla="*/ 107 w 245"/>
                  <a:gd name="T11" fmla="*/ 4 h 365"/>
                  <a:gd name="T12" fmla="*/ 97 w 245"/>
                  <a:gd name="T13" fmla="*/ 20 h 365"/>
                  <a:gd name="T14" fmla="*/ 84 w 245"/>
                  <a:gd name="T15" fmla="*/ 48 h 365"/>
                  <a:gd name="T16" fmla="*/ 53 w 245"/>
                  <a:gd name="T17" fmla="*/ 57 h 365"/>
                  <a:gd name="T18" fmla="*/ 20 w 245"/>
                  <a:gd name="T19" fmla="*/ 53 h 365"/>
                  <a:gd name="T20" fmla="*/ 0 w 245"/>
                  <a:gd name="T21" fmla="*/ 71 h 365"/>
                  <a:gd name="T22" fmla="*/ 12 w 245"/>
                  <a:gd name="T23" fmla="*/ 94 h 365"/>
                  <a:gd name="T24" fmla="*/ 29 w 245"/>
                  <a:gd name="T25" fmla="*/ 110 h 365"/>
                  <a:gd name="T26" fmla="*/ 40 w 245"/>
                  <a:gd name="T27" fmla="*/ 138 h 365"/>
                  <a:gd name="T28" fmla="*/ 51 w 245"/>
                  <a:gd name="T29" fmla="*/ 145 h 365"/>
                  <a:gd name="T30" fmla="*/ 69 w 245"/>
                  <a:gd name="T31" fmla="*/ 117 h 365"/>
                  <a:gd name="T32" fmla="*/ 77 w 245"/>
                  <a:gd name="T33" fmla="*/ 101 h 365"/>
                  <a:gd name="T34" fmla="*/ 91 w 245"/>
                  <a:gd name="T35" fmla="*/ 102 h 365"/>
                  <a:gd name="T36" fmla="*/ 115 w 245"/>
                  <a:gd name="T37" fmla="*/ 148 h 365"/>
                  <a:gd name="T38" fmla="*/ 113 w 245"/>
                  <a:gd name="T39" fmla="*/ 177 h 365"/>
                  <a:gd name="T40" fmla="*/ 109 w 245"/>
                  <a:gd name="T41" fmla="*/ 184 h 365"/>
                  <a:gd name="T42" fmla="*/ 80 w 245"/>
                  <a:gd name="T43" fmla="*/ 219 h 365"/>
                  <a:gd name="T44" fmla="*/ 72 w 245"/>
                  <a:gd name="T45" fmla="*/ 224 h 365"/>
                  <a:gd name="T46" fmla="*/ 86 w 245"/>
                  <a:gd name="T47" fmla="*/ 277 h 365"/>
                  <a:gd name="T48" fmla="*/ 85 w 245"/>
                  <a:gd name="T49" fmla="*/ 295 h 365"/>
                  <a:gd name="T50" fmla="*/ 72 w 245"/>
                  <a:gd name="T51" fmla="*/ 323 h 365"/>
                  <a:gd name="T52" fmla="*/ 74 w 245"/>
                  <a:gd name="T53" fmla="*/ 335 h 365"/>
                  <a:gd name="T54" fmla="*/ 88 w 245"/>
                  <a:gd name="T55" fmla="*/ 346 h 365"/>
                  <a:gd name="T56" fmla="*/ 106 w 245"/>
                  <a:gd name="T57" fmla="*/ 321 h 365"/>
                  <a:gd name="T58" fmla="*/ 112 w 245"/>
                  <a:gd name="T59" fmla="*/ 293 h 365"/>
                  <a:gd name="T60" fmla="*/ 122 w 245"/>
                  <a:gd name="T61" fmla="*/ 282 h 365"/>
                  <a:gd name="T62" fmla="*/ 137 w 245"/>
                  <a:gd name="T63" fmla="*/ 288 h 365"/>
                  <a:gd name="T64" fmla="*/ 133 w 245"/>
                  <a:gd name="T65" fmla="*/ 323 h 365"/>
                  <a:gd name="T66" fmla="*/ 121 w 245"/>
                  <a:gd name="T67" fmla="*/ 355 h 365"/>
                  <a:gd name="T68" fmla="*/ 122 w 245"/>
                  <a:gd name="T69" fmla="*/ 362 h 365"/>
                  <a:gd name="T70" fmla="*/ 139 w 245"/>
                  <a:gd name="T71" fmla="*/ 365 h 365"/>
                  <a:gd name="T72" fmla="*/ 159 w 245"/>
                  <a:gd name="T73" fmla="*/ 325 h 365"/>
                  <a:gd name="T74" fmla="*/ 168 w 245"/>
                  <a:gd name="T75" fmla="*/ 314 h 365"/>
                  <a:gd name="T76" fmla="*/ 184 w 245"/>
                  <a:gd name="T77" fmla="*/ 305 h 365"/>
                  <a:gd name="T78" fmla="*/ 195 w 245"/>
                  <a:gd name="T79" fmla="*/ 284 h 365"/>
                  <a:gd name="T80" fmla="*/ 204 w 245"/>
                  <a:gd name="T81" fmla="*/ 210 h 365"/>
                  <a:gd name="T82" fmla="*/ 208 w 245"/>
                  <a:gd name="T83" fmla="*/ 189 h 365"/>
                  <a:gd name="T84" fmla="*/ 219 w 245"/>
                  <a:gd name="T85" fmla="*/ 164 h 365"/>
                  <a:gd name="T86" fmla="*/ 245 w 245"/>
                  <a:gd name="T87" fmla="*/ 131 h 365"/>
                  <a:gd name="T88" fmla="*/ 242 w 245"/>
                  <a:gd name="T89" fmla="*/ 117 h 365"/>
                  <a:gd name="T90" fmla="*/ 221 w 245"/>
                  <a:gd name="T91" fmla="*/ 90 h 365"/>
                  <a:gd name="T92" fmla="*/ 204 w 245"/>
                  <a:gd name="T93" fmla="*/ 76 h 365"/>
                  <a:gd name="T94" fmla="*/ 229 w 245"/>
                  <a:gd name="T95" fmla="*/ 51 h 365"/>
                  <a:gd name="T96" fmla="*/ 220 w 245"/>
                  <a:gd name="T97" fmla="*/ 28 h 365"/>
                  <a:gd name="T98" fmla="*/ 192 w 245"/>
                  <a:gd name="T99" fmla="*/ 41 h 365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245"/>
                  <a:gd name="T151" fmla="*/ 0 h 365"/>
                  <a:gd name="T152" fmla="*/ 245 w 245"/>
                  <a:gd name="T153" fmla="*/ 365 h 365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245" h="365">
                    <a:moveTo>
                      <a:pt x="192" y="41"/>
                    </a:moveTo>
                    <a:lnTo>
                      <a:pt x="172" y="35"/>
                    </a:lnTo>
                    <a:lnTo>
                      <a:pt x="160" y="25"/>
                    </a:lnTo>
                    <a:lnTo>
                      <a:pt x="150" y="4"/>
                    </a:lnTo>
                    <a:lnTo>
                      <a:pt x="130" y="0"/>
                    </a:lnTo>
                    <a:lnTo>
                      <a:pt x="107" y="4"/>
                    </a:lnTo>
                    <a:lnTo>
                      <a:pt x="97" y="20"/>
                    </a:lnTo>
                    <a:lnTo>
                      <a:pt x="84" y="48"/>
                    </a:lnTo>
                    <a:lnTo>
                      <a:pt x="53" y="57"/>
                    </a:lnTo>
                    <a:lnTo>
                      <a:pt x="20" y="53"/>
                    </a:lnTo>
                    <a:lnTo>
                      <a:pt x="0" y="71"/>
                    </a:lnTo>
                    <a:lnTo>
                      <a:pt x="12" y="94"/>
                    </a:lnTo>
                    <a:lnTo>
                      <a:pt x="29" y="110"/>
                    </a:lnTo>
                    <a:lnTo>
                      <a:pt x="40" y="138"/>
                    </a:lnTo>
                    <a:lnTo>
                      <a:pt x="51" y="145"/>
                    </a:lnTo>
                    <a:lnTo>
                      <a:pt x="69" y="117"/>
                    </a:lnTo>
                    <a:lnTo>
                      <a:pt x="77" y="101"/>
                    </a:lnTo>
                    <a:lnTo>
                      <a:pt x="91" y="102"/>
                    </a:lnTo>
                    <a:lnTo>
                      <a:pt x="115" y="148"/>
                    </a:lnTo>
                    <a:lnTo>
                      <a:pt x="113" y="177"/>
                    </a:lnTo>
                    <a:lnTo>
                      <a:pt x="109" y="184"/>
                    </a:lnTo>
                    <a:lnTo>
                      <a:pt x="80" y="219"/>
                    </a:lnTo>
                    <a:lnTo>
                      <a:pt x="72" y="224"/>
                    </a:lnTo>
                    <a:lnTo>
                      <a:pt x="86" y="277"/>
                    </a:lnTo>
                    <a:lnTo>
                      <a:pt x="85" y="295"/>
                    </a:lnTo>
                    <a:lnTo>
                      <a:pt x="72" y="323"/>
                    </a:lnTo>
                    <a:lnTo>
                      <a:pt x="74" y="335"/>
                    </a:lnTo>
                    <a:lnTo>
                      <a:pt x="88" y="346"/>
                    </a:lnTo>
                    <a:lnTo>
                      <a:pt x="106" y="321"/>
                    </a:lnTo>
                    <a:lnTo>
                      <a:pt x="112" y="293"/>
                    </a:lnTo>
                    <a:lnTo>
                      <a:pt x="122" y="282"/>
                    </a:lnTo>
                    <a:lnTo>
                      <a:pt x="137" y="288"/>
                    </a:lnTo>
                    <a:lnTo>
                      <a:pt x="133" y="323"/>
                    </a:lnTo>
                    <a:lnTo>
                      <a:pt x="121" y="355"/>
                    </a:lnTo>
                    <a:lnTo>
                      <a:pt x="122" y="362"/>
                    </a:lnTo>
                    <a:lnTo>
                      <a:pt x="139" y="365"/>
                    </a:lnTo>
                    <a:lnTo>
                      <a:pt x="159" y="325"/>
                    </a:lnTo>
                    <a:lnTo>
                      <a:pt x="168" y="314"/>
                    </a:lnTo>
                    <a:lnTo>
                      <a:pt x="184" y="305"/>
                    </a:lnTo>
                    <a:lnTo>
                      <a:pt x="195" y="284"/>
                    </a:lnTo>
                    <a:lnTo>
                      <a:pt x="204" y="210"/>
                    </a:lnTo>
                    <a:lnTo>
                      <a:pt x="208" y="189"/>
                    </a:lnTo>
                    <a:lnTo>
                      <a:pt x="219" y="164"/>
                    </a:lnTo>
                    <a:lnTo>
                      <a:pt x="245" y="131"/>
                    </a:lnTo>
                    <a:lnTo>
                      <a:pt x="242" y="117"/>
                    </a:lnTo>
                    <a:lnTo>
                      <a:pt x="221" y="90"/>
                    </a:lnTo>
                    <a:lnTo>
                      <a:pt x="204" y="76"/>
                    </a:lnTo>
                    <a:lnTo>
                      <a:pt x="229" y="51"/>
                    </a:lnTo>
                    <a:lnTo>
                      <a:pt x="220" y="28"/>
                    </a:lnTo>
                    <a:lnTo>
                      <a:pt x="192" y="41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411" name="Freeform 175"/>
              <p:cNvSpPr>
                <a:spLocks/>
              </p:cNvSpPr>
              <p:nvPr>
                <p:custDataLst>
                  <p:tags r:id="rId236"/>
                </p:custDataLst>
              </p:nvPr>
            </p:nvSpPr>
            <p:spPr bwMode="auto">
              <a:xfrm>
                <a:off x="4753" y="1931"/>
                <a:ext cx="84" cy="87"/>
              </a:xfrm>
              <a:custGeom>
                <a:avLst/>
                <a:gdLst>
                  <a:gd name="T0" fmla="*/ 212 w 563"/>
                  <a:gd name="T1" fmla="*/ 0 h 591"/>
                  <a:gd name="T2" fmla="*/ 177 w 563"/>
                  <a:gd name="T3" fmla="*/ 37 h 591"/>
                  <a:gd name="T4" fmla="*/ 200 w 563"/>
                  <a:gd name="T5" fmla="*/ 116 h 591"/>
                  <a:gd name="T6" fmla="*/ 176 w 563"/>
                  <a:gd name="T7" fmla="*/ 235 h 591"/>
                  <a:gd name="T8" fmla="*/ 156 w 563"/>
                  <a:gd name="T9" fmla="*/ 323 h 591"/>
                  <a:gd name="T10" fmla="*/ 117 w 563"/>
                  <a:gd name="T11" fmla="*/ 330 h 591"/>
                  <a:gd name="T12" fmla="*/ 77 w 563"/>
                  <a:gd name="T13" fmla="*/ 303 h 591"/>
                  <a:gd name="T14" fmla="*/ 80 w 563"/>
                  <a:gd name="T15" fmla="*/ 340 h 591"/>
                  <a:gd name="T16" fmla="*/ 49 w 563"/>
                  <a:gd name="T17" fmla="*/ 386 h 591"/>
                  <a:gd name="T18" fmla="*/ 0 w 563"/>
                  <a:gd name="T19" fmla="*/ 422 h 591"/>
                  <a:gd name="T20" fmla="*/ 15 w 563"/>
                  <a:gd name="T21" fmla="*/ 485 h 591"/>
                  <a:gd name="T22" fmla="*/ 41 w 563"/>
                  <a:gd name="T23" fmla="*/ 519 h 591"/>
                  <a:gd name="T24" fmla="*/ 29 w 563"/>
                  <a:gd name="T25" fmla="*/ 575 h 591"/>
                  <a:gd name="T26" fmla="*/ 54 w 563"/>
                  <a:gd name="T27" fmla="*/ 584 h 591"/>
                  <a:gd name="T28" fmla="*/ 98 w 563"/>
                  <a:gd name="T29" fmla="*/ 531 h 591"/>
                  <a:gd name="T30" fmla="*/ 124 w 563"/>
                  <a:gd name="T31" fmla="*/ 538 h 591"/>
                  <a:gd name="T32" fmla="*/ 129 w 563"/>
                  <a:gd name="T33" fmla="*/ 508 h 591"/>
                  <a:gd name="T34" fmla="*/ 50 w 563"/>
                  <a:gd name="T35" fmla="*/ 439 h 591"/>
                  <a:gd name="T36" fmla="*/ 81 w 563"/>
                  <a:gd name="T37" fmla="*/ 414 h 591"/>
                  <a:gd name="T38" fmla="*/ 113 w 563"/>
                  <a:gd name="T39" fmla="*/ 434 h 591"/>
                  <a:gd name="T40" fmla="*/ 166 w 563"/>
                  <a:gd name="T41" fmla="*/ 416 h 591"/>
                  <a:gd name="T42" fmla="*/ 217 w 563"/>
                  <a:gd name="T43" fmla="*/ 420 h 591"/>
                  <a:gd name="T44" fmla="*/ 326 w 563"/>
                  <a:gd name="T45" fmla="*/ 496 h 591"/>
                  <a:gd name="T46" fmla="*/ 355 w 563"/>
                  <a:gd name="T47" fmla="*/ 462 h 591"/>
                  <a:gd name="T48" fmla="*/ 406 w 563"/>
                  <a:gd name="T49" fmla="*/ 381 h 591"/>
                  <a:gd name="T50" fmla="*/ 437 w 563"/>
                  <a:gd name="T51" fmla="*/ 356 h 591"/>
                  <a:gd name="T52" fmla="*/ 478 w 563"/>
                  <a:gd name="T53" fmla="*/ 369 h 591"/>
                  <a:gd name="T54" fmla="*/ 519 w 563"/>
                  <a:gd name="T55" fmla="*/ 358 h 591"/>
                  <a:gd name="T56" fmla="*/ 555 w 563"/>
                  <a:gd name="T57" fmla="*/ 302 h 591"/>
                  <a:gd name="T58" fmla="*/ 524 w 563"/>
                  <a:gd name="T59" fmla="*/ 236 h 591"/>
                  <a:gd name="T60" fmla="*/ 552 w 563"/>
                  <a:gd name="T61" fmla="*/ 178 h 591"/>
                  <a:gd name="T62" fmla="*/ 532 w 563"/>
                  <a:gd name="T63" fmla="*/ 182 h 591"/>
                  <a:gd name="T64" fmla="*/ 480 w 563"/>
                  <a:gd name="T65" fmla="*/ 229 h 591"/>
                  <a:gd name="T66" fmla="*/ 400 w 563"/>
                  <a:gd name="T67" fmla="*/ 203 h 591"/>
                  <a:gd name="T68" fmla="*/ 324 w 563"/>
                  <a:gd name="T69" fmla="*/ 139 h 591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563"/>
                  <a:gd name="T106" fmla="*/ 0 h 591"/>
                  <a:gd name="T107" fmla="*/ 563 w 563"/>
                  <a:gd name="T108" fmla="*/ 591 h 591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563" h="591">
                    <a:moveTo>
                      <a:pt x="215" y="5"/>
                    </a:moveTo>
                    <a:lnTo>
                      <a:pt x="212" y="0"/>
                    </a:lnTo>
                    <a:lnTo>
                      <a:pt x="185" y="23"/>
                    </a:lnTo>
                    <a:lnTo>
                      <a:pt x="177" y="37"/>
                    </a:lnTo>
                    <a:lnTo>
                      <a:pt x="182" y="67"/>
                    </a:lnTo>
                    <a:lnTo>
                      <a:pt x="200" y="116"/>
                    </a:lnTo>
                    <a:lnTo>
                      <a:pt x="196" y="219"/>
                    </a:lnTo>
                    <a:lnTo>
                      <a:pt x="176" y="235"/>
                    </a:lnTo>
                    <a:lnTo>
                      <a:pt x="155" y="247"/>
                    </a:lnTo>
                    <a:lnTo>
                      <a:pt x="156" y="323"/>
                    </a:lnTo>
                    <a:lnTo>
                      <a:pt x="134" y="335"/>
                    </a:lnTo>
                    <a:lnTo>
                      <a:pt x="117" y="330"/>
                    </a:lnTo>
                    <a:lnTo>
                      <a:pt x="87" y="302"/>
                    </a:lnTo>
                    <a:lnTo>
                      <a:pt x="77" y="303"/>
                    </a:lnTo>
                    <a:lnTo>
                      <a:pt x="65" y="323"/>
                    </a:lnTo>
                    <a:lnTo>
                      <a:pt x="80" y="340"/>
                    </a:lnTo>
                    <a:lnTo>
                      <a:pt x="77" y="363"/>
                    </a:lnTo>
                    <a:lnTo>
                      <a:pt x="49" y="386"/>
                    </a:lnTo>
                    <a:lnTo>
                      <a:pt x="26" y="399"/>
                    </a:lnTo>
                    <a:lnTo>
                      <a:pt x="0" y="422"/>
                    </a:lnTo>
                    <a:lnTo>
                      <a:pt x="7" y="474"/>
                    </a:lnTo>
                    <a:lnTo>
                      <a:pt x="15" y="485"/>
                    </a:lnTo>
                    <a:lnTo>
                      <a:pt x="38" y="497"/>
                    </a:lnTo>
                    <a:lnTo>
                      <a:pt x="41" y="519"/>
                    </a:lnTo>
                    <a:lnTo>
                      <a:pt x="26" y="559"/>
                    </a:lnTo>
                    <a:lnTo>
                      <a:pt x="29" y="575"/>
                    </a:lnTo>
                    <a:lnTo>
                      <a:pt x="40" y="591"/>
                    </a:lnTo>
                    <a:lnTo>
                      <a:pt x="54" y="584"/>
                    </a:lnTo>
                    <a:lnTo>
                      <a:pt x="86" y="534"/>
                    </a:lnTo>
                    <a:lnTo>
                      <a:pt x="98" y="531"/>
                    </a:lnTo>
                    <a:lnTo>
                      <a:pt x="111" y="540"/>
                    </a:lnTo>
                    <a:lnTo>
                      <a:pt x="124" y="538"/>
                    </a:lnTo>
                    <a:lnTo>
                      <a:pt x="142" y="524"/>
                    </a:lnTo>
                    <a:lnTo>
                      <a:pt x="129" y="508"/>
                    </a:lnTo>
                    <a:lnTo>
                      <a:pt x="53" y="457"/>
                    </a:lnTo>
                    <a:lnTo>
                      <a:pt x="50" y="439"/>
                    </a:lnTo>
                    <a:lnTo>
                      <a:pt x="69" y="422"/>
                    </a:lnTo>
                    <a:lnTo>
                      <a:pt x="81" y="414"/>
                    </a:lnTo>
                    <a:lnTo>
                      <a:pt x="97" y="413"/>
                    </a:lnTo>
                    <a:lnTo>
                      <a:pt x="113" y="434"/>
                    </a:lnTo>
                    <a:lnTo>
                      <a:pt x="119" y="453"/>
                    </a:lnTo>
                    <a:lnTo>
                      <a:pt x="166" y="416"/>
                    </a:lnTo>
                    <a:lnTo>
                      <a:pt x="197" y="413"/>
                    </a:lnTo>
                    <a:lnTo>
                      <a:pt x="217" y="420"/>
                    </a:lnTo>
                    <a:lnTo>
                      <a:pt x="307" y="480"/>
                    </a:lnTo>
                    <a:lnTo>
                      <a:pt x="326" y="496"/>
                    </a:lnTo>
                    <a:lnTo>
                      <a:pt x="344" y="499"/>
                    </a:lnTo>
                    <a:lnTo>
                      <a:pt x="355" y="462"/>
                    </a:lnTo>
                    <a:lnTo>
                      <a:pt x="372" y="430"/>
                    </a:lnTo>
                    <a:lnTo>
                      <a:pt x="406" y="381"/>
                    </a:lnTo>
                    <a:lnTo>
                      <a:pt x="421" y="365"/>
                    </a:lnTo>
                    <a:lnTo>
                      <a:pt x="437" y="356"/>
                    </a:lnTo>
                    <a:lnTo>
                      <a:pt x="457" y="356"/>
                    </a:lnTo>
                    <a:lnTo>
                      <a:pt x="478" y="369"/>
                    </a:lnTo>
                    <a:lnTo>
                      <a:pt x="495" y="367"/>
                    </a:lnTo>
                    <a:lnTo>
                      <a:pt x="519" y="358"/>
                    </a:lnTo>
                    <a:lnTo>
                      <a:pt x="563" y="325"/>
                    </a:lnTo>
                    <a:lnTo>
                      <a:pt x="555" y="302"/>
                    </a:lnTo>
                    <a:lnTo>
                      <a:pt x="533" y="263"/>
                    </a:lnTo>
                    <a:lnTo>
                      <a:pt x="524" y="236"/>
                    </a:lnTo>
                    <a:lnTo>
                      <a:pt x="539" y="201"/>
                    </a:lnTo>
                    <a:lnTo>
                      <a:pt x="552" y="178"/>
                    </a:lnTo>
                    <a:lnTo>
                      <a:pt x="552" y="171"/>
                    </a:lnTo>
                    <a:lnTo>
                      <a:pt x="532" y="182"/>
                    </a:lnTo>
                    <a:lnTo>
                      <a:pt x="495" y="224"/>
                    </a:lnTo>
                    <a:lnTo>
                      <a:pt x="480" y="229"/>
                    </a:lnTo>
                    <a:lnTo>
                      <a:pt x="424" y="213"/>
                    </a:lnTo>
                    <a:lnTo>
                      <a:pt x="400" y="203"/>
                    </a:lnTo>
                    <a:lnTo>
                      <a:pt x="372" y="183"/>
                    </a:lnTo>
                    <a:lnTo>
                      <a:pt x="324" y="139"/>
                    </a:lnTo>
                    <a:lnTo>
                      <a:pt x="215" y="5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412" name="Freeform 176"/>
              <p:cNvSpPr>
                <a:spLocks/>
              </p:cNvSpPr>
              <p:nvPr>
                <p:custDataLst>
                  <p:tags r:id="rId237"/>
                </p:custDataLst>
              </p:nvPr>
            </p:nvSpPr>
            <p:spPr bwMode="auto">
              <a:xfrm>
                <a:off x="4003" y="2273"/>
                <a:ext cx="48" cy="31"/>
              </a:xfrm>
              <a:custGeom>
                <a:avLst/>
                <a:gdLst>
                  <a:gd name="T0" fmla="*/ 318 w 319"/>
                  <a:gd name="T1" fmla="*/ 137 h 201"/>
                  <a:gd name="T2" fmla="*/ 308 w 319"/>
                  <a:gd name="T3" fmla="*/ 123 h 201"/>
                  <a:gd name="T4" fmla="*/ 293 w 319"/>
                  <a:gd name="T5" fmla="*/ 120 h 201"/>
                  <a:gd name="T6" fmla="*/ 280 w 319"/>
                  <a:gd name="T7" fmla="*/ 102 h 201"/>
                  <a:gd name="T8" fmla="*/ 277 w 319"/>
                  <a:gd name="T9" fmla="*/ 90 h 201"/>
                  <a:gd name="T10" fmla="*/ 281 w 319"/>
                  <a:gd name="T11" fmla="*/ 81 h 201"/>
                  <a:gd name="T12" fmla="*/ 266 w 319"/>
                  <a:gd name="T13" fmla="*/ 46 h 201"/>
                  <a:gd name="T14" fmla="*/ 252 w 319"/>
                  <a:gd name="T15" fmla="*/ 33 h 201"/>
                  <a:gd name="T16" fmla="*/ 162 w 319"/>
                  <a:gd name="T17" fmla="*/ 28 h 201"/>
                  <a:gd name="T18" fmla="*/ 142 w 319"/>
                  <a:gd name="T19" fmla="*/ 16 h 201"/>
                  <a:gd name="T20" fmla="*/ 129 w 319"/>
                  <a:gd name="T21" fmla="*/ 0 h 201"/>
                  <a:gd name="T22" fmla="*/ 109 w 319"/>
                  <a:gd name="T23" fmla="*/ 0 h 201"/>
                  <a:gd name="T24" fmla="*/ 104 w 319"/>
                  <a:gd name="T25" fmla="*/ 7 h 201"/>
                  <a:gd name="T26" fmla="*/ 87 w 319"/>
                  <a:gd name="T27" fmla="*/ 19 h 201"/>
                  <a:gd name="T28" fmla="*/ 60 w 319"/>
                  <a:gd name="T29" fmla="*/ 51 h 201"/>
                  <a:gd name="T30" fmla="*/ 0 w 319"/>
                  <a:gd name="T31" fmla="*/ 145 h 201"/>
                  <a:gd name="T32" fmla="*/ 11 w 319"/>
                  <a:gd name="T33" fmla="*/ 173 h 201"/>
                  <a:gd name="T34" fmla="*/ 39 w 319"/>
                  <a:gd name="T35" fmla="*/ 183 h 201"/>
                  <a:gd name="T36" fmla="*/ 64 w 319"/>
                  <a:gd name="T37" fmla="*/ 187 h 201"/>
                  <a:gd name="T38" fmla="*/ 104 w 319"/>
                  <a:gd name="T39" fmla="*/ 199 h 201"/>
                  <a:gd name="T40" fmla="*/ 106 w 319"/>
                  <a:gd name="T41" fmla="*/ 201 h 201"/>
                  <a:gd name="T42" fmla="*/ 130 w 319"/>
                  <a:gd name="T43" fmla="*/ 196 h 201"/>
                  <a:gd name="T44" fmla="*/ 154 w 319"/>
                  <a:gd name="T45" fmla="*/ 178 h 201"/>
                  <a:gd name="T46" fmla="*/ 167 w 319"/>
                  <a:gd name="T47" fmla="*/ 182 h 201"/>
                  <a:gd name="T48" fmla="*/ 182 w 319"/>
                  <a:gd name="T49" fmla="*/ 189 h 201"/>
                  <a:gd name="T50" fmla="*/ 236 w 319"/>
                  <a:gd name="T51" fmla="*/ 192 h 201"/>
                  <a:gd name="T52" fmla="*/ 309 w 319"/>
                  <a:gd name="T53" fmla="*/ 185 h 201"/>
                  <a:gd name="T54" fmla="*/ 319 w 319"/>
                  <a:gd name="T55" fmla="*/ 153 h 201"/>
                  <a:gd name="T56" fmla="*/ 318 w 319"/>
                  <a:gd name="T57" fmla="*/ 137 h 20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319"/>
                  <a:gd name="T88" fmla="*/ 0 h 201"/>
                  <a:gd name="T89" fmla="*/ 319 w 319"/>
                  <a:gd name="T90" fmla="*/ 201 h 201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319" h="201">
                    <a:moveTo>
                      <a:pt x="318" y="137"/>
                    </a:moveTo>
                    <a:lnTo>
                      <a:pt x="308" y="123"/>
                    </a:lnTo>
                    <a:lnTo>
                      <a:pt x="293" y="120"/>
                    </a:lnTo>
                    <a:lnTo>
                      <a:pt x="280" y="102"/>
                    </a:lnTo>
                    <a:lnTo>
                      <a:pt x="277" y="90"/>
                    </a:lnTo>
                    <a:lnTo>
                      <a:pt x="281" y="81"/>
                    </a:lnTo>
                    <a:lnTo>
                      <a:pt x="266" y="46"/>
                    </a:lnTo>
                    <a:lnTo>
                      <a:pt x="252" y="33"/>
                    </a:lnTo>
                    <a:lnTo>
                      <a:pt x="162" y="28"/>
                    </a:lnTo>
                    <a:lnTo>
                      <a:pt x="142" y="16"/>
                    </a:lnTo>
                    <a:lnTo>
                      <a:pt x="129" y="0"/>
                    </a:lnTo>
                    <a:lnTo>
                      <a:pt x="109" y="0"/>
                    </a:lnTo>
                    <a:lnTo>
                      <a:pt x="104" y="7"/>
                    </a:lnTo>
                    <a:lnTo>
                      <a:pt x="87" y="19"/>
                    </a:lnTo>
                    <a:lnTo>
                      <a:pt x="60" y="51"/>
                    </a:lnTo>
                    <a:lnTo>
                      <a:pt x="0" y="145"/>
                    </a:lnTo>
                    <a:lnTo>
                      <a:pt x="11" y="173"/>
                    </a:lnTo>
                    <a:lnTo>
                      <a:pt x="39" y="183"/>
                    </a:lnTo>
                    <a:lnTo>
                      <a:pt x="64" y="187"/>
                    </a:lnTo>
                    <a:lnTo>
                      <a:pt x="104" y="199"/>
                    </a:lnTo>
                    <a:lnTo>
                      <a:pt x="106" y="201"/>
                    </a:lnTo>
                    <a:lnTo>
                      <a:pt x="130" y="196"/>
                    </a:lnTo>
                    <a:lnTo>
                      <a:pt x="154" y="178"/>
                    </a:lnTo>
                    <a:lnTo>
                      <a:pt x="167" y="182"/>
                    </a:lnTo>
                    <a:lnTo>
                      <a:pt x="182" y="189"/>
                    </a:lnTo>
                    <a:lnTo>
                      <a:pt x="236" y="192"/>
                    </a:lnTo>
                    <a:lnTo>
                      <a:pt x="309" y="185"/>
                    </a:lnTo>
                    <a:lnTo>
                      <a:pt x="319" y="153"/>
                    </a:lnTo>
                    <a:lnTo>
                      <a:pt x="318" y="137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413" name="Freeform 177"/>
              <p:cNvSpPr>
                <a:spLocks/>
              </p:cNvSpPr>
              <p:nvPr>
                <p:custDataLst>
                  <p:tags r:id="rId238"/>
                </p:custDataLst>
              </p:nvPr>
            </p:nvSpPr>
            <p:spPr bwMode="auto">
              <a:xfrm>
                <a:off x="4462" y="2333"/>
                <a:ext cx="27" cy="56"/>
              </a:xfrm>
              <a:custGeom>
                <a:avLst/>
                <a:gdLst>
                  <a:gd name="T0" fmla="*/ 89 w 179"/>
                  <a:gd name="T1" fmla="*/ 42 h 398"/>
                  <a:gd name="T2" fmla="*/ 7 w 179"/>
                  <a:gd name="T3" fmla="*/ 190 h 398"/>
                  <a:gd name="T4" fmla="*/ 0 w 179"/>
                  <a:gd name="T5" fmla="*/ 231 h 398"/>
                  <a:gd name="T6" fmla="*/ 2 w 179"/>
                  <a:gd name="T7" fmla="*/ 255 h 398"/>
                  <a:gd name="T8" fmla="*/ 16 w 179"/>
                  <a:gd name="T9" fmla="*/ 310 h 398"/>
                  <a:gd name="T10" fmla="*/ 56 w 179"/>
                  <a:gd name="T11" fmla="*/ 377 h 398"/>
                  <a:gd name="T12" fmla="*/ 62 w 179"/>
                  <a:gd name="T13" fmla="*/ 395 h 398"/>
                  <a:gd name="T14" fmla="*/ 67 w 179"/>
                  <a:gd name="T15" fmla="*/ 398 h 398"/>
                  <a:gd name="T16" fmla="*/ 76 w 179"/>
                  <a:gd name="T17" fmla="*/ 389 h 398"/>
                  <a:gd name="T18" fmla="*/ 81 w 179"/>
                  <a:gd name="T19" fmla="*/ 366 h 398"/>
                  <a:gd name="T20" fmla="*/ 81 w 179"/>
                  <a:gd name="T21" fmla="*/ 347 h 398"/>
                  <a:gd name="T22" fmla="*/ 101 w 179"/>
                  <a:gd name="T23" fmla="*/ 299 h 398"/>
                  <a:gd name="T24" fmla="*/ 122 w 179"/>
                  <a:gd name="T25" fmla="*/ 261 h 398"/>
                  <a:gd name="T26" fmla="*/ 135 w 179"/>
                  <a:gd name="T27" fmla="*/ 216 h 398"/>
                  <a:gd name="T28" fmla="*/ 142 w 179"/>
                  <a:gd name="T29" fmla="*/ 151 h 398"/>
                  <a:gd name="T30" fmla="*/ 150 w 179"/>
                  <a:gd name="T31" fmla="*/ 132 h 398"/>
                  <a:gd name="T32" fmla="*/ 160 w 179"/>
                  <a:gd name="T33" fmla="*/ 114 h 398"/>
                  <a:gd name="T34" fmla="*/ 163 w 179"/>
                  <a:gd name="T35" fmla="*/ 81 h 398"/>
                  <a:gd name="T36" fmla="*/ 162 w 179"/>
                  <a:gd name="T37" fmla="*/ 63 h 398"/>
                  <a:gd name="T38" fmla="*/ 164 w 179"/>
                  <a:gd name="T39" fmla="*/ 54 h 398"/>
                  <a:gd name="T40" fmla="*/ 179 w 179"/>
                  <a:gd name="T41" fmla="*/ 31 h 398"/>
                  <a:gd name="T42" fmla="*/ 155 w 179"/>
                  <a:gd name="T43" fmla="*/ 8 h 398"/>
                  <a:gd name="T44" fmla="*/ 146 w 179"/>
                  <a:gd name="T45" fmla="*/ 0 h 398"/>
                  <a:gd name="T46" fmla="*/ 121 w 179"/>
                  <a:gd name="T47" fmla="*/ 24 h 398"/>
                  <a:gd name="T48" fmla="*/ 101 w 179"/>
                  <a:gd name="T49" fmla="*/ 31 h 398"/>
                  <a:gd name="T50" fmla="*/ 89 w 179"/>
                  <a:gd name="T51" fmla="*/ 42 h 398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79"/>
                  <a:gd name="T79" fmla="*/ 0 h 398"/>
                  <a:gd name="T80" fmla="*/ 179 w 179"/>
                  <a:gd name="T81" fmla="*/ 398 h 398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79" h="398">
                    <a:moveTo>
                      <a:pt x="89" y="42"/>
                    </a:moveTo>
                    <a:lnTo>
                      <a:pt x="7" y="190"/>
                    </a:lnTo>
                    <a:lnTo>
                      <a:pt x="0" y="231"/>
                    </a:lnTo>
                    <a:lnTo>
                      <a:pt x="2" y="255"/>
                    </a:lnTo>
                    <a:lnTo>
                      <a:pt x="16" y="310"/>
                    </a:lnTo>
                    <a:lnTo>
                      <a:pt x="56" y="377"/>
                    </a:lnTo>
                    <a:lnTo>
                      <a:pt x="62" y="395"/>
                    </a:lnTo>
                    <a:lnTo>
                      <a:pt x="67" y="398"/>
                    </a:lnTo>
                    <a:lnTo>
                      <a:pt x="76" y="389"/>
                    </a:lnTo>
                    <a:lnTo>
                      <a:pt x="81" y="366"/>
                    </a:lnTo>
                    <a:lnTo>
                      <a:pt x="81" y="347"/>
                    </a:lnTo>
                    <a:lnTo>
                      <a:pt x="101" y="299"/>
                    </a:lnTo>
                    <a:lnTo>
                      <a:pt x="122" y="261"/>
                    </a:lnTo>
                    <a:lnTo>
                      <a:pt x="135" y="216"/>
                    </a:lnTo>
                    <a:lnTo>
                      <a:pt x="142" y="151"/>
                    </a:lnTo>
                    <a:lnTo>
                      <a:pt x="150" y="132"/>
                    </a:lnTo>
                    <a:lnTo>
                      <a:pt x="160" y="114"/>
                    </a:lnTo>
                    <a:lnTo>
                      <a:pt x="163" y="81"/>
                    </a:lnTo>
                    <a:lnTo>
                      <a:pt x="162" y="63"/>
                    </a:lnTo>
                    <a:lnTo>
                      <a:pt x="164" y="54"/>
                    </a:lnTo>
                    <a:lnTo>
                      <a:pt x="179" y="31"/>
                    </a:lnTo>
                    <a:lnTo>
                      <a:pt x="155" y="8"/>
                    </a:lnTo>
                    <a:lnTo>
                      <a:pt x="146" y="0"/>
                    </a:lnTo>
                    <a:lnTo>
                      <a:pt x="121" y="24"/>
                    </a:lnTo>
                    <a:lnTo>
                      <a:pt x="101" y="31"/>
                    </a:lnTo>
                    <a:lnTo>
                      <a:pt x="89" y="42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414" name="Freeform 178"/>
              <p:cNvSpPr>
                <a:spLocks/>
              </p:cNvSpPr>
              <p:nvPr>
                <p:custDataLst>
                  <p:tags r:id="rId239"/>
                </p:custDataLst>
              </p:nvPr>
            </p:nvSpPr>
            <p:spPr bwMode="auto">
              <a:xfrm>
                <a:off x="4197" y="2365"/>
                <a:ext cx="109" cy="264"/>
              </a:xfrm>
              <a:custGeom>
                <a:avLst/>
                <a:gdLst>
                  <a:gd name="T0" fmla="*/ 45 w 719"/>
                  <a:gd name="T1" fmla="*/ 74 h 1778"/>
                  <a:gd name="T2" fmla="*/ 20 w 719"/>
                  <a:gd name="T3" fmla="*/ 136 h 1778"/>
                  <a:gd name="T4" fmla="*/ 127 w 719"/>
                  <a:gd name="T5" fmla="*/ 312 h 1778"/>
                  <a:gd name="T6" fmla="*/ 183 w 719"/>
                  <a:gd name="T7" fmla="*/ 294 h 1778"/>
                  <a:gd name="T8" fmla="*/ 232 w 719"/>
                  <a:gd name="T9" fmla="*/ 326 h 1778"/>
                  <a:gd name="T10" fmla="*/ 258 w 719"/>
                  <a:gd name="T11" fmla="*/ 425 h 1778"/>
                  <a:gd name="T12" fmla="*/ 213 w 719"/>
                  <a:gd name="T13" fmla="*/ 434 h 1778"/>
                  <a:gd name="T14" fmla="*/ 191 w 719"/>
                  <a:gd name="T15" fmla="*/ 488 h 1778"/>
                  <a:gd name="T16" fmla="*/ 438 w 719"/>
                  <a:gd name="T17" fmla="*/ 800 h 1778"/>
                  <a:gd name="T18" fmla="*/ 505 w 719"/>
                  <a:gd name="T19" fmla="*/ 865 h 1778"/>
                  <a:gd name="T20" fmla="*/ 503 w 719"/>
                  <a:gd name="T21" fmla="*/ 925 h 1778"/>
                  <a:gd name="T22" fmla="*/ 539 w 719"/>
                  <a:gd name="T23" fmla="*/ 1006 h 1778"/>
                  <a:gd name="T24" fmla="*/ 544 w 719"/>
                  <a:gd name="T25" fmla="*/ 1194 h 1778"/>
                  <a:gd name="T26" fmla="*/ 542 w 719"/>
                  <a:gd name="T27" fmla="*/ 1293 h 1778"/>
                  <a:gd name="T28" fmla="*/ 489 w 719"/>
                  <a:gd name="T29" fmla="*/ 1346 h 1778"/>
                  <a:gd name="T30" fmla="*/ 380 w 719"/>
                  <a:gd name="T31" fmla="*/ 1457 h 1778"/>
                  <a:gd name="T32" fmla="*/ 397 w 719"/>
                  <a:gd name="T33" fmla="*/ 1505 h 1778"/>
                  <a:gd name="T34" fmla="*/ 319 w 719"/>
                  <a:gd name="T35" fmla="*/ 1506 h 1778"/>
                  <a:gd name="T36" fmla="*/ 237 w 719"/>
                  <a:gd name="T37" fmla="*/ 1561 h 1778"/>
                  <a:gd name="T38" fmla="*/ 295 w 719"/>
                  <a:gd name="T39" fmla="*/ 1602 h 1778"/>
                  <a:gd name="T40" fmla="*/ 281 w 719"/>
                  <a:gd name="T41" fmla="*/ 1662 h 1778"/>
                  <a:gd name="T42" fmla="*/ 299 w 719"/>
                  <a:gd name="T43" fmla="*/ 1773 h 1778"/>
                  <a:gd name="T44" fmla="*/ 365 w 719"/>
                  <a:gd name="T45" fmla="*/ 1702 h 1778"/>
                  <a:gd name="T46" fmla="*/ 418 w 719"/>
                  <a:gd name="T47" fmla="*/ 1651 h 1778"/>
                  <a:gd name="T48" fmla="*/ 460 w 719"/>
                  <a:gd name="T49" fmla="*/ 1630 h 1778"/>
                  <a:gd name="T50" fmla="*/ 472 w 719"/>
                  <a:gd name="T51" fmla="*/ 1524 h 1778"/>
                  <a:gd name="T52" fmla="*/ 534 w 719"/>
                  <a:gd name="T53" fmla="*/ 1556 h 1778"/>
                  <a:gd name="T54" fmla="*/ 608 w 719"/>
                  <a:gd name="T55" fmla="*/ 1485 h 1778"/>
                  <a:gd name="T56" fmla="*/ 661 w 719"/>
                  <a:gd name="T57" fmla="*/ 1464 h 1778"/>
                  <a:gd name="T58" fmla="*/ 698 w 719"/>
                  <a:gd name="T59" fmla="*/ 1406 h 1778"/>
                  <a:gd name="T60" fmla="*/ 695 w 719"/>
                  <a:gd name="T61" fmla="*/ 1305 h 1778"/>
                  <a:gd name="T62" fmla="*/ 681 w 719"/>
                  <a:gd name="T63" fmla="*/ 1031 h 1778"/>
                  <a:gd name="T64" fmla="*/ 628 w 719"/>
                  <a:gd name="T65" fmla="*/ 930 h 1778"/>
                  <a:gd name="T66" fmla="*/ 572 w 719"/>
                  <a:gd name="T67" fmla="*/ 853 h 1778"/>
                  <a:gd name="T68" fmla="*/ 457 w 719"/>
                  <a:gd name="T69" fmla="*/ 727 h 1778"/>
                  <a:gd name="T70" fmla="*/ 432 w 719"/>
                  <a:gd name="T71" fmla="*/ 659 h 1778"/>
                  <a:gd name="T72" fmla="*/ 363 w 719"/>
                  <a:gd name="T73" fmla="*/ 556 h 1778"/>
                  <a:gd name="T74" fmla="*/ 392 w 719"/>
                  <a:gd name="T75" fmla="*/ 418 h 1778"/>
                  <a:gd name="T76" fmla="*/ 472 w 719"/>
                  <a:gd name="T77" fmla="*/ 326 h 1778"/>
                  <a:gd name="T78" fmla="*/ 530 w 719"/>
                  <a:gd name="T79" fmla="*/ 296 h 1778"/>
                  <a:gd name="T80" fmla="*/ 580 w 719"/>
                  <a:gd name="T81" fmla="*/ 226 h 1778"/>
                  <a:gd name="T82" fmla="*/ 503 w 719"/>
                  <a:gd name="T83" fmla="*/ 203 h 1778"/>
                  <a:gd name="T84" fmla="*/ 445 w 719"/>
                  <a:gd name="T85" fmla="*/ 120 h 1778"/>
                  <a:gd name="T86" fmla="*/ 453 w 719"/>
                  <a:gd name="T87" fmla="*/ 46 h 1778"/>
                  <a:gd name="T88" fmla="*/ 328 w 719"/>
                  <a:gd name="T89" fmla="*/ 0 h 1778"/>
                  <a:gd name="T90" fmla="*/ 246 w 719"/>
                  <a:gd name="T91" fmla="*/ 63 h 1778"/>
                  <a:gd name="T92" fmla="*/ 125 w 719"/>
                  <a:gd name="T93" fmla="*/ 79 h 1778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719"/>
                  <a:gd name="T142" fmla="*/ 0 h 1778"/>
                  <a:gd name="T143" fmla="*/ 719 w 719"/>
                  <a:gd name="T144" fmla="*/ 1778 h 1778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719" h="1778">
                    <a:moveTo>
                      <a:pt x="85" y="97"/>
                    </a:moveTo>
                    <a:lnTo>
                      <a:pt x="60" y="76"/>
                    </a:lnTo>
                    <a:lnTo>
                      <a:pt x="45" y="74"/>
                    </a:lnTo>
                    <a:lnTo>
                      <a:pt x="21" y="81"/>
                    </a:lnTo>
                    <a:lnTo>
                      <a:pt x="0" y="93"/>
                    </a:lnTo>
                    <a:lnTo>
                      <a:pt x="20" y="136"/>
                    </a:lnTo>
                    <a:lnTo>
                      <a:pt x="72" y="199"/>
                    </a:lnTo>
                    <a:lnTo>
                      <a:pt x="101" y="289"/>
                    </a:lnTo>
                    <a:lnTo>
                      <a:pt x="127" y="312"/>
                    </a:lnTo>
                    <a:lnTo>
                      <a:pt x="149" y="323"/>
                    </a:lnTo>
                    <a:lnTo>
                      <a:pt x="160" y="321"/>
                    </a:lnTo>
                    <a:lnTo>
                      <a:pt x="183" y="294"/>
                    </a:lnTo>
                    <a:lnTo>
                      <a:pt x="200" y="284"/>
                    </a:lnTo>
                    <a:lnTo>
                      <a:pt x="212" y="289"/>
                    </a:lnTo>
                    <a:lnTo>
                      <a:pt x="232" y="326"/>
                    </a:lnTo>
                    <a:lnTo>
                      <a:pt x="270" y="379"/>
                    </a:lnTo>
                    <a:lnTo>
                      <a:pt x="270" y="407"/>
                    </a:lnTo>
                    <a:lnTo>
                      <a:pt x="258" y="425"/>
                    </a:lnTo>
                    <a:lnTo>
                      <a:pt x="246" y="434"/>
                    </a:lnTo>
                    <a:lnTo>
                      <a:pt x="235" y="437"/>
                    </a:lnTo>
                    <a:lnTo>
                      <a:pt x="213" y="434"/>
                    </a:lnTo>
                    <a:lnTo>
                      <a:pt x="200" y="439"/>
                    </a:lnTo>
                    <a:lnTo>
                      <a:pt x="187" y="460"/>
                    </a:lnTo>
                    <a:lnTo>
                      <a:pt x="191" y="488"/>
                    </a:lnTo>
                    <a:lnTo>
                      <a:pt x="279" y="558"/>
                    </a:lnTo>
                    <a:lnTo>
                      <a:pt x="413" y="750"/>
                    </a:lnTo>
                    <a:lnTo>
                      <a:pt x="438" y="800"/>
                    </a:lnTo>
                    <a:lnTo>
                      <a:pt x="458" y="828"/>
                    </a:lnTo>
                    <a:lnTo>
                      <a:pt x="489" y="849"/>
                    </a:lnTo>
                    <a:lnTo>
                      <a:pt x="505" y="865"/>
                    </a:lnTo>
                    <a:lnTo>
                      <a:pt x="510" y="886"/>
                    </a:lnTo>
                    <a:lnTo>
                      <a:pt x="500" y="911"/>
                    </a:lnTo>
                    <a:lnTo>
                      <a:pt x="503" y="925"/>
                    </a:lnTo>
                    <a:lnTo>
                      <a:pt x="527" y="951"/>
                    </a:lnTo>
                    <a:lnTo>
                      <a:pt x="536" y="974"/>
                    </a:lnTo>
                    <a:lnTo>
                      <a:pt x="539" y="1006"/>
                    </a:lnTo>
                    <a:lnTo>
                      <a:pt x="522" y="1103"/>
                    </a:lnTo>
                    <a:lnTo>
                      <a:pt x="524" y="1138"/>
                    </a:lnTo>
                    <a:lnTo>
                      <a:pt x="544" y="1194"/>
                    </a:lnTo>
                    <a:lnTo>
                      <a:pt x="540" y="1214"/>
                    </a:lnTo>
                    <a:lnTo>
                      <a:pt x="539" y="1236"/>
                    </a:lnTo>
                    <a:lnTo>
                      <a:pt x="542" y="1293"/>
                    </a:lnTo>
                    <a:lnTo>
                      <a:pt x="531" y="1321"/>
                    </a:lnTo>
                    <a:lnTo>
                      <a:pt x="515" y="1335"/>
                    </a:lnTo>
                    <a:lnTo>
                      <a:pt x="489" y="1346"/>
                    </a:lnTo>
                    <a:lnTo>
                      <a:pt x="380" y="1413"/>
                    </a:lnTo>
                    <a:lnTo>
                      <a:pt x="370" y="1434"/>
                    </a:lnTo>
                    <a:lnTo>
                      <a:pt x="380" y="1457"/>
                    </a:lnTo>
                    <a:lnTo>
                      <a:pt x="404" y="1480"/>
                    </a:lnTo>
                    <a:lnTo>
                      <a:pt x="405" y="1490"/>
                    </a:lnTo>
                    <a:lnTo>
                      <a:pt x="397" y="1505"/>
                    </a:lnTo>
                    <a:lnTo>
                      <a:pt x="368" y="1494"/>
                    </a:lnTo>
                    <a:lnTo>
                      <a:pt x="346" y="1494"/>
                    </a:lnTo>
                    <a:lnTo>
                      <a:pt x="319" y="1506"/>
                    </a:lnTo>
                    <a:lnTo>
                      <a:pt x="279" y="1535"/>
                    </a:lnTo>
                    <a:lnTo>
                      <a:pt x="252" y="1547"/>
                    </a:lnTo>
                    <a:lnTo>
                      <a:pt x="237" y="1561"/>
                    </a:lnTo>
                    <a:lnTo>
                      <a:pt x="242" y="1565"/>
                    </a:lnTo>
                    <a:lnTo>
                      <a:pt x="274" y="1579"/>
                    </a:lnTo>
                    <a:lnTo>
                      <a:pt x="295" y="1602"/>
                    </a:lnTo>
                    <a:lnTo>
                      <a:pt x="297" y="1619"/>
                    </a:lnTo>
                    <a:lnTo>
                      <a:pt x="286" y="1635"/>
                    </a:lnTo>
                    <a:lnTo>
                      <a:pt x="281" y="1662"/>
                    </a:lnTo>
                    <a:lnTo>
                      <a:pt x="272" y="1776"/>
                    </a:lnTo>
                    <a:lnTo>
                      <a:pt x="289" y="1778"/>
                    </a:lnTo>
                    <a:lnTo>
                      <a:pt x="299" y="1773"/>
                    </a:lnTo>
                    <a:lnTo>
                      <a:pt x="318" y="1757"/>
                    </a:lnTo>
                    <a:lnTo>
                      <a:pt x="347" y="1713"/>
                    </a:lnTo>
                    <a:lnTo>
                      <a:pt x="365" y="1702"/>
                    </a:lnTo>
                    <a:lnTo>
                      <a:pt x="389" y="1695"/>
                    </a:lnTo>
                    <a:lnTo>
                      <a:pt x="407" y="1677"/>
                    </a:lnTo>
                    <a:lnTo>
                      <a:pt x="418" y="1651"/>
                    </a:lnTo>
                    <a:lnTo>
                      <a:pt x="429" y="1656"/>
                    </a:lnTo>
                    <a:lnTo>
                      <a:pt x="442" y="1651"/>
                    </a:lnTo>
                    <a:lnTo>
                      <a:pt x="460" y="1630"/>
                    </a:lnTo>
                    <a:lnTo>
                      <a:pt x="469" y="1591"/>
                    </a:lnTo>
                    <a:lnTo>
                      <a:pt x="465" y="1547"/>
                    </a:lnTo>
                    <a:lnTo>
                      <a:pt x="472" y="1524"/>
                    </a:lnTo>
                    <a:lnTo>
                      <a:pt x="497" y="1547"/>
                    </a:lnTo>
                    <a:lnTo>
                      <a:pt x="519" y="1557"/>
                    </a:lnTo>
                    <a:lnTo>
                      <a:pt x="534" y="1556"/>
                    </a:lnTo>
                    <a:lnTo>
                      <a:pt x="559" y="1536"/>
                    </a:lnTo>
                    <a:lnTo>
                      <a:pt x="586" y="1505"/>
                    </a:lnTo>
                    <a:lnTo>
                      <a:pt x="608" y="1485"/>
                    </a:lnTo>
                    <a:lnTo>
                      <a:pt x="626" y="1476"/>
                    </a:lnTo>
                    <a:lnTo>
                      <a:pt x="649" y="1471"/>
                    </a:lnTo>
                    <a:lnTo>
                      <a:pt x="661" y="1464"/>
                    </a:lnTo>
                    <a:lnTo>
                      <a:pt x="679" y="1441"/>
                    </a:lnTo>
                    <a:lnTo>
                      <a:pt x="695" y="1411"/>
                    </a:lnTo>
                    <a:lnTo>
                      <a:pt x="698" y="1406"/>
                    </a:lnTo>
                    <a:lnTo>
                      <a:pt x="694" y="1371"/>
                    </a:lnTo>
                    <a:lnTo>
                      <a:pt x="699" y="1349"/>
                    </a:lnTo>
                    <a:lnTo>
                      <a:pt x="695" y="1305"/>
                    </a:lnTo>
                    <a:lnTo>
                      <a:pt x="706" y="1279"/>
                    </a:lnTo>
                    <a:lnTo>
                      <a:pt x="719" y="1256"/>
                    </a:lnTo>
                    <a:lnTo>
                      <a:pt x="681" y="1031"/>
                    </a:lnTo>
                    <a:lnTo>
                      <a:pt x="669" y="994"/>
                    </a:lnTo>
                    <a:lnTo>
                      <a:pt x="641" y="962"/>
                    </a:lnTo>
                    <a:lnTo>
                      <a:pt x="628" y="930"/>
                    </a:lnTo>
                    <a:lnTo>
                      <a:pt x="614" y="876"/>
                    </a:lnTo>
                    <a:lnTo>
                      <a:pt x="601" y="856"/>
                    </a:lnTo>
                    <a:lnTo>
                      <a:pt x="572" y="853"/>
                    </a:lnTo>
                    <a:lnTo>
                      <a:pt x="561" y="842"/>
                    </a:lnTo>
                    <a:lnTo>
                      <a:pt x="505" y="772"/>
                    </a:lnTo>
                    <a:lnTo>
                      <a:pt x="457" y="727"/>
                    </a:lnTo>
                    <a:lnTo>
                      <a:pt x="438" y="699"/>
                    </a:lnTo>
                    <a:lnTo>
                      <a:pt x="434" y="687"/>
                    </a:lnTo>
                    <a:lnTo>
                      <a:pt x="432" y="659"/>
                    </a:lnTo>
                    <a:lnTo>
                      <a:pt x="432" y="645"/>
                    </a:lnTo>
                    <a:lnTo>
                      <a:pt x="383" y="586"/>
                    </a:lnTo>
                    <a:lnTo>
                      <a:pt x="363" y="556"/>
                    </a:lnTo>
                    <a:lnTo>
                      <a:pt x="351" y="544"/>
                    </a:lnTo>
                    <a:lnTo>
                      <a:pt x="380" y="439"/>
                    </a:lnTo>
                    <a:lnTo>
                      <a:pt x="392" y="418"/>
                    </a:lnTo>
                    <a:lnTo>
                      <a:pt x="399" y="411"/>
                    </a:lnTo>
                    <a:lnTo>
                      <a:pt x="433" y="390"/>
                    </a:lnTo>
                    <a:lnTo>
                      <a:pt x="472" y="326"/>
                    </a:lnTo>
                    <a:lnTo>
                      <a:pt x="469" y="303"/>
                    </a:lnTo>
                    <a:lnTo>
                      <a:pt x="475" y="293"/>
                    </a:lnTo>
                    <a:lnTo>
                      <a:pt x="530" y="296"/>
                    </a:lnTo>
                    <a:lnTo>
                      <a:pt x="539" y="284"/>
                    </a:lnTo>
                    <a:lnTo>
                      <a:pt x="534" y="259"/>
                    </a:lnTo>
                    <a:lnTo>
                      <a:pt x="580" y="226"/>
                    </a:lnTo>
                    <a:lnTo>
                      <a:pt x="571" y="217"/>
                    </a:lnTo>
                    <a:lnTo>
                      <a:pt x="531" y="211"/>
                    </a:lnTo>
                    <a:lnTo>
                      <a:pt x="503" y="203"/>
                    </a:lnTo>
                    <a:lnTo>
                      <a:pt x="462" y="169"/>
                    </a:lnTo>
                    <a:lnTo>
                      <a:pt x="450" y="148"/>
                    </a:lnTo>
                    <a:lnTo>
                      <a:pt x="445" y="120"/>
                    </a:lnTo>
                    <a:lnTo>
                      <a:pt x="466" y="77"/>
                    </a:lnTo>
                    <a:lnTo>
                      <a:pt x="463" y="56"/>
                    </a:lnTo>
                    <a:lnTo>
                      <a:pt x="453" y="46"/>
                    </a:lnTo>
                    <a:lnTo>
                      <a:pt x="391" y="46"/>
                    </a:lnTo>
                    <a:lnTo>
                      <a:pt x="356" y="32"/>
                    </a:lnTo>
                    <a:lnTo>
                      <a:pt x="328" y="0"/>
                    </a:lnTo>
                    <a:lnTo>
                      <a:pt x="315" y="5"/>
                    </a:lnTo>
                    <a:lnTo>
                      <a:pt x="261" y="54"/>
                    </a:lnTo>
                    <a:lnTo>
                      <a:pt x="246" y="63"/>
                    </a:lnTo>
                    <a:lnTo>
                      <a:pt x="211" y="70"/>
                    </a:lnTo>
                    <a:lnTo>
                      <a:pt x="139" y="72"/>
                    </a:lnTo>
                    <a:lnTo>
                      <a:pt x="125" y="79"/>
                    </a:lnTo>
                    <a:lnTo>
                      <a:pt x="100" y="102"/>
                    </a:lnTo>
                    <a:lnTo>
                      <a:pt x="85" y="97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415" name="Freeform 179"/>
              <p:cNvSpPr>
                <a:spLocks/>
              </p:cNvSpPr>
              <p:nvPr>
                <p:custDataLst>
                  <p:tags r:id="rId240"/>
                </p:custDataLst>
              </p:nvPr>
            </p:nvSpPr>
            <p:spPr bwMode="auto">
              <a:xfrm>
                <a:off x="4169" y="2379"/>
                <a:ext cx="109" cy="155"/>
              </a:xfrm>
              <a:custGeom>
                <a:avLst/>
                <a:gdLst>
                  <a:gd name="T0" fmla="*/ 192 w 731"/>
                  <a:gd name="T1" fmla="*/ 0 h 1045"/>
                  <a:gd name="T2" fmla="*/ 151 w 731"/>
                  <a:gd name="T3" fmla="*/ 32 h 1045"/>
                  <a:gd name="T4" fmla="*/ 155 w 731"/>
                  <a:gd name="T5" fmla="*/ 81 h 1045"/>
                  <a:gd name="T6" fmla="*/ 172 w 731"/>
                  <a:gd name="T7" fmla="*/ 131 h 1045"/>
                  <a:gd name="T8" fmla="*/ 154 w 731"/>
                  <a:gd name="T9" fmla="*/ 161 h 1045"/>
                  <a:gd name="T10" fmla="*/ 106 w 731"/>
                  <a:gd name="T11" fmla="*/ 145 h 1045"/>
                  <a:gd name="T12" fmla="*/ 77 w 731"/>
                  <a:gd name="T13" fmla="*/ 154 h 1045"/>
                  <a:gd name="T14" fmla="*/ 8 w 731"/>
                  <a:gd name="T15" fmla="*/ 244 h 1045"/>
                  <a:gd name="T16" fmla="*/ 24 w 731"/>
                  <a:gd name="T17" fmla="*/ 263 h 1045"/>
                  <a:gd name="T18" fmla="*/ 41 w 731"/>
                  <a:gd name="T19" fmla="*/ 282 h 1045"/>
                  <a:gd name="T20" fmla="*/ 37 w 731"/>
                  <a:gd name="T21" fmla="*/ 349 h 1045"/>
                  <a:gd name="T22" fmla="*/ 49 w 731"/>
                  <a:gd name="T23" fmla="*/ 378 h 1045"/>
                  <a:gd name="T24" fmla="*/ 89 w 731"/>
                  <a:gd name="T25" fmla="*/ 367 h 1045"/>
                  <a:gd name="T26" fmla="*/ 109 w 731"/>
                  <a:gd name="T27" fmla="*/ 371 h 1045"/>
                  <a:gd name="T28" fmla="*/ 88 w 731"/>
                  <a:gd name="T29" fmla="*/ 574 h 1045"/>
                  <a:gd name="T30" fmla="*/ 93 w 731"/>
                  <a:gd name="T31" fmla="*/ 619 h 1045"/>
                  <a:gd name="T32" fmla="*/ 182 w 731"/>
                  <a:gd name="T33" fmla="*/ 539 h 1045"/>
                  <a:gd name="T34" fmla="*/ 261 w 731"/>
                  <a:gd name="T35" fmla="*/ 571 h 1045"/>
                  <a:gd name="T36" fmla="*/ 293 w 731"/>
                  <a:gd name="T37" fmla="*/ 553 h 1045"/>
                  <a:gd name="T38" fmla="*/ 315 w 731"/>
                  <a:gd name="T39" fmla="*/ 500 h 1045"/>
                  <a:gd name="T40" fmla="*/ 373 w 731"/>
                  <a:gd name="T41" fmla="*/ 511 h 1045"/>
                  <a:gd name="T42" fmla="*/ 387 w 731"/>
                  <a:gd name="T43" fmla="*/ 534 h 1045"/>
                  <a:gd name="T44" fmla="*/ 429 w 731"/>
                  <a:gd name="T45" fmla="*/ 599 h 1045"/>
                  <a:gd name="T46" fmla="*/ 452 w 731"/>
                  <a:gd name="T47" fmla="*/ 716 h 1045"/>
                  <a:gd name="T48" fmla="*/ 466 w 731"/>
                  <a:gd name="T49" fmla="*/ 761 h 1045"/>
                  <a:gd name="T50" fmla="*/ 529 w 731"/>
                  <a:gd name="T51" fmla="*/ 867 h 1045"/>
                  <a:gd name="T52" fmla="*/ 536 w 731"/>
                  <a:gd name="T53" fmla="*/ 945 h 1045"/>
                  <a:gd name="T54" fmla="*/ 495 w 731"/>
                  <a:gd name="T55" fmla="*/ 1003 h 1045"/>
                  <a:gd name="T56" fmla="*/ 566 w 731"/>
                  <a:gd name="T57" fmla="*/ 1031 h 1045"/>
                  <a:gd name="T58" fmla="*/ 597 w 731"/>
                  <a:gd name="T59" fmla="*/ 1042 h 1045"/>
                  <a:gd name="T60" fmla="*/ 597 w 731"/>
                  <a:gd name="T61" fmla="*/ 1017 h 1045"/>
                  <a:gd name="T62" fmla="*/ 584 w 731"/>
                  <a:gd name="T63" fmla="*/ 993 h 1045"/>
                  <a:gd name="T64" fmla="*/ 622 w 731"/>
                  <a:gd name="T65" fmla="*/ 966 h 1045"/>
                  <a:gd name="T66" fmla="*/ 659 w 731"/>
                  <a:gd name="T67" fmla="*/ 994 h 1045"/>
                  <a:gd name="T68" fmla="*/ 724 w 731"/>
                  <a:gd name="T69" fmla="*/ 963 h 1045"/>
                  <a:gd name="T70" fmla="*/ 728 w 731"/>
                  <a:gd name="T71" fmla="*/ 881 h 1045"/>
                  <a:gd name="T72" fmla="*/ 695 w 731"/>
                  <a:gd name="T73" fmla="*/ 832 h 1045"/>
                  <a:gd name="T74" fmla="*/ 702 w 731"/>
                  <a:gd name="T75" fmla="*/ 793 h 1045"/>
                  <a:gd name="T76" fmla="*/ 681 w 731"/>
                  <a:gd name="T77" fmla="*/ 756 h 1045"/>
                  <a:gd name="T78" fmla="*/ 630 w 731"/>
                  <a:gd name="T79" fmla="*/ 707 h 1045"/>
                  <a:gd name="T80" fmla="*/ 499 w 731"/>
                  <a:gd name="T81" fmla="*/ 500 h 1045"/>
                  <a:gd name="T82" fmla="*/ 383 w 731"/>
                  <a:gd name="T83" fmla="*/ 395 h 1045"/>
                  <a:gd name="T84" fmla="*/ 392 w 731"/>
                  <a:gd name="T85" fmla="*/ 346 h 1045"/>
                  <a:gd name="T86" fmla="*/ 427 w 731"/>
                  <a:gd name="T87" fmla="*/ 344 h 1045"/>
                  <a:gd name="T88" fmla="*/ 450 w 731"/>
                  <a:gd name="T89" fmla="*/ 332 h 1045"/>
                  <a:gd name="T90" fmla="*/ 462 w 731"/>
                  <a:gd name="T91" fmla="*/ 286 h 1045"/>
                  <a:gd name="T92" fmla="*/ 404 w 731"/>
                  <a:gd name="T93" fmla="*/ 196 h 1045"/>
                  <a:gd name="T94" fmla="*/ 375 w 731"/>
                  <a:gd name="T95" fmla="*/ 201 h 1045"/>
                  <a:gd name="T96" fmla="*/ 341 w 731"/>
                  <a:gd name="T97" fmla="*/ 230 h 1045"/>
                  <a:gd name="T98" fmla="*/ 293 w 731"/>
                  <a:gd name="T99" fmla="*/ 196 h 1045"/>
                  <a:gd name="T100" fmla="*/ 212 w 731"/>
                  <a:gd name="T101" fmla="*/ 43 h 1045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731"/>
                  <a:gd name="T154" fmla="*/ 0 h 1045"/>
                  <a:gd name="T155" fmla="*/ 731 w 731"/>
                  <a:gd name="T156" fmla="*/ 1045 h 1045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731" h="1045">
                    <a:moveTo>
                      <a:pt x="212" y="43"/>
                    </a:moveTo>
                    <a:lnTo>
                      <a:pt x="192" y="0"/>
                    </a:lnTo>
                    <a:lnTo>
                      <a:pt x="163" y="18"/>
                    </a:lnTo>
                    <a:lnTo>
                      <a:pt x="151" y="32"/>
                    </a:lnTo>
                    <a:lnTo>
                      <a:pt x="150" y="50"/>
                    </a:lnTo>
                    <a:lnTo>
                      <a:pt x="155" y="81"/>
                    </a:lnTo>
                    <a:lnTo>
                      <a:pt x="166" y="103"/>
                    </a:lnTo>
                    <a:lnTo>
                      <a:pt x="172" y="131"/>
                    </a:lnTo>
                    <a:lnTo>
                      <a:pt x="166" y="150"/>
                    </a:lnTo>
                    <a:lnTo>
                      <a:pt x="154" y="161"/>
                    </a:lnTo>
                    <a:lnTo>
                      <a:pt x="121" y="157"/>
                    </a:lnTo>
                    <a:lnTo>
                      <a:pt x="106" y="145"/>
                    </a:lnTo>
                    <a:lnTo>
                      <a:pt x="99" y="134"/>
                    </a:lnTo>
                    <a:lnTo>
                      <a:pt x="77" y="154"/>
                    </a:lnTo>
                    <a:lnTo>
                      <a:pt x="33" y="219"/>
                    </a:lnTo>
                    <a:lnTo>
                      <a:pt x="8" y="244"/>
                    </a:lnTo>
                    <a:lnTo>
                      <a:pt x="0" y="254"/>
                    </a:lnTo>
                    <a:lnTo>
                      <a:pt x="24" y="263"/>
                    </a:lnTo>
                    <a:lnTo>
                      <a:pt x="37" y="274"/>
                    </a:lnTo>
                    <a:lnTo>
                      <a:pt x="41" y="282"/>
                    </a:lnTo>
                    <a:lnTo>
                      <a:pt x="41" y="305"/>
                    </a:lnTo>
                    <a:lnTo>
                      <a:pt x="37" y="349"/>
                    </a:lnTo>
                    <a:lnTo>
                      <a:pt x="40" y="369"/>
                    </a:lnTo>
                    <a:lnTo>
                      <a:pt x="49" y="378"/>
                    </a:lnTo>
                    <a:lnTo>
                      <a:pt x="66" y="378"/>
                    </a:lnTo>
                    <a:lnTo>
                      <a:pt x="89" y="367"/>
                    </a:lnTo>
                    <a:lnTo>
                      <a:pt x="106" y="365"/>
                    </a:lnTo>
                    <a:lnTo>
                      <a:pt x="109" y="371"/>
                    </a:lnTo>
                    <a:lnTo>
                      <a:pt x="120" y="442"/>
                    </a:lnTo>
                    <a:lnTo>
                      <a:pt x="88" y="574"/>
                    </a:lnTo>
                    <a:lnTo>
                      <a:pt x="86" y="601"/>
                    </a:lnTo>
                    <a:lnTo>
                      <a:pt x="93" y="619"/>
                    </a:lnTo>
                    <a:lnTo>
                      <a:pt x="114" y="626"/>
                    </a:lnTo>
                    <a:lnTo>
                      <a:pt x="182" y="539"/>
                    </a:lnTo>
                    <a:lnTo>
                      <a:pt x="197" y="537"/>
                    </a:lnTo>
                    <a:lnTo>
                      <a:pt x="261" y="571"/>
                    </a:lnTo>
                    <a:lnTo>
                      <a:pt x="269" y="567"/>
                    </a:lnTo>
                    <a:lnTo>
                      <a:pt x="293" y="553"/>
                    </a:lnTo>
                    <a:lnTo>
                      <a:pt x="302" y="525"/>
                    </a:lnTo>
                    <a:lnTo>
                      <a:pt x="315" y="500"/>
                    </a:lnTo>
                    <a:lnTo>
                      <a:pt x="334" y="500"/>
                    </a:lnTo>
                    <a:lnTo>
                      <a:pt x="373" y="511"/>
                    </a:lnTo>
                    <a:lnTo>
                      <a:pt x="384" y="520"/>
                    </a:lnTo>
                    <a:lnTo>
                      <a:pt x="387" y="534"/>
                    </a:lnTo>
                    <a:lnTo>
                      <a:pt x="399" y="564"/>
                    </a:lnTo>
                    <a:lnTo>
                      <a:pt x="429" y="599"/>
                    </a:lnTo>
                    <a:lnTo>
                      <a:pt x="449" y="633"/>
                    </a:lnTo>
                    <a:lnTo>
                      <a:pt x="452" y="716"/>
                    </a:lnTo>
                    <a:lnTo>
                      <a:pt x="457" y="735"/>
                    </a:lnTo>
                    <a:lnTo>
                      <a:pt x="466" y="761"/>
                    </a:lnTo>
                    <a:lnTo>
                      <a:pt x="511" y="830"/>
                    </a:lnTo>
                    <a:lnTo>
                      <a:pt x="529" y="867"/>
                    </a:lnTo>
                    <a:lnTo>
                      <a:pt x="536" y="894"/>
                    </a:lnTo>
                    <a:lnTo>
                      <a:pt x="536" y="945"/>
                    </a:lnTo>
                    <a:lnTo>
                      <a:pt x="531" y="970"/>
                    </a:lnTo>
                    <a:lnTo>
                      <a:pt x="495" y="1003"/>
                    </a:lnTo>
                    <a:lnTo>
                      <a:pt x="519" y="1017"/>
                    </a:lnTo>
                    <a:lnTo>
                      <a:pt x="566" y="1031"/>
                    </a:lnTo>
                    <a:lnTo>
                      <a:pt x="587" y="1045"/>
                    </a:lnTo>
                    <a:lnTo>
                      <a:pt x="597" y="1042"/>
                    </a:lnTo>
                    <a:lnTo>
                      <a:pt x="601" y="1030"/>
                    </a:lnTo>
                    <a:lnTo>
                      <a:pt x="597" y="1017"/>
                    </a:lnTo>
                    <a:lnTo>
                      <a:pt x="589" y="1008"/>
                    </a:lnTo>
                    <a:lnTo>
                      <a:pt x="584" y="993"/>
                    </a:lnTo>
                    <a:lnTo>
                      <a:pt x="601" y="977"/>
                    </a:lnTo>
                    <a:lnTo>
                      <a:pt x="622" y="966"/>
                    </a:lnTo>
                    <a:lnTo>
                      <a:pt x="642" y="977"/>
                    </a:lnTo>
                    <a:lnTo>
                      <a:pt x="659" y="994"/>
                    </a:lnTo>
                    <a:lnTo>
                      <a:pt x="671" y="991"/>
                    </a:lnTo>
                    <a:lnTo>
                      <a:pt x="724" y="963"/>
                    </a:lnTo>
                    <a:lnTo>
                      <a:pt x="731" y="913"/>
                    </a:lnTo>
                    <a:lnTo>
                      <a:pt x="728" y="881"/>
                    </a:lnTo>
                    <a:lnTo>
                      <a:pt x="719" y="858"/>
                    </a:lnTo>
                    <a:lnTo>
                      <a:pt x="695" y="832"/>
                    </a:lnTo>
                    <a:lnTo>
                      <a:pt x="692" y="818"/>
                    </a:lnTo>
                    <a:lnTo>
                      <a:pt x="702" y="793"/>
                    </a:lnTo>
                    <a:lnTo>
                      <a:pt x="697" y="772"/>
                    </a:lnTo>
                    <a:lnTo>
                      <a:pt x="681" y="756"/>
                    </a:lnTo>
                    <a:lnTo>
                      <a:pt x="650" y="735"/>
                    </a:lnTo>
                    <a:lnTo>
                      <a:pt x="630" y="707"/>
                    </a:lnTo>
                    <a:lnTo>
                      <a:pt x="605" y="657"/>
                    </a:lnTo>
                    <a:lnTo>
                      <a:pt x="499" y="500"/>
                    </a:lnTo>
                    <a:lnTo>
                      <a:pt x="471" y="465"/>
                    </a:lnTo>
                    <a:lnTo>
                      <a:pt x="383" y="395"/>
                    </a:lnTo>
                    <a:lnTo>
                      <a:pt x="379" y="367"/>
                    </a:lnTo>
                    <a:lnTo>
                      <a:pt x="392" y="346"/>
                    </a:lnTo>
                    <a:lnTo>
                      <a:pt x="405" y="341"/>
                    </a:lnTo>
                    <a:lnTo>
                      <a:pt x="427" y="344"/>
                    </a:lnTo>
                    <a:lnTo>
                      <a:pt x="438" y="341"/>
                    </a:lnTo>
                    <a:lnTo>
                      <a:pt x="450" y="332"/>
                    </a:lnTo>
                    <a:lnTo>
                      <a:pt x="462" y="314"/>
                    </a:lnTo>
                    <a:lnTo>
                      <a:pt x="462" y="286"/>
                    </a:lnTo>
                    <a:lnTo>
                      <a:pt x="424" y="233"/>
                    </a:lnTo>
                    <a:lnTo>
                      <a:pt x="404" y="196"/>
                    </a:lnTo>
                    <a:lnTo>
                      <a:pt x="392" y="191"/>
                    </a:lnTo>
                    <a:lnTo>
                      <a:pt x="375" y="201"/>
                    </a:lnTo>
                    <a:lnTo>
                      <a:pt x="352" y="228"/>
                    </a:lnTo>
                    <a:lnTo>
                      <a:pt x="341" y="230"/>
                    </a:lnTo>
                    <a:lnTo>
                      <a:pt x="319" y="219"/>
                    </a:lnTo>
                    <a:lnTo>
                      <a:pt x="293" y="196"/>
                    </a:lnTo>
                    <a:lnTo>
                      <a:pt x="264" y="106"/>
                    </a:lnTo>
                    <a:lnTo>
                      <a:pt x="212" y="43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416" name="Freeform 180"/>
              <p:cNvSpPr>
                <a:spLocks/>
              </p:cNvSpPr>
              <p:nvPr>
                <p:custDataLst>
                  <p:tags r:id="rId241"/>
                </p:custDataLst>
              </p:nvPr>
            </p:nvSpPr>
            <p:spPr bwMode="auto">
              <a:xfrm>
                <a:off x="3782" y="1750"/>
                <a:ext cx="897" cy="670"/>
              </a:xfrm>
              <a:custGeom>
                <a:avLst/>
                <a:gdLst>
                  <a:gd name="T0" fmla="*/ 1284 w 5984"/>
                  <a:gd name="T1" fmla="*/ 699 h 4534"/>
                  <a:gd name="T2" fmla="*/ 1106 w 5984"/>
                  <a:gd name="T3" fmla="*/ 994 h 4534"/>
                  <a:gd name="T4" fmla="*/ 785 w 5984"/>
                  <a:gd name="T5" fmla="*/ 1238 h 4534"/>
                  <a:gd name="T6" fmla="*/ 654 w 5984"/>
                  <a:gd name="T7" fmla="*/ 1577 h 4534"/>
                  <a:gd name="T8" fmla="*/ 338 w 5984"/>
                  <a:gd name="T9" fmla="*/ 1839 h 4534"/>
                  <a:gd name="T10" fmla="*/ 15 w 5984"/>
                  <a:gd name="T11" fmla="*/ 2024 h 4534"/>
                  <a:gd name="T12" fmla="*/ 114 w 5984"/>
                  <a:gd name="T13" fmla="*/ 2259 h 4534"/>
                  <a:gd name="T14" fmla="*/ 69 w 5984"/>
                  <a:gd name="T15" fmla="*/ 2395 h 4534"/>
                  <a:gd name="T16" fmla="*/ 203 w 5984"/>
                  <a:gd name="T17" fmla="*/ 2530 h 4534"/>
                  <a:gd name="T18" fmla="*/ 408 w 5984"/>
                  <a:gd name="T19" fmla="*/ 2637 h 4534"/>
                  <a:gd name="T20" fmla="*/ 560 w 5984"/>
                  <a:gd name="T21" fmla="*/ 2930 h 4534"/>
                  <a:gd name="T22" fmla="*/ 502 w 5984"/>
                  <a:gd name="T23" fmla="*/ 3145 h 4534"/>
                  <a:gd name="T24" fmla="*/ 743 w 5984"/>
                  <a:gd name="T25" fmla="*/ 3316 h 4534"/>
                  <a:gd name="T26" fmla="*/ 981 w 5984"/>
                  <a:gd name="T27" fmla="*/ 3423 h 4534"/>
                  <a:gd name="T28" fmla="*/ 1181 w 5984"/>
                  <a:gd name="T29" fmla="*/ 3529 h 4534"/>
                  <a:gd name="T30" fmla="*/ 1378 w 5984"/>
                  <a:gd name="T31" fmla="*/ 3596 h 4534"/>
                  <a:gd name="T32" fmla="*/ 1606 w 5984"/>
                  <a:gd name="T33" fmla="*/ 3538 h 4534"/>
                  <a:gd name="T34" fmla="*/ 1959 w 5984"/>
                  <a:gd name="T35" fmla="*/ 3485 h 4534"/>
                  <a:gd name="T36" fmla="*/ 2217 w 5984"/>
                  <a:gd name="T37" fmla="*/ 3527 h 4534"/>
                  <a:gd name="T38" fmla="*/ 2457 w 5984"/>
                  <a:gd name="T39" fmla="*/ 3781 h 4534"/>
                  <a:gd name="T40" fmla="*/ 2432 w 5984"/>
                  <a:gd name="T41" fmla="*/ 4056 h 4534"/>
                  <a:gd name="T42" fmla="*/ 2569 w 5984"/>
                  <a:gd name="T43" fmla="*/ 4324 h 4534"/>
                  <a:gd name="T44" fmla="*/ 2747 w 5984"/>
                  <a:gd name="T45" fmla="*/ 4356 h 4534"/>
                  <a:gd name="T46" fmla="*/ 2984 w 5984"/>
                  <a:gd name="T47" fmla="*/ 4230 h 4534"/>
                  <a:gd name="T48" fmla="*/ 3235 w 5984"/>
                  <a:gd name="T49" fmla="*/ 4329 h 4534"/>
                  <a:gd name="T50" fmla="*/ 3445 w 5984"/>
                  <a:gd name="T51" fmla="*/ 4382 h 4534"/>
                  <a:gd name="T52" fmla="*/ 3603 w 5984"/>
                  <a:gd name="T53" fmla="*/ 4511 h 4534"/>
                  <a:gd name="T54" fmla="*/ 3701 w 5984"/>
                  <a:gd name="T55" fmla="*/ 4386 h 4534"/>
                  <a:gd name="T56" fmla="*/ 3882 w 5984"/>
                  <a:gd name="T57" fmla="*/ 4315 h 4534"/>
                  <a:gd name="T58" fmla="*/ 4036 w 5984"/>
                  <a:gd name="T59" fmla="*/ 4257 h 4534"/>
                  <a:gd name="T60" fmla="*/ 4287 w 5984"/>
                  <a:gd name="T61" fmla="*/ 4112 h 4534"/>
                  <a:gd name="T62" fmla="*/ 4486 w 5984"/>
                  <a:gd name="T63" fmla="*/ 3868 h 4534"/>
                  <a:gd name="T64" fmla="*/ 4640 w 5984"/>
                  <a:gd name="T65" fmla="*/ 3538 h 4534"/>
                  <a:gd name="T66" fmla="*/ 4715 w 5984"/>
                  <a:gd name="T67" fmla="*/ 3349 h 4534"/>
                  <a:gd name="T68" fmla="*/ 4642 w 5984"/>
                  <a:gd name="T69" fmla="*/ 3243 h 4534"/>
                  <a:gd name="T70" fmla="*/ 4662 w 5984"/>
                  <a:gd name="T71" fmla="*/ 3054 h 4534"/>
                  <a:gd name="T72" fmla="*/ 4449 w 5984"/>
                  <a:gd name="T73" fmla="*/ 2664 h 4534"/>
                  <a:gd name="T74" fmla="*/ 4699 w 5984"/>
                  <a:gd name="T75" fmla="*/ 2425 h 4534"/>
                  <a:gd name="T76" fmla="*/ 4605 w 5984"/>
                  <a:gd name="T77" fmla="*/ 2303 h 4534"/>
                  <a:gd name="T78" fmla="*/ 4364 w 5984"/>
                  <a:gd name="T79" fmla="*/ 2261 h 4534"/>
                  <a:gd name="T80" fmla="*/ 4422 w 5984"/>
                  <a:gd name="T81" fmla="*/ 2109 h 4534"/>
                  <a:gd name="T82" fmla="*/ 4682 w 5984"/>
                  <a:gd name="T83" fmla="*/ 1874 h 4534"/>
                  <a:gd name="T84" fmla="*/ 4689 w 5984"/>
                  <a:gd name="T85" fmla="*/ 2107 h 4534"/>
                  <a:gd name="T86" fmla="*/ 4963 w 5984"/>
                  <a:gd name="T87" fmla="*/ 1984 h 4534"/>
                  <a:gd name="T88" fmla="*/ 5312 w 5984"/>
                  <a:gd name="T89" fmla="*/ 1803 h 4534"/>
                  <a:gd name="T90" fmla="*/ 5497 w 5984"/>
                  <a:gd name="T91" fmla="*/ 1589 h 4534"/>
                  <a:gd name="T92" fmla="*/ 5616 w 5984"/>
                  <a:gd name="T93" fmla="*/ 1351 h 4534"/>
                  <a:gd name="T94" fmla="*/ 5983 w 5984"/>
                  <a:gd name="T95" fmla="*/ 860 h 4534"/>
                  <a:gd name="T96" fmla="*/ 5299 w 5984"/>
                  <a:gd name="T97" fmla="*/ 594 h 4534"/>
                  <a:gd name="T98" fmla="*/ 4540 w 5984"/>
                  <a:gd name="T99" fmla="*/ 127 h 4534"/>
                  <a:gd name="T100" fmla="*/ 4459 w 5984"/>
                  <a:gd name="T101" fmla="*/ 467 h 4534"/>
                  <a:gd name="T102" fmla="*/ 4121 w 5984"/>
                  <a:gd name="T103" fmla="*/ 888 h 4534"/>
                  <a:gd name="T104" fmla="*/ 4421 w 5984"/>
                  <a:gd name="T105" fmla="*/ 869 h 4534"/>
                  <a:gd name="T106" fmla="*/ 4258 w 5984"/>
                  <a:gd name="T107" fmla="*/ 1091 h 4534"/>
                  <a:gd name="T108" fmla="*/ 4016 w 5984"/>
                  <a:gd name="T109" fmla="*/ 1221 h 4534"/>
                  <a:gd name="T110" fmla="*/ 3717 w 5984"/>
                  <a:gd name="T111" fmla="*/ 1411 h 4534"/>
                  <a:gd name="T112" fmla="*/ 3301 w 5984"/>
                  <a:gd name="T113" fmla="*/ 1658 h 4534"/>
                  <a:gd name="T114" fmla="*/ 2405 w 5984"/>
                  <a:gd name="T115" fmla="*/ 1632 h 4534"/>
                  <a:gd name="T116" fmla="*/ 1759 w 5984"/>
                  <a:gd name="T117" fmla="*/ 1274 h 453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5984"/>
                  <a:gd name="T178" fmla="*/ 0 h 4534"/>
                  <a:gd name="T179" fmla="*/ 5984 w 5984"/>
                  <a:gd name="T180" fmla="*/ 4534 h 4534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5984" h="4534">
                    <a:moveTo>
                      <a:pt x="1623" y="881"/>
                    </a:moveTo>
                    <a:lnTo>
                      <a:pt x="1608" y="872"/>
                    </a:lnTo>
                    <a:lnTo>
                      <a:pt x="1521" y="846"/>
                    </a:lnTo>
                    <a:lnTo>
                      <a:pt x="1426" y="768"/>
                    </a:lnTo>
                    <a:lnTo>
                      <a:pt x="1410" y="738"/>
                    </a:lnTo>
                    <a:lnTo>
                      <a:pt x="1394" y="673"/>
                    </a:lnTo>
                    <a:lnTo>
                      <a:pt x="1390" y="664"/>
                    </a:lnTo>
                    <a:lnTo>
                      <a:pt x="1380" y="669"/>
                    </a:lnTo>
                    <a:lnTo>
                      <a:pt x="1345" y="669"/>
                    </a:lnTo>
                    <a:lnTo>
                      <a:pt x="1321" y="673"/>
                    </a:lnTo>
                    <a:lnTo>
                      <a:pt x="1297" y="682"/>
                    </a:lnTo>
                    <a:lnTo>
                      <a:pt x="1284" y="699"/>
                    </a:lnTo>
                    <a:lnTo>
                      <a:pt x="1283" y="750"/>
                    </a:lnTo>
                    <a:lnTo>
                      <a:pt x="1268" y="766"/>
                    </a:lnTo>
                    <a:lnTo>
                      <a:pt x="1255" y="770"/>
                    </a:lnTo>
                    <a:lnTo>
                      <a:pt x="1203" y="775"/>
                    </a:lnTo>
                    <a:lnTo>
                      <a:pt x="1185" y="795"/>
                    </a:lnTo>
                    <a:lnTo>
                      <a:pt x="1169" y="833"/>
                    </a:lnTo>
                    <a:lnTo>
                      <a:pt x="1174" y="885"/>
                    </a:lnTo>
                    <a:lnTo>
                      <a:pt x="1182" y="930"/>
                    </a:lnTo>
                    <a:lnTo>
                      <a:pt x="1176" y="957"/>
                    </a:lnTo>
                    <a:lnTo>
                      <a:pt x="1156" y="983"/>
                    </a:lnTo>
                    <a:lnTo>
                      <a:pt x="1138" y="990"/>
                    </a:lnTo>
                    <a:lnTo>
                      <a:pt x="1106" y="994"/>
                    </a:lnTo>
                    <a:lnTo>
                      <a:pt x="1045" y="989"/>
                    </a:lnTo>
                    <a:lnTo>
                      <a:pt x="939" y="953"/>
                    </a:lnTo>
                    <a:lnTo>
                      <a:pt x="919" y="987"/>
                    </a:lnTo>
                    <a:lnTo>
                      <a:pt x="864" y="1155"/>
                    </a:lnTo>
                    <a:lnTo>
                      <a:pt x="858" y="1182"/>
                    </a:lnTo>
                    <a:lnTo>
                      <a:pt x="886" y="1215"/>
                    </a:lnTo>
                    <a:lnTo>
                      <a:pt x="891" y="1235"/>
                    </a:lnTo>
                    <a:lnTo>
                      <a:pt x="885" y="1251"/>
                    </a:lnTo>
                    <a:lnTo>
                      <a:pt x="875" y="1259"/>
                    </a:lnTo>
                    <a:lnTo>
                      <a:pt x="857" y="1265"/>
                    </a:lnTo>
                    <a:lnTo>
                      <a:pt x="806" y="1249"/>
                    </a:lnTo>
                    <a:lnTo>
                      <a:pt x="785" y="1238"/>
                    </a:lnTo>
                    <a:lnTo>
                      <a:pt x="642" y="1272"/>
                    </a:lnTo>
                    <a:lnTo>
                      <a:pt x="625" y="1284"/>
                    </a:lnTo>
                    <a:lnTo>
                      <a:pt x="616" y="1304"/>
                    </a:lnTo>
                    <a:lnTo>
                      <a:pt x="612" y="1318"/>
                    </a:lnTo>
                    <a:lnTo>
                      <a:pt x="622" y="1328"/>
                    </a:lnTo>
                    <a:lnTo>
                      <a:pt x="638" y="1325"/>
                    </a:lnTo>
                    <a:lnTo>
                      <a:pt x="661" y="1334"/>
                    </a:lnTo>
                    <a:lnTo>
                      <a:pt x="661" y="1422"/>
                    </a:lnTo>
                    <a:lnTo>
                      <a:pt x="690" y="1491"/>
                    </a:lnTo>
                    <a:lnTo>
                      <a:pt x="695" y="1521"/>
                    </a:lnTo>
                    <a:lnTo>
                      <a:pt x="685" y="1542"/>
                    </a:lnTo>
                    <a:lnTo>
                      <a:pt x="654" y="1577"/>
                    </a:lnTo>
                    <a:lnTo>
                      <a:pt x="641" y="1602"/>
                    </a:lnTo>
                    <a:lnTo>
                      <a:pt x="638" y="1626"/>
                    </a:lnTo>
                    <a:lnTo>
                      <a:pt x="646" y="1693"/>
                    </a:lnTo>
                    <a:lnTo>
                      <a:pt x="645" y="1704"/>
                    </a:lnTo>
                    <a:lnTo>
                      <a:pt x="630" y="1715"/>
                    </a:lnTo>
                    <a:lnTo>
                      <a:pt x="508" y="1760"/>
                    </a:lnTo>
                    <a:lnTo>
                      <a:pt x="490" y="1780"/>
                    </a:lnTo>
                    <a:lnTo>
                      <a:pt x="462" y="1825"/>
                    </a:lnTo>
                    <a:lnTo>
                      <a:pt x="434" y="1846"/>
                    </a:lnTo>
                    <a:lnTo>
                      <a:pt x="413" y="1851"/>
                    </a:lnTo>
                    <a:lnTo>
                      <a:pt x="392" y="1853"/>
                    </a:lnTo>
                    <a:lnTo>
                      <a:pt x="338" y="1839"/>
                    </a:lnTo>
                    <a:lnTo>
                      <a:pt x="327" y="1841"/>
                    </a:lnTo>
                    <a:lnTo>
                      <a:pt x="307" y="1869"/>
                    </a:lnTo>
                    <a:lnTo>
                      <a:pt x="286" y="1918"/>
                    </a:lnTo>
                    <a:lnTo>
                      <a:pt x="274" y="1934"/>
                    </a:lnTo>
                    <a:lnTo>
                      <a:pt x="236" y="1941"/>
                    </a:lnTo>
                    <a:lnTo>
                      <a:pt x="213" y="1950"/>
                    </a:lnTo>
                    <a:lnTo>
                      <a:pt x="197" y="1948"/>
                    </a:lnTo>
                    <a:lnTo>
                      <a:pt x="190" y="1913"/>
                    </a:lnTo>
                    <a:lnTo>
                      <a:pt x="187" y="1908"/>
                    </a:lnTo>
                    <a:lnTo>
                      <a:pt x="172" y="1910"/>
                    </a:lnTo>
                    <a:lnTo>
                      <a:pt x="19" y="2010"/>
                    </a:lnTo>
                    <a:lnTo>
                      <a:pt x="15" y="2024"/>
                    </a:lnTo>
                    <a:lnTo>
                      <a:pt x="7" y="2070"/>
                    </a:lnTo>
                    <a:lnTo>
                      <a:pt x="8" y="2137"/>
                    </a:lnTo>
                    <a:lnTo>
                      <a:pt x="0" y="2151"/>
                    </a:lnTo>
                    <a:lnTo>
                      <a:pt x="3" y="2169"/>
                    </a:lnTo>
                    <a:lnTo>
                      <a:pt x="17" y="2194"/>
                    </a:lnTo>
                    <a:lnTo>
                      <a:pt x="37" y="2190"/>
                    </a:lnTo>
                    <a:lnTo>
                      <a:pt x="48" y="2181"/>
                    </a:lnTo>
                    <a:lnTo>
                      <a:pt x="57" y="2185"/>
                    </a:lnTo>
                    <a:lnTo>
                      <a:pt x="88" y="2187"/>
                    </a:lnTo>
                    <a:lnTo>
                      <a:pt x="99" y="2197"/>
                    </a:lnTo>
                    <a:lnTo>
                      <a:pt x="113" y="2227"/>
                    </a:lnTo>
                    <a:lnTo>
                      <a:pt x="114" y="2259"/>
                    </a:lnTo>
                    <a:lnTo>
                      <a:pt x="119" y="2259"/>
                    </a:lnTo>
                    <a:lnTo>
                      <a:pt x="123" y="2268"/>
                    </a:lnTo>
                    <a:lnTo>
                      <a:pt x="117" y="2292"/>
                    </a:lnTo>
                    <a:lnTo>
                      <a:pt x="127" y="2306"/>
                    </a:lnTo>
                    <a:lnTo>
                      <a:pt x="122" y="2329"/>
                    </a:lnTo>
                    <a:lnTo>
                      <a:pt x="130" y="2338"/>
                    </a:lnTo>
                    <a:lnTo>
                      <a:pt x="122" y="2351"/>
                    </a:lnTo>
                    <a:lnTo>
                      <a:pt x="118" y="2365"/>
                    </a:lnTo>
                    <a:lnTo>
                      <a:pt x="102" y="2373"/>
                    </a:lnTo>
                    <a:lnTo>
                      <a:pt x="94" y="2382"/>
                    </a:lnTo>
                    <a:lnTo>
                      <a:pt x="69" y="2379"/>
                    </a:lnTo>
                    <a:lnTo>
                      <a:pt x="69" y="2395"/>
                    </a:lnTo>
                    <a:lnTo>
                      <a:pt x="80" y="2396"/>
                    </a:lnTo>
                    <a:lnTo>
                      <a:pt x="81" y="2402"/>
                    </a:lnTo>
                    <a:lnTo>
                      <a:pt x="97" y="2409"/>
                    </a:lnTo>
                    <a:lnTo>
                      <a:pt x="101" y="2416"/>
                    </a:lnTo>
                    <a:lnTo>
                      <a:pt x="113" y="2403"/>
                    </a:lnTo>
                    <a:lnTo>
                      <a:pt x="151" y="2414"/>
                    </a:lnTo>
                    <a:lnTo>
                      <a:pt x="151" y="2441"/>
                    </a:lnTo>
                    <a:lnTo>
                      <a:pt x="163" y="2433"/>
                    </a:lnTo>
                    <a:lnTo>
                      <a:pt x="191" y="2432"/>
                    </a:lnTo>
                    <a:lnTo>
                      <a:pt x="216" y="2467"/>
                    </a:lnTo>
                    <a:lnTo>
                      <a:pt x="216" y="2497"/>
                    </a:lnTo>
                    <a:lnTo>
                      <a:pt x="203" y="2530"/>
                    </a:lnTo>
                    <a:lnTo>
                      <a:pt x="216" y="2533"/>
                    </a:lnTo>
                    <a:lnTo>
                      <a:pt x="236" y="2563"/>
                    </a:lnTo>
                    <a:lnTo>
                      <a:pt x="260" y="2551"/>
                    </a:lnTo>
                    <a:lnTo>
                      <a:pt x="270" y="2551"/>
                    </a:lnTo>
                    <a:lnTo>
                      <a:pt x="274" y="2563"/>
                    </a:lnTo>
                    <a:lnTo>
                      <a:pt x="282" y="2569"/>
                    </a:lnTo>
                    <a:lnTo>
                      <a:pt x="307" y="2595"/>
                    </a:lnTo>
                    <a:lnTo>
                      <a:pt x="366" y="2600"/>
                    </a:lnTo>
                    <a:lnTo>
                      <a:pt x="379" y="2607"/>
                    </a:lnTo>
                    <a:lnTo>
                      <a:pt x="385" y="2614"/>
                    </a:lnTo>
                    <a:lnTo>
                      <a:pt x="408" y="2606"/>
                    </a:lnTo>
                    <a:lnTo>
                      <a:pt x="408" y="2637"/>
                    </a:lnTo>
                    <a:lnTo>
                      <a:pt x="437" y="2729"/>
                    </a:lnTo>
                    <a:lnTo>
                      <a:pt x="473" y="2734"/>
                    </a:lnTo>
                    <a:lnTo>
                      <a:pt x="502" y="2775"/>
                    </a:lnTo>
                    <a:lnTo>
                      <a:pt x="487" y="2787"/>
                    </a:lnTo>
                    <a:lnTo>
                      <a:pt x="481" y="2798"/>
                    </a:lnTo>
                    <a:lnTo>
                      <a:pt x="485" y="2865"/>
                    </a:lnTo>
                    <a:lnTo>
                      <a:pt x="498" y="2879"/>
                    </a:lnTo>
                    <a:lnTo>
                      <a:pt x="530" y="2884"/>
                    </a:lnTo>
                    <a:lnTo>
                      <a:pt x="534" y="2888"/>
                    </a:lnTo>
                    <a:lnTo>
                      <a:pt x="535" y="2900"/>
                    </a:lnTo>
                    <a:lnTo>
                      <a:pt x="564" y="2905"/>
                    </a:lnTo>
                    <a:lnTo>
                      <a:pt x="560" y="2930"/>
                    </a:lnTo>
                    <a:lnTo>
                      <a:pt x="576" y="2971"/>
                    </a:lnTo>
                    <a:lnTo>
                      <a:pt x="535" y="3008"/>
                    </a:lnTo>
                    <a:lnTo>
                      <a:pt x="519" y="3011"/>
                    </a:lnTo>
                    <a:lnTo>
                      <a:pt x="503" y="2995"/>
                    </a:lnTo>
                    <a:lnTo>
                      <a:pt x="502" y="2974"/>
                    </a:lnTo>
                    <a:lnTo>
                      <a:pt x="466" y="2985"/>
                    </a:lnTo>
                    <a:lnTo>
                      <a:pt x="474" y="3025"/>
                    </a:lnTo>
                    <a:lnTo>
                      <a:pt x="499" y="3061"/>
                    </a:lnTo>
                    <a:lnTo>
                      <a:pt x="495" y="3087"/>
                    </a:lnTo>
                    <a:lnTo>
                      <a:pt x="507" y="3108"/>
                    </a:lnTo>
                    <a:lnTo>
                      <a:pt x="498" y="3121"/>
                    </a:lnTo>
                    <a:lnTo>
                      <a:pt x="502" y="3145"/>
                    </a:lnTo>
                    <a:lnTo>
                      <a:pt x="511" y="3149"/>
                    </a:lnTo>
                    <a:lnTo>
                      <a:pt x="532" y="3131"/>
                    </a:lnTo>
                    <a:lnTo>
                      <a:pt x="548" y="3145"/>
                    </a:lnTo>
                    <a:lnTo>
                      <a:pt x="583" y="3195"/>
                    </a:lnTo>
                    <a:lnTo>
                      <a:pt x="599" y="3188"/>
                    </a:lnTo>
                    <a:lnTo>
                      <a:pt x="646" y="3221"/>
                    </a:lnTo>
                    <a:lnTo>
                      <a:pt x="642" y="3243"/>
                    </a:lnTo>
                    <a:lnTo>
                      <a:pt x="674" y="3257"/>
                    </a:lnTo>
                    <a:lnTo>
                      <a:pt x="682" y="3254"/>
                    </a:lnTo>
                    <a:lnTo>
                      <a:pt x="719" y="3287"/>
                    </a:lnTo>
                    <a:lnTo>
                      <a:pt x="731" y="3312"/>
                    </a:lnTo>
                    <a:lnTo>
                      <a:pt x="743" y="3316"/>
                    </a:lnTo>
                    <a:lnTo>
                      <a:pt x="756" y="3298"/>
                    </a:lnTo>
                    <a:lnTo>
                      <a:pt x="761" y="3268"/>
                    </a:lnTo>
                    <a:lnTo>
                      <a:pt x="773" y="3272"/>
                    </a:lnTo>
                    <a:lnTo>
                      <a:pt x="781" y="3261"/>
                    </a:lnTo>
                    <a:lnTo>
                      <a:pt x="829" y="3272"/>
                    </a:lnTo>
                    <a:lnTo>
                      <a:pt x="834" y="3307"/>
                    </a:lnTo>
                    <a:lnTo>
                      <a:pt x="873" y="3323"/>
                    </a:lnTo>
                    <a:lnTo>
                      <a:pt x="906" y="3356"/>
                    </a:lnTo>
                    <a:lnTo>
                      <a:pt x="927" y="3369"/>
                    </a:lnTo>
                    <a:lnTo>
                      <a:pt x="932" y="3361"/>
                    </a:lnTo>
                    <a:lnTo>
                      <a:pt x="953" y="3377"/>
                    </a:lnTo>
                    <a:lnTo>
                      <a:pt x="981" y="3423"/>
                    </a:lnTo>
                    <a:lnTo>
                      <a:pt x="989" y="3414"/>
                    </a:lnTo>
                    <a:lnTo>
                      <a:pt x="1019" y="3407"/>
                    </a:lnTo>
                    <a:lnTo>
                      <a:pt x="1033" y="3416"/>
                    </a:lnTo>
                    <a:lnTo>
                      <a:pt x="1041" y="3439"/>
                    </a:lnTo>
                    <a:lnTo>
                      <a:pt x="1038" y="3455"/>
                    </a:lnTo>
                    <a:lnTo>
                      <a:pt x="1101" y="3506"/>
                    </a:lnTo>
                    <a:lnTo>
                      <a:pt x="1116" y="3492"/>
                    </a:lnTo>
                    <a:lnTo>
                      <a:pt x="1131" y="3492"/>
                    </a:lnTo>
                    <a:lnTo>
                      <a:pt x="1124" y="3515"/>
                    </a:lnTo>
                    <a:lnTo>
                      <a:pt x="1124" y="3529"/>
                    </a:lnTo>
                    <a:lnTo>
                      <a:pt x="1165" y="3534"/>
                    </a:lnTo>
                    <a:lnTo>
                      <a:pt x="1181" y="3529"/>
                    </a:lnTo>
                    <a:lnTo>
                      <a:pt x="1205" y="3557"/>
                    </a:lnTo>
                    <a:lnTo>
                      <a:pt x="1211" y="3584"/>
                    </a:lnTo>
                    <a:lnTo>
                      <a:pt x="1222" y="3578"/>
                    </a:lnTo>
                    <a:lnTo>
                      <a:pt x="1222" y="3557"/>
                    </a:lnTo>
                    <a:lnTo>
                      <a:pt x="1251" y="3580"/>
                    </a:lnTo>
                    <a:lnTo>
                      <a:pt x="1263" y="3575"/>
                    </a:lnTo>
                    <a:lnTo>
                      <a:pt x="1267" y="3556"/>
                    </a:lnTo>
                    <a:lnTo>
                      <a:pt x="1285" y="3556"/>
                    </a:lnTo>
                    <a:lnTo>
                      <a:pt x="1312" y="3571"/>
                    </a:lnTo>
                    <a:lnTo>
                      <a:pt x="1327" y="3593"/>
                    </a:lnTo>
                    <a:lnTo>
                      <a:pt x="1364" y="3589"/>
                    </a:lnTo>
                    <a:lnTo>
                      <a:pt x="1378" y="3596"/>
                    </a:lnTo>
                    <a:lnTo>
                      <a:pt x="1394" y="3580"/>
                    </a:lnTo>
                    <a:lnTo>
                      <a:pt x="1423" y="3589"/>
                    </a:lnTo>
                    <a:lnTo>
                      <a:pt x="1459" y="3575"/>
                    </a:lnTo>
                    <a:lnTo>
                      <a:pt x="1469" y="3580"/>
                    </a:lnTo>
                    <a:lnTo>
                      <a:pt x="1475" y="3591"/>
                    </a:lnTo>
                    <a:lnTo>
                      <a:pt x="1473" y="3638"/>
                    </a:lnTo>
                    <a:lnTo>
                      <a:pt x="1483" y="3675"/>
                    </a:lnTo>
                    <a:lnTo>
                      <a:pt x="1537" y="3589"/>
                    </a:lnTo>
                    <a:lnTo>
                      <a:pt x="1564" y="3557"/>
                    </a:lnTo>
                    <a:lnTo>
                      <a:pt x="1581" y="3545"/>
                    </a:lnTo>
                    <a:lnTo>
                      <a:pt x="1586" y="3538"/>
                    </a:lnTo>
                    <a:lnTo>
                      <a:pt x="1606" y="3538"/>
                    </a:lnTo>
                    <a:lnTo>
                      <a:pt x="1619" y="3554"/>
                    </a:lnTo>
                    <a:lnTo>
                      <a:pt x="1639" y="3566"/>
                    </a:lnTo>
                    <a:lnTo>
                      <a:pt x="1729" y="3571"/>
                    </a:lnTo>
                    <a:lnTo>
                      <a:pt x="1743" y="3584"/>
                    </a:lnTo>
                    <a:lnTo>
                      <a:pt x="1758" y="3619"/>
                    </a:lnTo>
                    <a:lnTo>
                      <a:pt x="1766" y="3612"/>
                    </a:lnTo>
                    <a:lnTo>
                      <a:pt x="1802" y="3610"/>
                    </a:lnTo>
                    <a:lnTo>
                      <a:pt x="1832" y="3598"/>
                    </a:lnTo>
                    <a:lnTo>
                      <a:pt x="1849" y="3584"/>
                    </a:lnTo>
                    <a:lnTo>
                      <a:pt x="1898" y="3520"/>
                    </a:lnTo>
                    <a:lnTo>
                      <a:pt x="1922" y="3499"/>
                    </a:lnTo>
                    <a:lnTo>
                      <a:pt x="1959" y="3485"/>
                    </a:lnTo>
                    <a:lnTo>
                      <a:pt x="2008" y="3443"/>
                    </a:lnTo>
                    <a:lnTo>
                      <a:pt x="2032" y="3427"/>
                    </a:lnTo>
                    <a:lnTo>
                      <a:pt x="2049" y="3421"/>
                    </a:lnTo>
                    <a:lnTo>
                      <a:pt x="2060" y="3430"/>
                    </a:lnTo>
                    <a:lnTo>
                      <a:pt x="2103" y="3448"/>
                    </a:lnTo>
                    <a:lnTo>
                      <a:pt x="2119" y="3446"/>
                    </a:lnTo>
                    <a:lnTo>
                      <a:pt x="2180" y="3399"/>
                    </a:lnTo>
                    <a:lnTo>
                      <a:pt x="2232" y="3462"/>
                    </a:lnTo>
                    <a:lnTo>
                      <a:pt x="2236" y="3483"/>
                    </a:lnTo>
                    <a:lnTo>
                      <a:pt x="2219" y="3510"/>
                    </a:lnTo>
                    <a:lnTo>
                      <a:pt x="2213" y="3524"/>
                    </a:lnTo>
                    <a:lnTo>
                      <a:pt x="2217" y="3527"/>
                    </a:lnTo>
                    <a:lnTo>
                      <a:pt x="2319" y="3550"/>
                    </a:lnTo>
                    <a:lnTo>
                      <a:pt x="2319" y="3543"/>
                    </a:lnTo>
                    <a:lnTo>
                      <a:pt x="2334" y="3524"/>
                    </a:lnTo>
                    <a:lnTo>
                      <a:pt x="2346" y="3520"/>
                    </a:lnTo>
                    <a:lnTo>
                      <a:pt x="2367" y="3536"/>
                    </a:lnTo>
                    <a:lnTo>
                      <a:pt x="2385" y="3561"/>
                    </a:lnTo>
                    <a:lnTo>
                      <a:pt x="2396" y="3612"/>
                    </a:lnTo>
                    <a:lnTo>
                      <a:pt x="2405" y="3630"/>
                    </a:lnTo>
                    <a:lnTo>
                      <a:pt x="2417" y="3633"/>
                    </a:lnTo>
                    <a:lnTo>
                      <a:pt x="2440" y="3631"/>
                    </a:lnTo>
                    <a:lnTo>
                      <a:pt x="2448" y="3638"/>
                    </a:lnTo>
                    <a:lnTo>
                      <a:pt x="2457" y="3781"/>
                    </a:lnTo>
                    <a:lnTo>
                      <a:pt x="2422" y="3869"/>
                    </a:lnTo>
                    <a:lnTo>
                      <a:pt x="2393" y="3899"/>
                    </a:lnTo>
                    <a:lnTo>
                      <a:pt x="2373" y="3915"/>
                    </a:lnTo>
                    <a:lnTo>
                      <a:pt x="2364" y="3926"/>
                    </a:lnTo>
                    <a:lnTo>
                      <a:pt x="2338" y="3975"/>
                    </a:lnTo>
                    <a:lnTo>
                      <a:pt x="2348" y="4040"/>
                    </a:lnTo>
                    <a:lnTo>
                      <a:pt x="2338" y="4072"/>
                    </a:lnTo>
                    <a:lnTo>
                      <a:pt x="2338" y="4087"/>
                    </a:lnTo>
                    <a:lnTo>
                      <a:pt x="2348" y="4091"/>
                    </a:lnTo>
                    <a:lnTo>
                      <a:pt x="2362" y="4086"/>
                    </a:lnTo>
                    <a:lnTo>
                      <a:pt x="2397" y="4061"/>
                    </a:lnTo>
                    <a:lnTo>
                      <a:pt x="2432" y="4056"/>
                    </a:lnTo>
                    <a:lnTo>
                      <a:pt x="2453" y="4056"/>
                    </a:lnTo>
                    <a:lnTo>
                      <a:pt x="2459" y="4063"/>
                    </a:lnTo>
                    <a:lnTo>
                      <a:pt x="2473" y="4160"/>
                    </a:lnTo>
                    <a:lnTo>
                      <a:pt x="2482" y="4177"/>
                    </a:lnTo>
                    <a:lnTo>
                      <a:pt x="2506" y="4174"/>
                    </a:lnTo>
                    <a:lnTo>
                      <a:pt x="2528" y="4179"/>
                    </a:lnTo>
                    <a:lnTo>
                      <a:pt x="2528" y="4193"/>
                    </a:lnTo>
                    <a:lnTo>
                      <a:pt x="2498" y="4281"/>
                    </a:lnTo>
                    <a:lnTo>
                      <a:pt x="2502" y="4301"/>
                    </a:lnTo>
                    <a:lnTo>
                      <a:pt x="2512" y="4306"/>
                    </a:lnTo>
                    <a:lnTo>
                      <a:pt x="2556" y="4304"/>
                    </a:lnTo>
                    <a:lnTo>
                      <a:pt x="2569" y="4324"/>
                    </a:lnTo>
                    <a:lnTo>
                      <a:pt x="2584" y="4366"/>
                    </a:lnTo>
                    <a:lnTo>
                      <a:pt x="2601" y="4380"/>
                    </a:lnTo>
                    <a:lnTo>
                      <a:pt x="2612" y="4386"/>
                    </a:lnTo>
                    <a:lnTo>
                      <a:pt x="2640" y="4377"/>
                    </a:lnTo>
                    <a:lnTo>
                      <a:pt x="2669" y="4354"/>
                    </a:lnTo>
                    <a:lnTo>
                      <a:pt x="2673" y="4375"/>
                    </a:lnTo>
                    <a:lnTo>
                      <a:pt x="2687" y="4398"/>
                    </a:lnTo>
                    <a:lnTo>
                      <a:pt x="2702" y="4410"/>
                    </a:lnTo>
                    <a:lnTo>
                      <a:pt x="2735" y="4414"/>
                    </a:lnTo>
                    <a:lnTo>
                      <a:pt x="2747" y="4403"/>
                    </a:lnTo>
                    <a:lnTo>
                      <a:pt x="2753" y="4384"/>
                    </a:lnTo>
                    <a:lnTo>
                      <a:pt x="2747" y="4356"/>
                    </a:lnTo>
                    <a:lnTo>
                      <a:pt x="2736" y="4334"/>
                    </a:lnTo>
                    <a:lnTo>
                      <a:pt x="2731" y="4303"/>
                    </a:lnTo>
                    <a:lnTo>
                      <a:pt x="2732" y="4285"/>
                    </a:lnTo>
                    <a:lnTo>
                      <a:pt x="2744" y="4271"/>
                    </a:lnTo>
                    <a:lnTo>
                      <a:pt x="2794" y="4241"/>
                    </a:lnTo>
                    <a:lnTo>
                      <a:pt x="2818" y="4234"/>
                    </a:lnTo>
                    <a:lnTo>
                      <a:pt x="2833" y="4236"/>
                    </a:lnTo>
                    <a:lnTo>
                      <a:pt x="2858" y="4257"/>
                    </a:lnTo>
                    <a:lnTo>
                      <a:pt x="2873" y="4262"/>
                    </a:lnTo>
                    <a:lnTo>
                      <a:pt x="2898" y="4239"/>
                    </a:lnTo>
                    <a:lnTo>
                      <a:pt x="2912" y="4232"/>
                    </a:lnTo>
                    <a:lnTo>
                      <a:pt x="2984" y="4230"/>
                    </a:lnTo>
                    <a:lnTo>
                      <a:pt x="3019" y="4223"/>
                    </a:lnTo>
                    <a:lnTo>
                      <a:pt x="3034" y="4214"/>
                    </a:lnTo>
                    <a:lnTo>
                      <a:pt x="3088" y="4165"/>
                    </a:lnTo>
                    <a:lnTo>
                      <a:pt x="3101" y="4160"/>
                    </a:lnTo>
                    <a:lnTo>
                      <a:pt x="3129" y="4192"/>
                    </a:lnTo>
                    <a:lnTo>
                      <a:pt x="3164" y="4206"/>
                    </a:lnTo>
                    <a:lnTo>
                      <a:pt x="3226" y="4206"/>
                    </a:lnTo>
                    <a:lnTo>
                      <a:pt x="3236" y="4216"/>
                    </a:lnTo>
                    <a:lnTo>
                      <a:pt x="3239" y="4237"/>
                    </a:lnTo>
                    <a:lnTo>
                      <a:pt x="3218" y="4280"/>
                    </a:lnTo>
                    <a:lnTo>
                      <a:pt x="3223" y="4308"/>
                    </a:lnTo>
                    <a:lnTo>
                      <a:pt x="3235" y="4329"/>
                    </a:lnTo>
                    <a:lnTo>
                      <a:pt x="3276" y="4363"/>
                    </a:lnTo>
                    <a:lnTo>
                      <a:pt x="3304" y="4371"/>
                    </a:lnTo>
                    <a:lnTo>
                      <a:pt x="3344" y="4377"/>
                    </a:lnTo>
                    <a:lnTo>
                      <a:pt x="3353" y="4386"/>
                    </a:lnTo>
                    <a:lnTo>
                      <a:pt x="3354" y="4384"/>
                    </a:lnTo>
                    <a:lnTo>
                      <a:pt x="3377" y="4380"/>
                    </a:lnTo>
                    <a:lnTo>
                      <a:pt x="3390" y="4384"/>
                    </a:lnTo>
                    <a:lnTo>
                      <a:pt x="3402" y="4377"/>
                    </a:lnTo>
                    <a:lnTo>
                      <a:pt x="3410" y="4356"/>
                    </a:lnTo>
                    <a:lnTo>
                      <a:pt x="3411" y="4345"/>
                    </a:lnTo>
                    <a:lnTo>
                      <a:pt x="3418" y="4341"/>
                    </a:lnTo>
                    <a:lnTo>
                      <a:pt x="3445" y="4382"/>
                    </a:lnTo>
                    <a:lnTo>
                      <a:pt x="3475" y="4393"/>
                    </a:lnTo>
                    <a:lnTo>
                      <a:pt x="3493" y="4389"/>
                    </a:lnTo>
                    <a:lnTo>
                      <a:pt x="3503" y="4373"/>
                    </a:lnTo>
                    <a:lnTo>
                      <a:pt x="3513" y="4368"/>
                    </a:lnTo>
                    <a:lnTo>
                      <a:pt x="3540" y="4382"/>
                    </a:lnTo>
                    <a:lnTo>
                      <a:pt x="3540" y="4393"/>
                    </a:lnTo>
                    <a:lnTo>
                      <a:pt x="3522" y="4435"/>
                    </a:lnTo>
                    <a:lnTo>
                      <a:pt x="3522" y="4456"/>
                    </a:lnTo>
                    <a:lnTo>
                      <a:pt x="3533" y="4495"/>
                    </a:lnTo>
                    <a:lnTo>
                      <a:pt x="3553" y="4534"/>
                    </a:lnTo>
                    <a:lnTo>
                      <a:pt x="3587" y="4525"/>
                    </a:lnTo>
                    <a:lnTo>
                      <a:pt x="3603" y="4511"/>
                    </a:lnTo>
                    <a:lnTo>
                      <a:pt x="3601" y="4498"/>
                    </a:lnTo>
                    <a:lnTo>
                      <a:pt x="3589" y="4493"/>
                    </a:lnTo>
                    <a:lnTo>
                      <a:pt x="3569" y="4458"/>
                    </a:lnTo>
                    <a:lnTo>
                      <a:pt x="3569" y="4451"/>
                    </a:lnTo>
                    <a:lnTo>
                      <a:pt x="3579" y="4430"/>
                    </a:lnTo>
                    <a:lnTo>
                      <a:pt x="3585" y="4410"/>
                    </a:lnTo>
                    <a:lnTo>
                      <a:pt x="3585" y="4407"/>
                    </a:lnTo>
                    <a:lnTo>
                      <a:pt x="3596" y="4412"/>
                    </a:lnTo>
                    <a:lnTo>
                      <a:pt x="3618" y="4414"/>
                    </a:lnTo>
                    <a:lnTo>
                      <a:pt x="3635" y="4396"/>
                    </a:lnTo>
                    <a:lnTo>
                      <a:pt x="3668" y="4384"/>
                    </a:lnTo>
                    <a:lnTo>
                      <a:pt x="3701" y="4386"/>
                    </a:lnTo>
                    <a:lnTo>
                      <a:pt x="3712" y="4382"/>
                    </a:lnTo>
                    <a:lnTo>
                      <a:pt x="3731" y="4356"/>
                    </a:lnTo>
                    <a:lnTo>
                      <a:pt x="3740" y="4350"/>
                    </a:lnTo>
                    <a:lnTo>
                      <a:pt x="3761" y="4361"/>
                    </a:lnTo>
                    <a:lnTo>
                      <a:pt x="3787" y="4359"/>
                    </a:lnTo>
                    <a:lnTo>
                      <a:pt x="3804" y="4352"/>
                    </a:lnTo>
                    <a:lnTo>
                      <a:pt x="3831" y="4348"/>
                    </a:lnTo>
                    <a:lnTo>
                      <a:pt x="3836" y="4341"/>
                    </a:lnTo>
                    <a:lnTo>
                      <a:pt x="3836" y="4327"/>
                    </a:lnTo>
                    <a:lnTo>
                      <a:pt x="3843" y="4311"/>
                    </a:lnTo>
                    <a:lnTo>
                      <a:pt x="3865" y="4322"/>
                    </a:lnTo>
                    <a:lnTo>
                      <a:pt x="3882" y="4315"/>
                    </a:lnTo>
                    <a:lnTo>
                      <a:pt x="3892" y="4299"/>
                    </a:lnTo>
                    <a:lnTo>
                      <a:pt x="3896" y="4250"/>
                    </a:lnTo>
                    <a:lnTo>
                      <a:pt x="3892" y="4241"/>
                    </a:lnTo>
                    <a:lnTo>
                      <a:pt x="3900" y="4225"/>
                    </a:lnTo>
                    <a:lnTo>
                      <a:pt x="3908" y="4234"/>
                    </a:lnTo>
                    <a:lnTo>
                      <a:pt x="3925" y="4260"/>
                    </a:lnTo>
                    <a:lnTo>
                      <a:pt x="3937" y="4262"/>
                    </a:lnTo>
                    <a:lnTo>
                      <a:pt x="3952" y="4251"/>
                    </a:lnTo>
                    <a:lnTo>
                      <a:pt x="3983" y="4239"/>
                    </a:lnTo>
                    <a:lnTo>
                      <a:pt x="4005" y="4237"/>
                    </a:lnTo>
                    <a:lnTo>
                      <a:pt x="4008" y="4262"/>
                    </a:lnTo>
                    <a:lnTo>
                      <a:pt x="4036" y="4257"/>
                    </a:lnTo>
                    <a:lnTo>
                      <a:pt x="4056" y="4246"/>
                    </a:lnTo>
                    <a:lnTo>
                      <a:pt x="4069" y="4229"/>
                    </a:lnTo>
                    <a:lnTo>
                      <a:pt x="4081" y="4225"/>
                    </a:lnTo>
                    <a:lnTo>
                      <a:pt x="4121" y="4241"/>
                    </a:lnTo>
                    <a:lnTo>
                      <a:pt x="4135" y="4216"/>
                    </a:lnTo>
                    <a:lnTo>
                      <a:pt x="4182" y="4207"/>
                    </a:lnTo>
                    <a:lnTo>
                      <a:pt x="4188" y="4199"/>
                    </a:lnTo>
                    <a:lnTo>
                      <a:pt x="4189" y="4172"/>
                    </a:lnTo>
                    <a:lnTo>
                      <a:pt x="4194" y="4165"/>
                    </a:lnTo>
                    <a:lnTo>
                      <a:pt x="4219" y="4154"/>
                    </a:lnTo>
                    <a:lnTo>
                      <a:pt x="4244" y="4128"/>
                    </a:lnTo>
                    <a:lnTo>
                      <a:pt x="4287" y="4112"/>
                    </a:lnTo>
                    <a:lnTo>
                      <a:pt x="4321" y="4075"/>
                    </a:lnTo>
                    <a:lnTo>
                      <a:pt x="4330" y="4068"/>
                    </a:lnTo>
                    <a:lnTo>
                      <a:pt x="4326" y="4020"/>
                    </a:lnTo>
                    <a:lnTo>
                      <a:pt x="4331" y="4010"/>
                    </a:lnTo>
                    <a:lnTo>
                      <a:pt x="4338" y="4005"/>
                    </a:lnTo>
                    <a:lnTo>
                      <a:pt x="4379" y="4015"/>
                    </a:lnTo>
                    <a:lnTo>
                      <a:pt x="4397" y="3989"/>
                    </a:lnTo>
                    <a:lnTo>
                      <a:pt x="4425" y="3967"/>
                    </a:lnTo>
                    <a:lnTo>
                      <a:pt x="4446" y="3910"/>
                    </a:lnTo>
                    <a:lnTo>
                      <a:pt x="4453" y="3894"/>
                    </a:lnTo>
                    <a:lnTo>
                      <a:pt x="4477" y="3882"/>
                    </a:lnTo>
                    <a:lnTo>
                      <a:pt x="4486" y="3868"/>
                    </a:lnTo>
                    <a:lnTo>
                      <a:pt x="4489" y="3852"/>
                    </a:lnTo>
                    <a:lnTo>
                      <a:pt x="4486" y="3820"/>
                    </a:lnTo>
                    <a:lnTo>
                      <a:pt x="4498" y="3790"/>
                    </a:lnTo>
                    <a:lnTo>
                      <a:pt x="4486" y="3750"/>
                    </a:lnTo>
                    <a:lnTo>
                      <a:pt x="4502" y="3737"/>
                    </a:lnTo>
                    <a:lnTo>
                      <a:pt x="4527" y="3735"/>
                    </a:lnTo>
                    <a:lnTo>
                      <a:pt x="4539" y="3725"/>
                    </a:lnTo>
                    <a:lnTo>
                      <a:pt x="4550" y="3700"/>
                    </a:lnTo>
                    <a:lnTo>
                      <a:pt x="4576" y="3677"/>
                    </a:lnTo>
                    <a:lnTo>
                      <a:pt x="4591" y="3624"/>
                    </a:lnTo>
                    <a:lnTo>
                      <a:pt x="4634" y="3547"/>
                    </a:lnTo>
                    <a:lnTo>
                      <a:pt x="4640" y="3538"/>
                    </a:lnTo>
                    <a:lnTo>
                      <a:pt x="4657" y="3557"/>
                    </a:lnTo>
                    <a:lnTo>
                      <a:pt x="4665" y="3550"/>
                    </a:lnTo>
                    <a:lnTo>
                      <a:pt x="4674" y="3524"/>
                    </a:lnTo>
                    <a:lnTo>
                      <a:pt x="4674" y="3504"/>
                    </a:lnTo>
                    <a:lnTo>
                      <a:pt x="4682" y="3467"/>
                    </a:lnTo>
                    <a:lnTo>
                      <a:pt x="4695" y="3425"/>
                    </a:lnTo>
                    <a:lnTo>
                      <a:pt x="4703" y="3406"/>
                    </a:lnTo>
                    <a:lnTo>
                      <a:pt x="4695" y="3400"/>
                    </a:lnTo>
                    <a:lnTo>
                      <a:pt x="4679" y="3402"/>
                    </a:lnTo>
                    <a:lnTo>
                      <a:pt x="4675" y="3393"/>
                    </a:lnTo>
                    <a:lnTo>
                      <a:pt x="4706" y="3367"/>
                    </a:lnTo>
                    <a:lnTo>
                      <a:pt x="4715" y="3349"/>
                    </a:lnTo>
                    <a:lnTo>
                      <a:pt x="4715" y="3340"/>
                    </a:lnTo>
                    <a:lnTo>
                      <a:pt x="4695" y="3339"/>
                    </a:lnTo>
                    <a:lnTo>
                      <a:pt x="4678" y="3330"/>
                    </a:lnTo>
                    <a:lnTo>
                      <a:pt x="4654" y="3294"/>
                    </a:lnTo>
                    <a:lnTo>
                      <a:pt x="4647" y="3293"/>
                    </a:lnTo>
                    <a:lnTo>
                      <a:pt x="4626" y="3294"/>
                    </a:lnTo>
                    <a:lnTo>
                      <a:pt x="4584" y="3319"/>
                    </a:lnTo>
                    <a:lnTo>
                      <a:pt x="4567" y="3316"/>
                    </a:lnTo>
                    <a:lnTo>
                      <a:pt x="4536" y="3305"/>
                    </a:lnTo>
                    <a:lnTo>
                      <a:pt x="4564" y="3287"/>
                    </a:lnTo>
                    <a:lnTo>
                      <a:pt x="4601" y="3275"/>
                    </a:lnTo>
                    <a:lnTo>
                      <a:pt x="4642" y="3243"/>
                    </a:lnTo>
                    <a:lnTo>
                      <a:pt x="4671" y="3230"/>
                    </a:lnTo>
                    <a:lnTo>
                      <a:pt x="4695" y="3226"/>
                    </a:lnTo>
                    <a:lnTo>
                      <a:pt x="4700" y="3216"/>
                    </a:lnTo>
                    <a:lnTo>
                      <a:pt x="4702" y="3200"/>
                    </a:lnTo>
                    <a:lnTo>
                      <a:pt x="4689" y="3154"/>
                    </a:lnTo>
                    <a:lnTo>
                      <a:pt x="4670" y="3136"/>
                    </a:lnTo>
                    <a:lnTo>
                      <a:pt x="4665" y="3131"/>
                    </a:lnTo>
                    <a:lnTo>
                      <a:pt x="4700" y="3110"/>
                    </a:lnTo>
                    <a:lnTo>
                      <a:pt x="4702" y="3101"/>
                    </a:lnTo>
                    <a:lnTo>
                      <a:pt x="4699" y="3084"/>
                    </a:lnTo>
                    <a:lnTo>
                      <a:pt x="4687" y="3068"/>
                    </a:lnTo>
                    <a:lnTo>
                      <a:pt x="4662" y="3054"/>
                    </a:lnTo>
                    <a:lnTo>
                      <a:pt x="4645" y="3018"/>
                    </a:lnTo>
                    <a:lnTo>
                      <a:pt x="4613" y="3001"/>
                    </a:lnTo>
                    <a:lnTo>
                      <a:pt x="4605" y="2990"/>
                    </a:lnTo>
                    <a:lnTo>
                      <a:pt x="4612" y="2951"/>
                    </a:lnTo>
                    <a:lnTo>
                      <a:pt x="4604" y="2925"/>
                    </a:lnTo>
                    <a:lnTo>
                      <a:pt x="4575" y="2888"/>
                    </a:lnTo>
                    <a:lnTo>
                      <a:pt x="4555" y="2814"/>
                    </a:lnTo>
                    <a:lnTo>
                      <a:pt x="4539" y="2782"/>
                    </a:lnTo>
                    <a:lnTo>
                      <a:pt x="4473" y="2722"/>
                    </a:lnTo>
                    <a:lnTo>
                      <a:pt x="4446" y="2710"/>
                    </a:lnTo>
                    <a:lnTo>
                      <a:pt x="4444" y="2676"/>
                    </a:lnTo>
                    <a:lnTo>
                      <a:pt x="4449" y="2664"/>
                    </a:lnTo>
                    <a:lnTo>
                      <a:pt x="4511" y="2597"/>
                    </a:lnTo>
                    <a:lnTo>
                      <a:pt x="4531" y="2567"/>
                    </a:lnTo>
                    <a:lnTo>
                      <a:pt x="4539" y="2546"/>
                    </a:lnTo>
                    <a:lnTo>
                      <a:pt x="4534" y="2516"/>
                    </a:lnTo>
                    <a:lnTo>
                      <a:pt x="4555" y="2509"/>
                    </a:lnTo>
                    <a:lnTo>
                      <a:pt x="4560" y="2515"/>
                    </a:lnTo>
                    <a:lnTo>
                      <a:pt x="4561" y="2531"/>
                    </a:lnTo>
                    <a:lnTo>
                      <a:pt x="4567" y="2539"/>
                    </a:lnTo>
                    <a:lnTo>
                      <a:pt x="4591" y="2528"/>
                    </a:lnTo>
                    <a:lnTo>
                      <a:pt x="4594" y="2483"/>
                    </a:lnTo>
                    <a:lnTo>
                      <a:pt x="4625" y="2456"/>
                    </a:lnTo>
                    <a:lnTo>
                      <a:pt x="4699" y="2425"/>
                    </a:lnTo>
                    <a:lnTo>
                      <a:pt x="4723" y="2421"/>
                    </a:lnTo>
                    <a:lnTo>
                      <a:pt x="4735" y="2425"/>
                    </a:lnTo>
                    <a:lnTo>
                      <a:pt x="4763" y="2437"/>
                    </a:lnTo>
                    <a:lnTo>
                      <a:pt x="4764" y="2403"/>
                    </a:lnTo>
                    <a:lnTo>
                      <a:pt x="4776" y="2361"/>
                    </a:lnTo>
                    <a:lnTo>
                      <a:pt x="4764" y="2361"/>
                    </a:lnTo>
                    <a:lnTo>
                      <a:pt x="4744" y="2352"/>
                    </a:lnTo>
                    <a:lnTo>
                      <a:pt x="4727" y="2351"/>
                    </a:lnTo>
                    <a:lnTo>
                      <a:pt x="4682" y="2356"/>
                    </a:lnTo>
                    <a:lnTo>
                      <a:pt x="4658" y="2343"/>
                    </a:lnTo>
                    <a:lnTo>
                      <a:pt x="4620" y="2306"/>
                    </a:lnTo>
                    <a:lnTo>
                      <a:pt x="4605" y="2303"/>
                    </a:lnTo>
                    <a:lnTo>
                      <a:pt x="4582" y="2310"/>
                    </a:lnTo>
                    <a:lnTo>
                      <a:pt x="4559" y="2324"/>
                    </a:lnTo>
                    <a:lnTo>
                      <a:pt x="4536" y="2354"/>
                    </a:lnTo>
                    <a:lnTo>
                      <a:pt x="4502" y="2386"/>
                    </a:lnTo>
                    <a:lnTo>
                      <a:pt x="4471" y="2395"/>
                    </a:lnTo>
                    <a:lnTo>
                      <a:pt x="4438" y="2391"/>
                    </a:lnTo>
                    <a:lnTo>
                      <a:pt x="4428" y="2373"/>
                    </a:lnTo>
                    <a:lnTo>
                      <a:pt x="4425" y="2342"/>
                    </a:lnTo>
                    <a:lnTo>
                      <a:pt x="4431" y="2306"/>
                    </a:lnTo>
                    <a:lnTo>
                      <a:pt x="4431" y="2273"/>
                    </a:lnTo>
                    <a:lnTo>
                      <a:pt x="4417" y="2259"/>
                    </a:lnTo>
                    <a:lnTo>
                      <a:pt x="4364" y="2261"/>
                    </a:lnTo>
                    <a:lnTo>
                      <a:pt x="4330" y="2245"/>
                    </a:lnTo>
                    <a:lnTo>
                      <a:pt x="4305" y="2229"/>
                    </a:lnTo>
                    <a:lnTo>
                      <a:pt x="4294" y="2206"/>
                    </a:lnTo>
                    <a:lnTo>
                      <a:pt x="4290" y="2185"/>
                    </a:lnTo>
                    <a:lnTo>
                      <a:pt x="4303" y="2142"/>
                    </a:lnTo>
                    <a:lnTo>
                      <a:pt x="4321" y="2104"/>
                    </a:lnTo>
                    <a:lnTo>
                      <a:pt x="4336" y="2095"/>
                    </a:lnTo>
                    <a:lnTo>
                      <a:pt x="4352" y="2097"/>
                    </a:lnTo>
                    <a:lnTo>
                      <a:pt x="4372" y="2132"/>
                    </a:lnTo>
                    <a:lnTo>
                      <a:pt x="4385" y="2125"/>
                    </a:lnTo>
                    <a:lnTo>
                      <a:pt x="4400" y="2107"/>
                    </a:lnTo>
                    <a:lnTo>
                      <a:pt x="4422" y="2109"/>
                    </a:lnTo>
                    <a:lnTo>
                      <a:pt x="4441" y="2100"/>
                    </a:lnTo>
                    <a:lnTo>
                      <a:pt x="4452" y="2084"/>
                    </a:lnTo>
                    <a:lnTo>
                      <a:pt x="4457" y="2068"/>
                    </a:lnTo>
                    <a:lnTo>
                      <a:pt x="4463" y="2044"/>
                    </a:lnTo>
                    <a:lnTo>
                      <a:pt x="4481" y="2015"/>
                    </a:lnTo>
                    <a:lnTo>
                      <a:pt x="4498" y="2003"/>
                    </a:lnTo>
                    <a:lnTo>
                      <a:pt x="4524" y="1989"/>
                    </a:lnTo>
                    <a:lnTo>
                      <a:pt x="4552" y="1984"/>
                    </a:lnTo>
                    <a:lnTo>
                      <a:pt x="4568" y="1973"/>
                    </a:lnTo>
                    <a:lnTo>
                      <a:pt x="4620" y="1899"/>
                    </a:lnTo>
                    <a:lnTo>
                      <a:pt x="4640" y="1876"/>
                    </a:lnTo>
                    <a:lnTo>
                      <a:pt x="4682" y="1874"/>
                    </a:lnTo>
                    <a:lnTo>
                      <a:pt x="4712" y="1892"/>
                    </a:lnTo>
                    <a:lnTo>
                      <a:pt x="4745" y="1927"/>
                    </a:lnTo>
                    <a:lnTo>
                      <a:pt x="4748" y="1945"/>
                    </a:lnTo>
                    <a:lnTo>
                      <a:pt x="4740" y="1957"/>
                    </a:lnTo>
                    <a:lnTo>
                      <a:pt x="4716" y="1984"/>
                    </a:lnTo>
                    <a:lnTo>
                      <a:pt x="4706" y="2007"/>
                    </a:lnTo>
                    <a:lnTo>
                      <a:pt x="4662" y="2056"/>
                    </a:lnTo>
                    <a:lnTo>
                      <a:pt x="4661" y="2065"/>
                    </a:lnTo>
                    <a:lnTo>
                      <a:pt x="4666" y="2082"/>
                    </a:lnTo>
                    <a:lnTo>
                      <a:pt x="4683" y="2079"/>
                    </a:lnTo>
                    <a:lnTo>
                      <a:pt x="4703" y="2086"/>
                    </a:lnTo>
                    <a:lnTo>
                      <a:pt x="4689" y="2107"/>
                    </a:lnTo>
                    <a:lnTo>
                      <a:pt x="4652" y="2149"/>
                    </a:lnTo>
                    <a:lnTo>
                      <a:pt x="4646" y="2165"/>
                    </a:lnTo>
                    <a:lnTo>
                      <a:pt x="4661" y="2164"/>
                    </a:lnTo>
                    <a:lnTo>
                      <a:pt x="4687" y="2148"/>
                    </a:lnTo>
                    <a:lnTo>
                      <a:pt x="4712" y="2119"/>
                    </a:lnTo>
                    <a:lnTo>
                      <a:pt x="4740" y="2097"/>
                    </a:lnTo>
                    <a:lnTo>
                      <a:pt x="4840" y="2038"/>
                    </a:lnTo>
                    <a:lnTo>
                      <a:pt x="4871" y="2028"/>
                    </a:lnTo>
                    <a:lnTo>
                      <a:pt x="4926" y="2021"/>
                    </a:lnTo>
                    <a:lnTo>
                      <a:pt x="4944" y="2010"/>
                    </a:lnTo>
                    <a:lnTo>
                      <a:pt x="4947" y="2015"/>
                    </a:lnTo>
                    <a:lnTo>
                      <a:pt x="4963" y="1984"/>
                    </a:lnTo>
                    <a:lnTo>
                      <a:pt x="4982" y="1955"/>
                    </a:lnTo>
                    <a:lnTo>
                      <a:pt x="5005" y="1934"/>
                    </a:lnTo>
                    <a:lnTo>
                      <a:pt x="5072" y="1897"/>
                    </a:lnTo>
                    <a:lnTo>
                      <a:pt x="5117" y="1864"/>
                    </a:lnTo>
                    <a:lnTo>
                      <a:pt x="5145" y="1830"/>
                    </a:lnTo>
                    <a:lnTo>
                      <a:pt x="5177" y="1764"/>
                    </a:lnTo>
                    <a:lnTo>
                      <a:pt x="5193" y="1755"/>
                    </a:lnTo>
                    <a:lnTo>
                      <a:pt x="5214" y="1755"/>
                    </a:lnTo>
                    <a:lnTo>
                      <a:pt x="5226" y="1780"/>
                    </a:lnTo>
                    <a:lnTo>
                      <a:pt x="5246" y="1796"/>
                    </a:lnTo>
                    <a:lnTo>
                      <a:pt x="5268" y="1805"/>
                    </a:lnTo>
                    <a:lnTo>
                      <a:pt x="5312" y="1803"/>
                    </a:lnTo>
                    <a:lnTo>
                      <a:pt x="5336" y="1792"/>
                    </a:lnTo>
                    <a:lnTo>
                      <a:pt x="5333" y="1785"/>
                    </a:lnTo>
                    <a:lnTo>
                      <a:pt x="5312" y="1737"/>
                    </a:lnTo>
                    <a:lnTo>
                      <a:pt x="5312" y="1716"/>
                    </a:lnTo>
                    <a:lnTo>
                      <a:pt x="5325" y="1700"/>
                    </a:lnTo>
                    <a:lnTo>
                      <a:pt x="5341" y="1697"/>
                    </a:lnTo>
                    <a:lnTo>
                      <a:pt x="5356" y="1704"/>
                    </a:lnTo>
                    <a:lnTo>
                      <a:pt x="5377" y="1708"/>
                    </a:lnTo>
                    <a:lnTo>
                      <a:pt x="5401" y="1708"/>
                    </a:lnTo>
                    <a:lnTo>
                      <a:pt x="5468" y="1656"/>
                    </a:lnTo>
                    <a:lnTo>
                      <a:pt x="5479" y="1612"/>
                    </a:lnTo>
                    <a:lnTo>
                      <a:pt x="5497" y="1589"/>
                    </a:lnTo>
                    <a:lnTo>
                      <a:pt x="5507" y="1581"/>
                    </a:lnTo>
                    <a:lnTo>
                      <a:pt x="5519" y="1581"/>
                    </a:lnTo>
                    <a:lnTo>
                      <a:pt x="5544" y="1625"/>
                    </a:lnTo>
                    <a:lnTo>
                      <a:pt x="5549" y="1619"/>
                    </a:lnTo>
                    <a:lnTo>
                      <a:pt x="5603" y="1591"/>
                    </a:lnTo>
                    <a:lnTo>
                      <a:pt x="5627" y="1563"/>
                    </a:lnTo>
                    <a:lnTo>
                      <a:pt x="5633" y="1542"/>
                    </a:lnTo>
                    <a:lnTo>
                      <a:pt x="5628" y="1524"/>
                    </a:lnTo>
                    <a:lnTo>
                      <a:pt x="5633" y="1515"/>
                    </a:lnTo>
                    <a:lnTo>
                      <a:pt x="5635" y="1491"/>
                    </a:lnTo>
                    <a:lnTo>
                      <a:pt x="5632" y="1409"/>
                    </a:lnTo>
                    <a:lnTo>
                      <a:pt x="5616" y="1351"/>
                    </a:lnTo>
                    <a:lnTo>
                      <a:pt x="5618" y="1316"/>
                    </a:lnTo>
                    <a:lnTo>
                      <a:pt x="5692" y="1251"/>
                    </a:lnTo>
                    <a:lnTo>
                      <a:pt x="5710" y="1254"/>
                    </a:lnTo>
                    <a:lnTo>
                      <a:pt x="5770" y="1284"/>
                    </a:lnTo>
                    <a:lnTo>
                      <a:pt x="5795" y="1291"/>
                    </a:lnTo>
                    <a:lnTo>
                      <a:pt x="5815" y="1268"/>
                    </a:lnTo>
                    <a:lnTo>
                      <a:pt x="5853" y="1194"/>
                    </a:lnTo>
                    <a:lnTo>
                      <a:pt x="5905" y="1054"/>
                    </a:lnTo>
                    <a:lnTo>
                      <a:pt x="5930" y="946"/>
                    </a:lnTo>
                    <a:lnTo>
                      <a:pt x="5959" y="922"/>
                    </a:lnTo>
                    <a:lnTo>
                      <a:pt x="5984" y="893"/>
                    </a:lnTo>
                    <a:lnTo>
                      <a:pt x="5983" y="860"/>
                    </a:lnTo>
                    <a:lnTo>
                      <a:pt x="5975" y="818"/>
                    </a:lnTo>
                    <a:lnTo>
                      <a:pt x="5966" y="809"/>
                    </a:lnTo>
                    <a:lnTo>
                      <a:pt x="5925" y="810"/>
                    </a:lnTo>
                    <a:lnTo>
                      <a:pt x="5812" y="846"/>
                    </a:lnTo>
                    <a:lnTo>
                      <a:pt x="5745" y="881"/>
                    </a:lnTo>
                    <a:lnTo>
                      <a:pt x="5612" y="888"/>
                    </a:lnTo>
                    <a:lnTo>
                      <a:pt x="5600" y="858"/>
                    </a:lnTo>
                    <a:lnTo>
                      <a:pt x="5568" y="713"/>
                    </a:lnTo>
                    <a:lnTo>
                      <a:pt x="5559" y="705"/>
                    </a:lnTo>
                    <a:lnTo>
                      <a:pt x="5442" y="646"/>
                    </a:lnTo>
                    <a:lnTo>
                      <a:pt x="5375" y="631"/>
                    </a:lnTo>
                    <a:lnTo>
                      <a:pt x="5299" y="594"/>
                    </a:lnTo>
                    <a:lnTo>
                      <a:pt x="5279" y="567"/>
                    </a:lnTo>
                    <a:lnTo>
                      <a:pt x="5148" y="157"/>
                    </a:lnTo>
                    <a:lnTo>
                      <a:pt x="5116" y="90"/>
                    </a:lnTo>
                    <a:lnTo>
                      <a:pt x="5082" y="56"/>
                    </a:lnTo>
                    <a:lnTo>
                      <a:pt x="5058" y="55"/>
                    </a:lnTo>
                    <a:lnTo>
                      <a:pt x="4997" y="63"/>
                    </a:lnTo>
                    <a:lnTo>
                      <a:pt x="4966" y="49"/>
                    </a:lnTo>
                    <a:lnTo>
                      <a:pt x="4920" y="16"/>
                    </a:lnTo>
                    <a:lnTo>
                      <a:pt x="4870" y="0"/>
                    </a:lnTo>
                    <a:lnTo>
                      <a:pt x="4658" y="30"/>
                    </a:lnTo>
                    <a:lnTo>
                      <a:pt x="4610" y="51"/>
                    </a:lnTo>
                    <a:lnTo>
                      <a:pt x="4540" y="127"/>
                    </a:lnTo>
                    <a:lnTo>
                      <a:pt x="4536" y="144"/>
                    </a:lnTo>
                    <a:lnTo>
                      <a:pt x="4572" y="139"/>
                    </a:lnTo>
                    <a:lnTo>
                      <a:pt x="4597" y="141"/>
                    </a:lnTo>
                    <a:lnTo>
                      <a:pt x="4617" y="164"/>
                    </a:lnTo>
                    <a:lnTo>
                      <a:pt x="4622" y="182"/>
                    </a:lnTo>
                    <a:lnTo>
                      <a:pt x="4614" y="236"/>
                    </a:lnTo>
                    <a:lnTo>
                      <a:pt x="4554" y="280"/>
                    </a:lnTo>
                    <a:lnTo>
                      <a:pt x="4527" y="317"/>
                    </a:lnTo>
                    <a:lnTo>
                      <a:pt x="4479" y="409"/>
                    </a:lnTo>
                    <a:lnTo>
                      <a:pt x="4461" y="440"/>
                    </a:lnTo>
                    <a:lnTo>
                      <a:pt x="4456" y="458"/>
                    </a:lnTo>
                    <a:lnTo>
                      <a:pt x="4459" y="467"/>
                    </a:lnTo>
                    <a:lnTo>
                      <a:pt x="4475" y="491"/>
                    </a:lnTo>
                    <a:lnTo>
                      <a:pt x="4477" y="512"/>
                    </a:lnTo>
                    <a:lnTo>
                      <a:pt x="4473" y="528"/>
                    </a:lnTo>
                    <a:lnTo>
                      <a:pt x="4437" y="551"/>
                    </a:lnTo>
                    <a:lnTo>
                      <a:pt x="4330" y="602"/>
                    </a:lnTo>
                    <a:lnTo>
                      <a:pt x="4311" y="609"/>
                    </a:lnTo>
                    <a:lnTo>
                      <a:pt x="4296" y="609"/>
                    </a:lnTo>
                    <a:lnTo>
                      <a:pt x="4245" y="571"/>
                    </a:lnTo>
                    <a:lnTo>
                      <a:pt x="4224" y="558"/>
                    </a:lnTo>
                    <a:lnTo>
                      <a:pt x="4211" y="579"/>
                    </a:lnTo>
                    <a:lnTo>
                      <a:pt x="4109" y="833"/>
                    </a:lnTo>
                    <a:lnTo>
                      <a:pt x="4121" y="888"/>
                    </a:lnTo>
                    <a:lnTo>
                      <a:pt x="4123" y="890"/>
                    </a:lnTo>
                    <a:lnTo>
                      <a:pt x="4139" y="888"/>
                    </a:lnTo>
                    <a:lnTo>
                      <a:pt x="4180" y="862"/>
                    </a:lnTo>
                    <a:lnTo>
                      <a:pt x="4213" y="856"/>
                    </a:lnTo>
                    <a:lnTo>
                      <a:pt x="4238" y="856"/>
                    </a:lnTo>
                    <a:lnTo>
                      <a:pt x="4253" y="862"/>
                    </a:lnTo>
                    <a:lnTo>
                      <a:pt x="4270" y="890"/>
                    </a:lnTo>
                    <a:lnTo>
                      <a:pt x="4284" y="893"/>
                    </a:lnTo>
                    <a:lnTo>
                      <a:pt x="4338" y="842"/>
                    </a:lnTo>
                    <a:lnTo>
                      <a:pt x="4356" y="842"/>
                    </a:lnTo>
                    <a:lnTo>
                      <a:pt x="4397" y="856"/>
                    </a:lnTo>
                    <a:lnTo>
                      <a:pt x="4421" y="869"/>
                    </a:lnTo>
                    <a:lnTo>
                      <a:pt x="4456" y="902"/>
                    </a:lnTo>
                    <a:lnTo>
                      <a:pt x="4494" y="967"/>
                    </a:lnTo>
                    <a:lnTo>
                      <a:pt x="4522" y="1001"/>
                    </a:lnTo>
                    <a:lnTo>
                      <a:pt x="4523" y="1020"/>
                    </a:lnTo>
                    <a:lnTo>
                      <a:pt x="4518" y="1034"/>
                    </a:lnTo>
                    <a:lnTo>
                      <a:pt x="4501" y="1049"/>
                    </a:lnTo>
                    <a:lnTo>
                      <a:pt x="4479" y="1040"/>
                    </a:lnTo>
                    <a:lnTo>
                      <a:pt x="4432" y="1040"/>
                    </a:lnTo>
                    <a:lnTo>
                      <a:pt x="4413" y="1033"/>
                    </a:lnTo>
                    <a:lnTo>
                      <a:pt x="4376" y="1034"/>
                    </a:lnTo>
                    <a:lnTo>
                      <a:pt x="4274" y="1077"/>
                    </a:lnTo>
                    <a:lnTo>
                      <a:pt x="4258" y="1091"/>
                    </a:lnTo>
                    <a:lnTo>
                      <a:pt x="4237" y="1082"/>
                    </a:lnTo>
                    <a:lnTo>
                      <a:pt x="4216" y="1086"/>
                    </a:lnTo>
                    <a:lnTo>
                      <a:pt x="4195" y="1098"/>
                    </a:lnTo>
                    <a:lnTo>
                      <a:pt x="4180" y="1122"/>
                    </a:lnTo>
                    <a:lnTo>
                      <a:pt x="4166" y="1175"/>
                    </a:lnTo>
                    <a:lnTo>
                      <a:pt x="4155" y="1189"/>
                    </a:lnTo>
                    <a:lnTo>
                      <a:pt x="4140" y="1201"/>
                    </a:lnTo>
                    <a:lnTo>
                      <a:pt x="4113" y="1217"/>
                    </a:lnTo>
                    <a:lnTo>
                      <a:pt x="4072" y="1226"/>
                    </a:lnTo>
                    <a:lnTo>
                      <a:pt x="4045" y="1222"/>
                    </a:lnTo>
                    <a:lnTo>
                      <a:pt x="4027" y="1222"/>
                    </a:lnTo>
                    <a:lnTo>
                      <a:pt x="4016" y="1221"/>
                    </a:lnTo>
                    <a:lnTo>
                      <a:pt x="3962" y="1281"/>
                    </a:lnTo>
                    <a:lnTo>
                      <a:pt x="3930" y="1309"/>
                    </a:lnTo>
                    <a:lnTo>
                      <a:pt x="3855" y="1312"/>
                    </a:lnTo>
                    <a:lnTo>
                      <a:pt x="3828" y="1304"/>
                    </a:lnTo>
                    <a:lnTo>
                      <a:pt x="3798" y="1279"/>
                    </a:lnTo>
                    <a:lnTo>
                      <a:pt x="3767" y="1268"/>
                    </a:lnTo>
                    <a:lnTo>
                      <a:pt x="3754" y="1274"/>
                    </a:lnTo>
                    <a:lnTo>
                      <a:pt x="3733" y="1288"/>
                    </a:lnTo>
                    <a:lnTo>
                      <a:pt x="3709" y="1327"/>
                    </a:lnTo>
                    <a:lnTo>
                      <a:pt x="3700" y="1353"/>
                    </a:lnTo>
                    <a:lnTo>
                      <a:pt x="3700" y="1374"/>
                    </a:lnTo>
                    <a:lnTo>
                      <a:pt x="3717" y="1411"/>
                    </a:lnTo>
                    <a:lnTo>
                      <a:pt x="3743" y="1438"/>
                    </a:lnTo>
                    <a:lnTo>
                      <a:pt x="3752" y="1452"/>
                    </a:lnTo>
                    <a:lnTo>
                      <a:pt x="3746" y="1469"/>
                    </a:lnTo>
                    <a:lnTo>
                      <a:pt x="3731" y="1487"/>
                    </a:lnTo>
                    <a:lnTo>
                      <a:pt x="3676" y="1505"/>
                    </a:lnTo>
                    <a:lnTo>
                      <a:pt x="3647" y="1529"/>
                    </a:lnTo>
                    <a:lnTo>
                      <a:pt x="3598" y="1596"/>
                    </a:lnTo>
                    <a:lnTo>
                      <a:pt x="3586" y="1607"/>
                    </a:lnTo>
                    <a:lnTo>
                      <a:pt x="3500" y="1655"/>
                    </a:lnTo>
                    <a:lnTo>
                      <a:pt x="3472" y="1658"/>
                    </a:lnTo>
                    <a:lnTo>
                      <a:pt x="3427" y="1653"/>
                    </a:lnTo>
                    <a:lnTo>
                      <a:pt x="3301" y="1658"/>
                    </a:lnTo>
                    <a:lnTo>
                      <a:pt x="3103" y="1755"/>
                    </a:lnTo>
                    <a:lnTo>
                      <a:pt x="3072" y="1773"/>
                    </a:lnTo>
                    <a:lnTo>
                      <a:pt x="3052" y="1775"/>
                    </a:lnTo>
                    <a:lnTo>
                      <a:pt x="3033" y="1762"/>
                    </a:lnTo>
                    <a:lnTo>
                      <a:pt x="3021" y="1743"/>
                    </a:lnTo>
                    <a:lnTo>
                      <a:pt x="2994" y="1739"/>
                    </a:lnTo>
                    <a:lnTo>
                      <a:pt x="2965" y="1743"/>
                    </a:lnTo>
                    <a:lnTo>
                      <a:pt x="2924" y="1736"/>
                    </a:lnTo>
                    <a:lnTo>
                      <a:pt x="2809" y="1685"/>
                    </a:lnTo>
                    <a:lnTo>
                      <a:pt x="2773" y="1649"/>
                    </a:lnTo>
                    <a:lnTo>
                      <a:pt x="2749" y="1639"/>
                    </a:lnTo>
                    <a:lnTo>
                      <a:pt x="2405" y="1632"/>
                    </a:lnTo>
                    <a:lnTo>
                      <a:pt x="2315" y="1610"/>
                    </a:lnTo>
                    <a:lnTo>
                      <a:pt x="2228" y="1610"/>
                    </a:lnTo>
                    <a:lnTo>
                      <a:pt x="2208" y="1595"/>
                    </a:lnTo>
                    <a:lnTo>
                      <a:pt x="2188" y="1566"/>
                    </a:lnTo>
                    <a:lnTo>
                      <a:pt x="2118" y="1427"/>
                    </a:lnTo>
                    <a:lnTo>
                      <a:pt x="2114" y="1394"/>
                    </a:lnTo>
                    <a:lnTo>
                      <a:pt x="2081" y="1386"/>
                    </a:lnTo>
                    <a:lnTo>
                      <a:pt x="2044" y="1367"/>
                    </a:lnTo>
                    <a:lnTo>
                      <a:pt x="1943" y="1297"/>
                    </a:lnTo>
                    <a:lnTo>
                      <a:pt x="1898" y="1282"/>
                    </a:lnTo>
                    <a:lnTo>
                      <a:pt x="1871" y="1277"/>
                    </a:lnTo>
                    <a:lnTo>
                      <a:pt x="1759" y="1274"/>
                    </a:lnTo>
                    <a:lnTo>
                      <a:pt x="1713" y="1261"/>
                    </a:lnTo>
                    <a:lnTo>
                      <a:pt x="1681" y="1242"/>
                    </a:lnTo>
                    <a:lnTo>
                      <a:pt x="1671" y="1226"/>
                    </a:lnTo>
                    <a:lnTo>
                      <a:pt x="1667" y="1198"/>
                    </a:lnTo>
                    <a:lnTo>
                      <a:pt x="1668" y="1191"/>
                    </a:lnTo>
                    <a:lnTo>
                      <a:pt x="1684" y="1168"/>
                    </a:lnTo>
                    <a:lnTo>
                      <a:pt x="1693" y="1141"/>
                    </a:lnTo>
                    <a:lnTo>
                      <a:pt x="1704" y="1091"/>
                    </a:lnTo>
                    <a:lnTo>
                      <a:pt x="1713" y="1063"/>
                    </a:lnTo>
                    <a:lnTo>
                      <a:pt x="1648" y="922"/>
                    </a:lnTo>
                    <a:lnTo>
                      <a:pt x="1623" y="881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417" name="Freeform 181"/>
              <p:cNvSpPr>
                <a:spLocks/>
              </p:cNvSpPr>
              <p:nvPr>
                <p:custDataLst>
                  <p:tags r:id="rId242"/>
                </p:custDataLst>
              </p:nvPr>
            </p:nvSpPr>
            <p:spPr bwMode="auto">
              <a:xfrm>
                <a:off x="4294" y="2424"/>
                <a:ext cx="33" cy="35"/>
              </a:xfrm>
              <a:custGeom>
                <a:avLst/>
                <a:gdLst>
                  <a:gd name="T0" fmla="*/ 203 w 229"/>
                  <a:gd name="T1" fmla="*/ 0 h 234"/>
                  <a:gd name="T2" fmla="*/ 167 w 229"/>
                  <a:gd name="T3" fmla="*/ 11 h 234"/>
                  <a:gd name="T4" fmla="*/ 147 w 229"/>
                  <a:gd name="T5" fmla="*/ 11 h 234"/>
                  <a:gd name="T6" fmla="*/ 134 w 229"/>
                  <a:gd name="T7" fmla="*/ 27 h 234"/>
                  <a:gd name="T8" fmla="*/ 107 w 229"/>
                  <a:gd name="T9" fmla="*/ 14 h 234"/>
                  <a:gd name="T10" fmla="*/ 97 w 229"/>
                  <a:gd name="T11" fmla="*/ 14 h 234"/>
                  <a:gd name="T12" fmla="*/ 86 w 229"/>
                  <a:gd name="T13" fmla="*/ 35 h 234"/>
                  <a:gd name="T14" fmla="*/ 85 w 229"/>
                  <a:gd name="T15" fmla="*/ 44 h 234"/>
                  <a:gd name="T16" fmla="*/ 64 w 229"/>
                  <a:gd name="T17" fmla="*/ 41 h 234"/>
                  <a:gd name="T18" fmla="*/ 32 w 229"/>
                  <a:gd name="T19" fmla="*/ 76 h 234"/>
                  <a:gd name="T20" fmla="*/ 12 w 229"/>
                  <a:gd name="T21" fmla="*/ 89 h 234"/>
                  <a:gd name="T22" fmla="*/ 3 w 229"/>
                  <a:gd name="T23" fmla="*/ 102 h 234"/>
                  <a:gd name="T24" fmla="*/ 0 w 229"/>
                  <a:gd name="T25" fmla="*/ 118 h 234"/>
                  <a:gd name="T26" fmla="*/ 9 w 229"/>
                  <a:gd name="T27" fmla="*/ 188 h 234"/>
                  <a:gd name="T28" fmla="*/ 85 w 229"/>
                  <a:gd name="T29" fmla="*/ 234 h 234"/>
                  <a:gd name="T30" fmla="*/ 109 w 229"/>
                  <a:gd name="T31" fmla="*/ 195 h 234"/>
                  <a:gd name="T32" fmla="*/ 167 w 229"/>
                  <a:gd name="T33" fmla="*/ 170 h 234"/>
                  <a:gd name="T34" fmla="*/ 177 w 229"/>
                  <a:gd name="T35" fmla="*/ 153 h 234"/>
                  <a:gd name="T36" fmla="*/ 171 w 229"/>
                  <a:gd name="T37" fmla="*/ 137 h 234"/>
                  <a:gd name="T38" fmla="*/ 183 w 229"/>
                  <a:gd name="T39" fmla="*/ 98 h 234"/>
                  <a:gd name="T40" fmla="*/ 203 w 229"/>
                  <a:gd name="T41" fmla="*/ 67 h 234"/>
                  <a:gd name="T42" fmla="*/ 229 w 229"/>
                  <a:gd name="T43" fmla="*/ 39 h 234"/>
                  <a:gd name="T44" fmla="*/ 203 w 229"/>
                  <a:gd name="T45" fmla="*/ 0 h 234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229"/>
                  <a:gd name="T70" fmla="*/ 0 h 234"/>
                  <a:gd name="T71" fmla="*/ 229 w 229"/>
                  <a:gd name="T72" fmla="*/ 234 h 234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229" h="234">
                    <a:moveTo>
                      <a:pt x="203" y="0"/>
                    </a:moveTo>
                    <a:lnTo>
                      <a:pt x="167" y="11"/>
                    </a:lnTo>
                    <a:lnTo>
                      <a:pt x="147" y="11"/>
                    </a:lnTo>
                    <a:lnTo>
                      <a:pt x="134" y="27"/>
                    </a:lnTo>
                    <a:lnTo>
                      <a:pt x="107" y="14"/>
                    </a:lnTo>
                    <a:lnTo>
                      <a:pt x="97" y="14"/>
                    </a:lnTo>
                    <a:lnTo>
                      <a:pt x="86" y="35"/>
                    </a:lnTo>
                    <a:lnTo>
                      <a:pt x="85" y="44"/>
                    </a:lnTo>
                    <a:lnTo>
                      <a:pt x="64" y="41"/>
                    </a:lnTo>
                    <a:lnTo>
                      <a:pt x="32" y="76"/>
                    </a:lnTo>
                    <a:lnTo>
                      <a:pt x="12" y="89"/>
                    </a:lnTo>
                    <a:lnTo>
                      <a:pt x="3" y="102"/>
                    </a:lnTo>
                    <a:lnTo>
                      <a:pt x="0" y="118"/>
                    </a:lnTo>
                    <a:lnTo>
                      <a:pt x="9" y="188"/>
                    </a:lnTo>
                    <a:lnTo>
                      <a:pt x="85" y="234"/>
                    </a:lnTo>
                    <a:lnTo>
                      <a:pt x="109" y="195"/>
                    </a:lnTo>
                    <a:lnTo>
                      <a:pt x="167" y="170"/>
                    </a:lnTo>
                    <a:lnTo>
                      <a:pt x="177" y="153"/>
                    </a:lnTo>
                    <a:lnTo>
                      <a:pt x="171" y="137"/>
                    </a:lnTo>
                    <a:lnTo>
                      <a:pt x="183" y="98"/>
                    </a:lnTo>
                    <a:lnTo>
                      <a:pt x="203" y="67"/>
                    </a:lnTo>
                    <a:lnTo>
                      <a:pt x="229" y="39"/>
                    </a:lnTo>
                    <a:lnTo>
                      <a:pt x="203" y="0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418" name="Freeform 182"/>
              <p:cNvSpPr>
                <a:spLocks/>
              </p:cNvSpPr>
              <p:nvPr>
                <p:custDataLst>
                  <p:tags r:id="rId243"/>
                </p:custDataLst>
              </p:nvPr>
            </p:nvSpPr>
            <p:spPr bwMode="auto">
              <a:xfrm>
                <a:off x="4458" y="2450"/>
                <a:ext cx="61" cy="102"/>
              </a:xfrm>
              <a:custGeom>
                <a:avLst/>
                <a:gdLst>
                  <a:gd name="T0" fmla="*/ 186 w 406"/>
                  <a:gd name="T1" fmla="*/ 32 h 679"/>
                  <a:gd name="T2" fmla="*/ 110 w 406"/>
                  <a:gd name="T3" fmla="*/ 0 h 679"/>
                  <a:gd name="T4" fmla="*/ 87 w 406"/>
                  <a:gd name="T5" fmla="*/ 14 h 679"/>
                  <a:gd name="T6" fmla="*/ 62 w 406"/>
                  <a:gd name="T7" fmla="*/ 178 h 679"/>
                  <a:gd name="T8" fmla="*/ 57 w 406"/>
                  <a:gd name="T9" fmla="*/ 233 h 679"/>
                  <a:gd name="T10" fmla="*/ 61 w 406"/>
                  <a:gd name="T11" fmla="*/ 279 h 679"/>
                  <a:gd name="T12" fmla="*/ 8 w 406"/>
                  <a:gd name="T13" fmla="*/ 263 h 679"/>
                  <a:gd name="T14" fmla="*/ 13 w 406"/>
                  <a:gd name="T15" fmla="*/ 309 h 679"/>
                  <a:gd name="T16" fmla="*/ 8 w 406"/>
                  <a:gd name="T17" fmla="*/ 371 h 679"/>
                  <a:gd name="T18" fmla="*/ 62 w 406"/>
                  <a:gd name="T19" fmla="*/ 477 h 679"/>
                  <a:gd name="T20" fmla="*/ 78 w 406"/>
                  <a:gd name="T21" fmla="*/ 450 h 679"/>
                  <a:gd name="T22" fmla="*/ 119 w 406"/>
                  <a:gd name="T23" fmla="*/ 480 h 679"/>
                  <a:gd name="T24" fmla="*/ 157 w 406"/>
                  <a:gd name="T25" fmla="*/ 505 h 679"/>
                  <a:gd name="T26" fmla="*/ 124 w 406"/>
                  <a:gd name="T27" fmla="*/ 510 h 679"/>
                  <a:gd name="T28" fmla="*/ 81 w 406"/>
                  <a:gd name="T29" fmla="*/ 533 h 679"/>
                  <a:gd name="T30" fmla="*/ 116 w 406"/>
                  <a:gd name="T31" fmla="*/ 574 h 679"/>
                  <a:gd name="T32" fmla="*/ 148 w 406"/>
                  <a:gd name="T33" fmla="*/ 584 h 679"/>
                  <a:gd name="T34" fmla="*/ 163 w 406"/>
                  <a:gd name="T35" fmla="*/ 567 h 679"/>
                  <a:gd name="T36" fmla="*/ 190 w 406"/>
                  <a:gd name="T37" fmla="*/ 558 h 679"/>
                  <a:gd name="T38" fmla="*/ 266 w 406"/>
                  <a:gd name="T39" fmla="*/ 629 h 679"/>
                  <a:gd name="T40" fmla="*/ 259 w 406"/>
                  <a:gd name="T41" fmla="*/ 572 h 679"/>
                  <a:gd name="T42" fmla="*/ 275 w 406"/>
                  <a:gd name="T43" fmla="*/ 559 h 679"/>
                  <a:gd name="T44" fmla="*/ 345 w 406"/>
                  <a:gd name="T45" fmla="*/ 636 h 679"/>
                  <a:gd name="T46" fmla="*/ 393 w 406"/>
                  <a:gd name="T47" fmla="*/ 679 h 679"/>
                  <a:gd name="T48" fmla="*/ 364 w 406"/>
                  <a:gd name="T49" fmla="*/ 602 h 679"/>
                  <a:gd name="T50" fmla="*/ 390 w 406"/>
                  <a:gd name="T51" fmla="*/ 582 h 679"/>
                  <a:gd name="T52" fmla="*/ 394 w 406"/>
                  <a:gd name="T53" fmla="*/ 567 h 679"/>
                  <a:gd name="T54" fmla="*/ 361 w 406"/>
                  <a:gd name="T55" fmla="*/ 551 h 679"/>
                  <a:gd name="T56" fmla="*/ 324 w 406"/>
                  <a:gd name="T57" fmla="*/ 577 h 679"/>
                  <a:gd name="T58" fmla="*/ 303 w 406"/>
                  <a:gd name="T59" fmla="*/ 524 h 679"/>
                  <a:gd name="T60" fmla="*/ 275 w 406"/>
                  <a:gd name="T61" fmla="*/ 508 h 679"/>
                  <a:gd name="T62" fmla="*/ 246 w 406"/>
                  <a:gd name="T63" fmla="*/ 538 h 679"/>
                  <a:gd name="T64" fmla="*/ 225 w 406"/>
                  <a:gd name="T65" fmla="*/ 551 h 679"/>
                  <a:gd name="T66" fmla="*/ 201 w 406"/>
                  <a:gd name="T67" fmla="*/ 533 h 679"/>
                  <a:gd name="T68" fmla="*/ 174 w 406"/>
                  <a:gd name="T69" fmla="*/ 441 h 679"/>
                  <a:gd name="T70" fmla="*/ 165 w 406"/>
                  <a:gd name="T71" fmla="*/ 367 h 679"/>
                  <a:gd name="T72" fmla="*/ 168 w 406"/>
                  <a:gd name="T73" fmla="*/ 321 h 679"/>
                  <a:gd name="T74" fmla="*/ 197 w 406"/>
                  <a:gd name="T75" fmla="*/ 300 h 679"/>
                  <a:gd name="T76" fmla="*/ 247 w 406"/>
                  <a:gd name="T77" fmla="*/ 242 h 679"/>
                  <a:gd name="T78" fmla="*/ 259 w 406"/>
                  <a:gd name="T79" fmla="*/ 156 h 679"/>
                  <a:gd name="T80" fmla="*/ 228 w 406"/>
                  <a:gd name="T81" fmla="*/ 92 h 679"/>
                  <a:gd name="T82" fmla="*/ 242 w 406"/>
                  <a:gd name="T83" fmla="*/ 43 h 679"/>
                  <a:gd name="T84" fmla="*/ 233 w 406"/>
                  <a:gd name="T85" fmla="*/ 13 h 679"/>
                  <a:gd name="T86" fmla="*/ 212 w 406"/>
                  <a:gd name="T87" fmla="*/ 34 h 679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406"/>
                  <a:gd name="T133" fmla="*/ 0 h 679"/>
                  <a:gd name="T134" fmla="*/ 406 w 406"/>
                  <a:gd name="T135" fmla="*/ 679 h 679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406" h="679">
                    <a:moveTo>
                      <a:pt x="212" y="34"/>
                    </a:moveTo>
                    <a:lnTo>
                      <a:pt x="186" y="32"/>
                    </a:lnTo>
                    <a:lnTo>
                      <a:pt x="132" y="4"/>
                    </a:lnTo>
                    <a:lnTo>
                      <a:pt x="110" y="0"/>
                    </a:lnTo>
                    <a:lnTo>
                      <a:pt x="94" y="7"/>
                    </a:lnTo>
                    <a:lnTo>
                      <a:pt x="87" y="14"/>
                    </a:lnTo>
                    <a:lnTo>
                      <a:pt x="69" y="62"/>
                    </a:lnTo>
                    <a:lnTo>
                      <a:pt x="62" y="178"/>
                    </a:lnTo>
                    <a:lnTo>
                      <a:pt x="55" y="201"/>
                    </a:lnTo>
                    <a:lnTo>
                      <a:pt x="57" y="233"/>
                    </a:lnTo>
                    <a:lnTo>
                      <a:pt x="62" y="258"/>
                    </a:lnTo>
                    <a:lnTo>
                      <a:pt x="61" y="279"/>
                    </a:lnTo>
                    <a:lnTo>
                      <a:pt x="51" y="302"/>
                    </a:lnTo>
                    <a:lnTo>
                      <a:pt x="8" y="263"/>
                    </a:lnTo>
                    <a:lnTo>
                      <a:pt x="0" y="284"/>
                    </a:lnTo>
                    <a:lnTo>
                      <a:pt x="13" y="309"/>
                    </a:lnTo>
                    <a:lnTo>
                      <a:pt x="12" y="348"/>
                    </a:lnTo>
                    <a:lnTo>
                      <a:pt x="8" y="371"/>
                    </a:lnTo>
                    <a:lnTo>
                      <a:pt x="29" y="438"/>
                    </a:lnTo>
                    <a:lnTo>
                      <a:pt x="62" y="477"/>
                    </a:lnTo>
                    <a:lnTo>
                      <a:pt x="67" y="482"/>
                    </a:lnTo>
                    <a:lnTo>
                      <a:pt x="78" y="450"/>
                    </a:lnTo>
                    <a:lnTo>
                      <a:pt x="100" y="459"/>
                    </a:lnTo>
                    <a:lnTo>
                      <a:pt x="119" y="480"/>
                    </a:lnTo>
                    <a:lnTo>
                      <a:pt x="151" y="496"/>
                    </a:lnTo>
                    <a:lnTo>
                      <a:pt x="157" y="505"/>
                    </a:lnTo>
                    <a:lnTo>
                      <a:pt x="140" y="515"/>
                    </a:lnTo>
                    <a:lnTo>
                      <a:pt x="124" y="510"/>
                    </a:lnTo>
                    <a:lnTo>
                      <a:pt x="110" y="499"/>
                    </a:lnTo>
                    <a:lnTo>
                      <a:pt x="81" y="533"/>
                    </a:lnTo>
                    <a:lnTo>
                      <a:pt x="90" y="554"/>
                    </a:lnTo>
                    <a:lnTo>
                      <a:pt x="116" y="574"/>
                    </a:lnTo>
                    <a:lnTo>
                      <a:pt x="130" y="586"/>
                    </a:lnTo>
                    <a:lnTo>
                      <a:pt x="148" y="584"/>
                    </a:lnTo>
                    <a:lnTo>
                      <a:pt x="153" y="579"/>
                    </a:lnTo>
                    <a:lnTo>
                      <a:pt x="163" y="567"/>
                    </a:lnTo>
                    <a:lnTo>
                      <a:pt x="177" y="558"/>
                    </a:lnTo>
                    <a:lnTo>
                      <a:pt x="190" y="558"/>
                    </a:lnTo>
                    <a:lnTo>
                      <a:pt x="234" y="588"/>
                    </a:lnTo>
                    <a:lnTo>
                      <a:pt x="266" y="629"/>
                    </a:lnTo>
                    <a:lnTo>
                      <a:pt x="275" y="613"/>
                    </a:lnTo>
                    <a:lnTo>
                      <a:pt x="259" y="572"/>
                    </a:lnTo>
                    <a:lnTo>
                      <a:pt x="263" y="559"/>
                    </a:lnTo>
                    <a:lnTo>
                      <a:pt x="275" y="559"/>
                    </a:lnTo>
                    <a:lnTo>
                      <a:pt x="335" y="620"/>
                    </a:lnTo>
                    <a:lnTo>
                      <a:pt x="345" y="636"/>
                    </a:lnTo>
                    <a:lnTo>
                      <a:pt x="349" y="663"/>
                    </a:lnTo>
                    <a:lnTo>
                      <a:pt x="393" y="679"/>
                    </a:lnTo>
                    <a:lnTo>
                      <a:pt x="406" y="668"/>
                    </a:lnTo>
                    <a:lnTo>
                      <a:pt x="364" y="602"/>
                    </a:lnTo>
                    <a:lnTo>
                      <a:pt x="373" y="591"/>
                    </a:lnTo>
                    <a:lnTo>
                      <a:pt x="390" y="582"/>
                    </a:lnTo>
                    <a:lnTo>
                      <a:pt x="398" y="574"/>
                    </a:lnTo>
                    <a:lnTo>
                      <a:pt x="394" y="567"/>
                    </a:lnTo>
                    <a:lnTo>
                      <a:pt x="388" y="565"/>
                    </a:lnTo>
                    <a:lnTo>
                      <a:pt x="361" y="551"/>
                    </a:lnTo>
                    <a:lnTo>
                      <a:pt x="339" y="582"/>
                    </a:lnTo>
                    <a:lnTo>
                      <a:pt x="324" y="577"/>
                    </a:lnTo>
                    <a:lnTo>
                      <a:pt x="311" y="559"/>
                    </a:lnTo>
                    <a:lnTo>
                      <a:pt x="303" y="524"/>
                    </a:lnTo>
                    <a:lnTo>
                      <a:pt x="292" y="514"/>
                    </a:lnTo>
                    <a:lnTo>
                      <a:pt x="275" y="508"/>
                    </a:lnTo>
                    <a:lnTo>
                      <a:pt x="266" y="508"/>
                    </a:lnTo>
                    <a:lnTo>
                      <a:pt x="246" y="538"/>
                    </a:lnTo>
                    <a:lnTo>
                      <a:pt x="238" y="556"/>
                    </a:lnTo>
                    <a:lnTo>
                      <a:pt x="225" y="551"/>
                    </a:lnTo>
                    <a:lnTo>
                      <a:pt x="205" y="535"/>
                    </a:lnTo>
                    <a:lnTo>
                      <a:pt x="201" y="533"/>
                    </a:lnTo>
                    <a:lnTo>
                      <a:pt x="189" y="499"/>
                    </a:lnTo>
                    <a:lnTo>
                      <a:pt x="174" y="441"/>
                    </a:lnTo>
                    <a:lnTo>
                      <a:pt x="153" y="390"/>
                    </a:lnTo>
                    <a:lnTo>
                      <a:pt x="165" y="367"/>
                    </a:lnTo>
                    <a:lnTo>
                      <a:pt x="168" y="337"/>
                    </a:lnTo>
                    <a:lnTo>
                      <a:pt x="168" y="321"/>
                    </a:lnTo>
                    <a:lnTo>
                      <a:pt x="173" y="316"/>
                    </a:lnTo>
                    <a:lnTo>
                      <a:pt x="197" y="300"/>
                    </a:lnTo>
                    <a:lnTo>
                      <a:pt x="234" y="267"/>
                    </a:lnTo>
                    <a:lnTo>
                      <a:pt x="247" y="242"/>
                    </a:lnTo>
                    <a:lnTo>
                      <a:pt x="266" y="173"/>
                    </a:lnTo>
                    <a:lnTo>
                      <a:pt x="259" y="156"/>
                    </a:lnTo>
                    <a:lnTo>
                      <a:pt x="234" y="134"/>
                    </a:lnTo>
                    <a:lnTo>
                      <a:pt x="228" y="92"/>
                    </a:lnTo>
                    <a:lnTo>
                      <a:pt x="230" y="66"/>
                    </a:lnTo>
                    <a:lnTo>
                      <a:pt x="242" y="43"/>
                    </a:lnTo>
                    <a:lnTo>
                      <a:pt x="241" y="20"/>
                    </a:lnTo>
                    <a:lnTo>
                      <a:pt x="233" y="13"/>
                    </a:lnTo>
                    <a:lnTo>
                      <a:pt x="221" y="21"/>
                    </a:lnTo>
                    <a:lnTo>
                      <a:pt x="212" y="34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419" name="Freeform 183"/>
              <p:cNvSpPr>
                <a:spLocks/>
              </p:cNvSpPr>
              <p:nvPr>
                <p:custDataLst>
                  <p:tags r:id="rId244"/>
                </p:custDataLst>
              </p:nvPr>
            </p:nvSpPr>
            <p:spPr bwMode="auto">
              <a:xfrm>
                <a:off x="4467" y="2542"/>
                <a:ext cx="14" cy="21"/>
              </a:xfrm>
              <a:custGeom>
                <a:avLst/>
                <a:gdLst>
                  <a:gd name="T0" fmla="*/ 0 w 96"/>
                  <a:gd name="T1" fmla="*/ 2 h 143"/>
                  <a:gd name="T2" fmla="*/ 21 w 96"/>
                  <a:gd name="T3" fmla="*/ 30 h 143"/>
                  <a:gd name="T4" fmla="*/ 37 w 96"/>
                  <a:gd name="T5" fmla="*/ 90 h 143"/>
                  <a:gd name="T6" fmla="*/ 38 w 96"/>
                  <a:gd name="T7" fmla="*/ 102 h 143"/>
                  <a:gd name="T8" fmla="*/ 53 w 96"/>
                  <a:gd name="T9" fmla="*/ 123 h 143"/>
                  <a:gd name="T10" fmla="*/ 74 w 96"/>
                  <a:gd name="T11" fmla="*/ 143 h 143"/>
                  <a:gd name="T12" fmla="*/ 82 w 96"/>
                  <a:gd name="T13" fmla="*/ 120 h 143"/>
                  <a:gd name="T14" fmla="*/ 91 w 96"/>
                  <a:gd name="T15" fmla="*/ 104 h 143"/>
                  <a:gd name="T16" fmla="*/ 96 w 96"/>
                  <a:gd name="T17" fmla="*/ 79 h 143"/>
                  <a:gd name="T18" fmla="*/ 95 w 96"/>
                  <a:gd name="T19" fmla="*/ 33 h 143"/>
                  <a:gd name="T20" fmla="*/ 83 w 96"/>
                  <a:gd name="T21" fmla="*/ 9 h 143"/>
                  <a:gd name="T22" fmla="*/ 67 w 96"/>
                  <a:gd name="T23" fmla="*/ 0 h 143"/>
                  <a:gd name="T24" fmla="*/ 0 w 96"/>
                  <a:gd name="T25" fmla="*/ 2 h 1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96"/>
                  <a:gd name="T40" fmla="*/ 0 h 143"/>
                  <a:gd name="T41" fmla="*/ 96 w 96"/>
                  <a:gd name="T42" fmla="*/ 143 h 143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96" h="143">
                    <a:moveTo>
                      <a:pt x="0" y="2"/>
                    </a:moveTo>
                    <a:lnTo>
                      <a:pt x="21" y="30"/>
                    </a:lnTo>
                    <a:lnTo>
                      <a:pt x="37" y="90"/>
                    </a:lnTo>
                    <a:lnTo>
                      <a:pt x="38" y="102"/>
                    </a:lnTo>
                    <a:lnTo>
                      <a:pt x="53" y="123"/>
                    </a:lnTo>
                    <a:lnTo>
                      <a:pt x="74" y="143"/>
                    </a:lnTo>
                    <a:lnTo>
                      <a:pt x="82" y="120"/>
                    </a:lnTo>
                    <a:lnTo>
                      <a:pt x="91" y="104"/>
                    </a:lnTo>
                    <a:lnTo>
                      <a:pt x="96" y="79"/>
                    </a:lnTo>
                    <a:lnTo>
                      <a:pt x="95" y="33"/>
                    </a:lnTo>
                    <a:lnTo>
                      <a:pt x="83" y="9"/>
                    </a:lnTo>
                    <a:lnTo>
                      <a:pt x="67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420" name="Freeform 184"/>
              <p:cNvSpPr>
                <a:spLocks/>
              </p:cNvSpPr>
              <p:nvPr>
                <p:custDataLst>
                  <p:tags r:id="rId245"/>
                </p:custDataLst>
              </p:nvPr>
            </p:nvSpPr>
            <p:spPr bwMode="auto">
              <a:xfrm>
                <a:off x="4443" y="2582"/>
                <a:ext cx="14" cy="21"/>
              </a:xfrm>
              <a:custGeom>
                <a:avLst/>
                <a:gdLst>
                  <a:gd name="T0" fmla="*/ 50 w 86"/>
                  <a:gd name="T1" fmla="*/ 11 h 141"/>
                  <a:gd name="T2" fmla="*/ 44 w 86"/>
                  <a:gd name="T3" fmla="*/ 37 h 141"/>
                  <a:gd name="T4" fmla="*/ 41 w 86"/>
                  <a:gd name="T5" fmla="*/ 71 h 141"/>
                  <a:gd name="T6" fmla="*/ 29 w 86"/>
                  <a:gd name="T7" fmla="*/ 97 h 141"/>
                  <a:gd name="T8" fmla="*/ 15 w 86"/>
                  <a:gd name="T9" fmla="*/ 118 h 141"/>
                  <a:gd name="T10" fmla="*/ 6 w 86"/>
                  <a:gd name="T11" fmla="*/ 124 h 141"/>
                  <a:gd name="T12" fmla="*/ 0 w 86"/>
                  <a:gd name="T13" fmla="*/ 140 h 141"/>
                  <a:gd name="T14" fmla="*/ 16 w 86"/>
                  <a:gd name="T15" fmla="*/ 141 h 141"/>
                  <a:gd name="T16" fmla="*/ 34 w 86"/>
                  <a:gd name="T17" fmla="*/ 129 h 141"/>
                  <a:gd name="T18" fmla="*/ 52 w 86"/>
                  <a:gd name="T19" fmla="*/ 110 h 141"/>
                  <a:gd name="T20" fmla="*/ 80 w 86"/>
                  <a:gd name="T21" fmla="*/ 90 h 141"/>
                  <a:gd name="T22" fmla="*/ 86 w 86"/>
                  <a:gd name="T23" fmla="*/ 85 h 141"/>
                  <a:gd name="T24" fmla="*/ 64 w 86"/>
                  <a:gd name="T25" fmla="*/ 25 h 141"/>
                  <a:gd name="T26" fmla="*/ 72 w 86"/>
                  <a:gd name="T27" fmla="*/ 11 h 141"/>
                  <a:gd name="T28" fmla="*/ 65 w 86"/>
                  <a:gd name="T29" fmla="*/ 0 h 141"/>
                  <a:gd name="T30" fmla="*/ 50 w 86"/>
                  <a:gd name="T31" fmla="*/ 11 h 14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86"/>
                  <a:gd name="T49" fmla="*/ 0 h 141"/>
                  <a:gd name="T50" fmla="*/ 86 w 86"/>
                  <a:gd name="T51" fmla="*/ 141 h 141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86" h="141">
                    <a:moveTo>
                      <a:pt x="50" y="11"/>
                    </a:moveTo>
                    <a:lnTo>
                      <a:pt x="44" y="37"/>
                    </a:lnTo>
                    <a:lnTo>
                      <a:pt x="41" y="71"/>
                    </a:lnTo>
                    <a:lnTo>
                      <a:pt x="29" y="97"/>
                    </a:lnTo>
                    <a:lnTo>
                      <a:pt x="15" y="118"/>
                    </a:lnTo>
                    <a:lnTo>
                      <a:pt x="6" y="124"/>
                    </a:lnTo>
                    <a:lnTo>
                      <a:pt x="0" y="140"/>
                    </a:lnTo>
                    <a:lnTo>
                      <a:pt x="16" y="141"/>
                    </a:lnTo>
                    <a:lnTo>
                      <a:pt x="34" y="129"/>
                    </a:lnTo>
                    <a:lnTo>
                      <a:pt x="52" y="110"/>
                    </a:lnTo>
                    <a:lnTo>
                      <a:pt x="80" y="90"/>
                    </a:lnTo>
                    <a:lnTo>
                      <a:pt x="86" y="85"/>
                    </a:lnTo>
                    <a:lnTo>
                      <a:pt x="64" y="25"/>
                    </a:lnTo>
                    <a:lnTo>
                      <a:pt x="72" y="11"/>
                    </a:lnTo>
                    <a:lnTo>
                      <a:pt x="65" y="0"/>
                    </a:lnTo>
                    <a:lnTo>
                      <a:pt x="50" y="11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421" name="Freeform 185"/>
              <p:cNvSpPr>
                <a:spLocks/>
              </p:cNvSpPr>
              <p:nvPr>
                <p:custDataLst>
                  <p:tags r:id="rId246"/>
                </p:custDataLst>
              </p:nvPr>
            </p:nvSpPr>
            <p:spPr bwMode="auto">
              <a:xfrm>
                <a:off x="4421" y="2604"/>
                <a:ext cx="20" cy="25"/>
              </a:xfrm>
              <a:custGeom>
                <a:avLst/>
                <a:gdLst>
                  <a:gd name="T0" fmla="*/ 40 w 139"/>
                  <a:gd name="T1" fmla="*/ 102 h 172"/>
                  <a:gd name="T2" fmla="*/ 23 w 139"/>
                  <a:gd name="T3" fmla="*/ 120 h 172"/>
                  <a:gd name="T4" fmla="*/ 8 w 139"/>
                  <a:gd name="T5" fmla="*/ 144 h 172"/>
                  <a:gd name="T6" fmla="*/ 0 w 139"/>
                  <a:gd name="T7" fmla="*/ 171 h 172"/>
                  <a:gd name="T8" fmla="*/ 13 w 139"/>
                  <a:gd name="T9" fmla="*/ 172 h 172"/>
                  <a:gd name="T10" fmla="*/ 29 w 139"/>
                  <a:gd name="T11" fmla="*/ 151 h 172"/>
                  <a:gd name="T12" fmla="*/ 56 w 139"/>
                  <a:gd name="T13" fmla="*/ 141 h 172"/>
                  <a:gd name="T14" fmla="*/ 70 w 139"/>
                  <a:gd name="T15" fmla="*/ 127 h 172"/>
                  <a:gd name="T16" fmla="*/ 81 w 139"/>
                  <a:gd name="T17" fmla="*/ 95 h 172"/>
                  <a:gd name="T18" fmla="*/ 89 w 139"/>
                  <a:gd name="T19" fmla="*/ 88 h 172"/>
                  <a:gd name="T20" fmla="*/ 111 w 139"/>
                  <a:gd name="T21" fmla="*/ 75 h 172"/>
                  <a:gd name="T22" fmla="*/ 123 w 139"/>
                  <a:gd name="T23" fmla="*/ 67 h 172"/>
                  <a:gd name="T24" fmla="*/ 134 w 139"/>
                  <a:gd name="T25" fmla="*/ 51 h 172"/>
                  <a:gd name="T26" fmla="*/ 139 w 139"/>
                  <a:gd name="T27" fmla="*/ 28 h 172"/>
                  <a:gd name="T28" fmla="*/ 134 w 139"/>
                  <a:gd name="T29" fmla="*/ 0 h 172"/>
                  <a:gd name="T30" fmla="*/ 93 w 139"/>
                  <a:gd name="T31" fmla="*/ 56 h 172"/>
                  <a:gd name="T32" fmla="*/ 40 w 139"/>
                  <a:gd name="T33" fmla="*/ 102 h 172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39"/>
                  <a:gd name="T52" fmla="*/ 0 h 172"/>
                  <a:gd name="T53" fmla="*/ 139 w 139"/>
                  <a:gd name="T54" fmla="*/ 172 h 172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39" h="172">
                    <a:moveTo>
                      <a:pt x="40" y="102"/>
                    </a:moveTo>
                    <a:lnTo>
                      <a:pt x="23" y="120"/>
                    </a:lnTo>
                    <a:lnTo>
                      <a:pt x="8" y="144"/>
                    </a:lnTo>
                    <a:lnTo>
                      <a:pt x="0" y="171"/>
                    </a:lnTo>
                    <a:lnTo>
                      <a:pt x="13" y="172"/>
                    </a:lnTo>
                    <a:lnTo>
                      <a:pt x="29" y="151"/>
                    </a:lnTo>
                    <a:lnTo>
                      <a:pt x="56" y="141"/>
                    </a:lnTo>
                    <a:lnTo>
                      <a:pt x="70" y="127"/>
                    </a:lnTo>
                    <a:lnTo>
                      <a:pt x="81" y="95"/>
                    </a:lnTo>
                    <a:lnTo>
                      <a:pt x="89" y="88"/>
                    </a:lnTo>
                    <a:lnTo>
                      <a:pt x="111" y="75"/>
                    </a:lnTo>
                    <a:lnTo>
                      <a:pt x="123" y="67"/>
                    </a:lnTo>
                    <a:lnTo>
                      <a:pt x="134" y="51"/>
                    </a:lnTo>
                    <a:lnTo>
                      <a:pt x="139" y="28"/>
                    </a:lnTo>
                    <a:lnTo>
                      <a:pt x="134" y="0"/>
                    </a:lnTo>
                    <a:lnTo>
                      <a:pt x="93" y="56"/>
                    </a:lnTo>
                    <a:lnTo>
                      <a:pt x="40" y="102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422" name="Freeform 186"/>
              <p:cNvSpPr>
                <a:spLocks/>
              </p:cNvSpPr>
              <p:nvPr>
                <p:custDataLst>
                  <p:tags r:id="rId247"/>
                </p:custDataLst>
              </p:nvPr>
            </p:nvSpPr>
            <p:spPr bwMode="auto">
              <a:xfrm>
                <a:off x="4490" y="2572"/>
                <a:ext cx="16" cy="22"/>
              </a:xfrm>
              <a:custGeom>
                <a:avLst/>
                <a:gdLst>
                  <a:gd name="T0" fmla="*/ 35 w 105"/>
                  <a:gd name="T1" fmla="*/ 21 h 151"/>
                  <a:gd name="T2" fmla="*/ 12 w 105"/>
                  <a:gd name="T3" fmla="*/ 0 h 151"/>
                  <a:gd name="T4" fmla="*/ 11 w 105"/>
                  <a:gd name="T5" fmla="*/ 61 h 151"/>
                  <a:gd name="T6" fmla="*/ 0 w 105"/>
                  <a:gd name="T7" fmla="*/ 151 h 151"/>
                  <a:gd name="T8" fmla="*/ 41 w 105"/>
                  <a:gd name="T9" fmla="*/ 130 h 151"/>
                  <a:gd name="T10" fmla="*/ 82 w 105"/>
                  <a:gd name="T11" fmla="*/ 97 h 151"/>
                  <a:gd name="T12" fmla="*/ 101 w 105"/>
                  <a:gd name="T13" fmla="*/ 72 h 151"/>
                  <a:gd name="T14" fmla="*/ 105 w 105"/>
                  <a:gd name="T15" fmla="*/ 51 h 151"/>
                  <a:gd name="T16" fmla="*/ 105 w 105"/>
                  <a:gd name="T17" fmla="*/ 26 h 151"/>
                  <a:gd name="T18" fmla="*/ 76 w 105"/>
                  <a:gd name="T19" fmla="*/ 37 h 151"/>
                  <a:gd name="T20" fmla="*/ 60 w 105"/>
                  <a:gd name="T21" fmla="*/ 35 h 151"/>
                  <a:gd name="T22" fmla="*/ 35 w 105"/>
                  <a:gd name="T23" fmla="*/ 21 h 15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05"/>
                  <a:gd name="T37" fmla="*/ 0 h 151"/>
                  <a:gd name="T38" fmla="*/ 105 w 105"/>
                  <a:gd name="T39" fmla="*/ 151 h 151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05" h="151">
                    <a:moveTo>
                      <a:pt x="35" y="21"/>
                    </a:moveTo>
                    <a:lnTo>
                      <a:pt x="12" y="0"/>
                    </a:lnTo>
                    <a:lnTo>
                      <a:pt x="11" y="61"/>
                    </a:lnTo>
                    <a:lnTo>
                      <a:pt x="0" y="151"/>
                    </a:lnTo>
                    <a:lnTo>
                      <a:pt x="41" y="130"/>
                    </a:lnTo>
                    <a:lnTo>
                      <a:pt x="82" y="97"/>
                    </a:lnTo>
                    <a:lnTo>
                      <a:pt x="101" y="72"/>
                    </a:lnTo>
                    <a:lnTo>
                      <a:pt x="105" y="51"/>
                    </a:lnTo>
                    <a:lnTo>
                      <a:pt x="105" y="26"/>
                    </a:lnTo>
                    <a:lnTo>
                      <a:pt x="76" y="37"/>
                    </a:lnTo>
                    <a:lnTo>
                      <a:pt x="60" y="35"/>
                    </a:lnTo>
                    <a:lnTo>
                      <a:pt x="35" y="21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423" name="Freeform 187"/>
              <p:cNvSpPr>
                <a:spLocks/>
              </p:cNvSpPr>
              <p:nvPr>
                <p:custDataLst>
                  <p:tags r:id="rId248"/>
                </p:custDataLst>
              </p:nvPr>
            </p:nvSpPr>
            <p:spPr bwMode="auto">
              <a:xfrm>
                <a:off x="4496" y="2587"/>
                <a:ext cx="15" cy="30"/>
              </a:xfrm>
              <a:custGeom>
                <a:avLst/>
                <a:gdLst>
                  <a:gd name="T0" fmla="*/ 4 w 99"/>
                  <a:gd name="T1" fmla="*/ 132 h 222"/>
                  <a:gd name="T2" fmla="*/ 0 w 99"/>
                  <a:gd name="T3" fmla="*/ 151 h 222"/>
                  <a:gd name="T4" fmla="*/ 8 w 99"/>
                  <a:gd name="T5" fmla="*/ 171 h 222"/>
                  <a:gd name="T6" fmla="*/ 45 w 99"/>
                  <a:gd name="T7" fmla="*/ 203 h 222"/>
                  <a:gd name="T8" fmla="*/ 62 w 99"/>
                  <a:gd name="T9" fmla="*/ 222 h 222"/>
                  <a:gd name="T10" fmla="*/ 70 w 99"/>
                  <a:gd name="T11" fmla="*/ 220 h 222"/>
                  <a:gd name="T12" fmla="*/ 81 w 99"/>
                  <a:gd name="T13" fmla="*/ 197 h 222"/>
                  <a:gd name="T14" fmla="*/ 63 w 99"/>
                  <a:gd name="T15" fmla="*/ 158 h 222"/>
                  <a:gd name="T16" fmla="*/ 81 w 99"/>
                  <a:gd name="T17" fmla="*/ 70 h 222"/>
                  <a:gd name="T18" fmla="*/ 99 w 99"/>
                  <a:gd name="T19" fmla="*/ 23 h 222"/>
                  <a:gd name="T20" fmla="*/ 95 w 99"/>
                  <a:gd name="T21" fmla="*/ 9 h 222"/>
                  <a:gd name="T22" fmla="*/ 91 w 99"/>
                  <a:gd name="T23" fmla="*/ 1 h 222"/>
                  <a:gd name="T24" fmla="*/ 79 w 99"/>
                  <a:gd name="T25" fmla="*/ 0 h 222"/>
                  <a:gd name="T26" fmla="*/ 61 w 99"/>
                  <a:gd name="T27" fmla="*/ 10 h 222"/>
                  <a:gd name="T28" fmla="*/ 38 w 99"/>
                  <a:gd name="T29" fmla="*/ 106 h 222"/>
                  <a:gd name="T30" fmla="*/ 29 w 99"/>
                  <a:gd name="T31" fmla="*/ 120 h 222"/>
                  <a:gd name="T32" fmla="*/ 4 w 99"/>
                  <a:gd name="T33" fmla="*/ 132 h 222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99"/>
                  <a:gd name="T52" fmla="*/ 0 h 222"/>
                  <a:gd name="T53" fmla="*/ 99 w 99"/>
                  <a:gd name="T54" fmla="*/ 222 h 222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99" h="222">
                    <a:moveTo>
                      <a:pt x="4" y="132"/>
                    </a:moveTo>
                    <a:lnTo>
                      <a:pt x="0" y="151"/>
                    </a:lnTo>
                    <a:lnTo>
                      <a:pt x="8" y="171"/>
                    </a:lnTo>
                    <a:lnTo>
                      <a:pt x="45" y="203"/>
                    </a:lnTo>
                    <a:lnTo>
                      <a:pt x="62" y="222"/>
                    </a:lnTo>
                    <a:lnTo>
                      <a:pt x="70" y="220"/>
                    </a:lnTo>
                    <a:lnTo>
                      <a:pt x="81" y="197"/>
                    </a:lnTo>
                    <a:lnTo>
                      <a:pt x="63" y="158"/>
                    </a:lnTo>
                    <a:lnTo>
                      <a:pt x="81" y="70"/>
                    </a:lnTo>
                    <a:lnTo>
                      <a:pt x="99" y="23"/>
                    </a:lnTo>
                    <a:lnTo>
                      <a:pt x="95" y="9"/>
                    </a:lnTo>
                    <a:lnTo>
                      <a:pt x="91" y="1"/>
                    </a:lnTo>
                    <a:lnTo>
                      <a:pt x="79" y="0"/>
                    </a:lnTo>
                    <a:lnTo>
                      <a:pt x="61" y="10"/>
                    </a:lnTo>
                    <a:lnTo>
                      <a:pt x="38" y="106"/>
                    </a:lnTo>
                    <a:lnTo>
                      <a:pt x="29" y="120"/>
                    </a:lnTo>
                    <a:lnTo>
                      <a:pt x="4" y="132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424" name="Freeform 188"/>
              <p:cNvSpPr>
                <a:spLocks/>
              </p:cNvSpPr>
              <p:nvPr>
                <p:custDataLst>
                  <p:tags r:id="rId249"/>
                </p:custDataLst>
              </p:nvPr>
            </p:nvSpPr>
            <p:spPr bwMode="auto">
              <a:xfrm>
                <a:off x="4489" y="2607"/>
                <a:ext cx="67" cy="73"/>
              </a:xfrm>
              <a:custGeom>
                <a:avLst/>
                <a:gdLst>
                  <a:gd name="T0" fmla="*/ 7 w 446"/>
                  <a:gd name="T1" fmla="*/ 337 h 505"/>
                  <a:gd name="T2" fmla="*/ 62 w 446"/>
                  <a:gd name="T3" fmla="*/ 245 h 505"/>
                  <a:gd name="T4" fmla="*/ 88 w 446"/>
                  <a:gd name="T5" fmla="*/ 246 h 505"/>
                  <a:gd name="T6" fmla="*/ 117 w 446"/>
                  <a:gd name="T7" fmla="*/ 272 h 505"/>
                  <a:gd name="T8" fmla="*/ 146 w 446"/>
                  <a:gd name="T9" fmla="*/ 245 h 505"/>
                  <a:gd name="T10" fmla="*/ 162 w 446"/>
                  <a:gd name="T11" fmla="*/ 234 h 505"/>
                  <a:gd name="T12" fmla="*/ 216 w 446"/>
                  <a:gd name="T13" fmla="*/ 272 h 505"/>
                  <a:gd name="T14" fmla="*/ 200 w 446"/>
                  <a:gd name="T15" fmla="*/ 344 h 505"/>
                  <a:gd name="T16" fmla="*/ 211 w 446"/>
                  <a:gd name="T17" fmla="*/ 404 h 505"/>
                  <a:gd name="T18" fmla="*/ 285 w 446"/>
                  <a:gd name="T19" fmla="*/ 466 h 505"/>
                  <a:gd name="T20" fmla="*/ 309 w 446"/>
                  <a:gd name="T21" fmla="*/ 434 h 505"/>
                  <a:gd name="T22" fmla="*/ 327 w 446"/>
                  <a:gd name="T23" fmla="*/ 456 h 505"/>
                  <a:gd name="T24" fmla="*/ 326 w 446"/>
                  <a:gd name="T25" fmla="*/ 491 h 505"/>
                  <a:gd name="T26" fmla="*/ 358 w 446"/>
                  <a:gd name="T27" fmla="*/ 477 h 505"/>
                  <a:gd name="T28" fmla="*/ 358 w 446"/>
                  <a:gd name="T29" fmla="*/ 415 h 505"/>
                  <a:gd name="T30" fmla="*/ 356 w 446"/>
                  <a:gd name="T31" fmla="*/ 332 h 505"/>
                  <a:gd name="T32" fmla="*/ 385 w 446"/>
                  <a:gd name="T33" fmla="*/ 306 h 505"/>
                  <a:gd name="T34" fmla="*/ 404 w 446"/>
                  <a:gd name="T35" fmla="*/ 367 h 505"/>
                  <a:gd name="T36" fmla="*/ 441 w 446"/>
                  <a:gd name="T37" fmla="*/ 309 h 505"/>
                  <a:gd name="T38" fmla="*/ 446 w 446"/>
                  <a:gd name="T39" fmla="*/ 264 h 505"/>
                  <a:gd name="T40" fmla="*/ 434 w 446"/>
                  <a:gd name="T41" fmla="*/ 204 h 505"/>
                  <a:gd name="T42" fmla="*/ 436 w 446"/>
                  <a:gd name="T43" fmla="*/ 158 h 505"/>
                  <a:gd name="T44" fmla="*/ 401 w 446"/>
                  <a:gd name="T45" fmla="*/ 153 h 505"/>
                  <a:gd name="T46" fmla="*/ 413 w 446"/>
                  <a:gd name="T47" fmla="*/ 97 h 505"/>
                  <a:gd name="T48" fmla="*/ 354 w 446"/>
                  <a:gd name="T49" fmla="*/ 0 h 505"/>
                  <a:gd name="T50" fmla="*/ 354 w 446"/>
                  <a:gd name="T51" fmla="*/ 47 h 505"/>
                  <a:gd name="T52" fmla="*/ 351 w 446"/>
                  <a:gd name="T53" fmla="*/ 97 h 505"/>
                  <a:gd name="T54" fmla="*/ 325 w 446"/>
                  <a:gd name="T55" fmla="*/ 100 h 505"/>
                  <a:gd name="T56" fmla="*/ 299 w 446"/>
                  <a:gd name="T57" fmla="*/ 100 h 505"/>
                  <a:gd name="T58" fmla="*/ 278 w 446"/>
                  <a:gd name="T59" fmla="*/ 158 h 505"/>
                  <a:gd name="T60" fmla="*/ 234 w 446"/>
                  <a:gd name="T61" fmla="*/ 156 h 505"/>
                  <a:gd name="T62" fmla="*/ 216 w 446"/>
                  <a:gd name="T63" fmla="*/ 197 h 505"/>
                  <a:gd name="T64" fmla="*/ 180 w 446"/>
                  <a:gd name="T65" fmla="*/ 208 h 505"/>
                  <a:gd name="T66" fmla="*/ 163 w 446"/>
                  <a:gd name="T67" fmla="*/ 151 h 505"/>
                  <a:gd name="T68" fmla="*/ 105 w 446"/>
                  <a:gd name="T69" fmla="*/ 169 h 505"/>
                  <a:gd name="T70" fmla="*/ 89 w 446"/>
                  <a:gd name="T71" fmla="*/ 202 h 505"/>
                  <a:gd name="T72" fmla="*/ 55 w 446"/>
                  <a:gd name="T73" fmla="*/ 211 h 505"/>
                  <a:gd name="T74" fmla="*/ 27 w 446"/>
                  <a:gd name="T75" fmla="*/ 236 h 505"/>
                  <a:gd name="T76" fmla="*/ 0 w 446"/>
                  <a:gd name="T77" fmla="*/ 322 h 505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446"/>
                  <a:gd name="T118" fmla="*/ 0 h 505"/>
                  <a:gd name="T119" fmla="*/ 446 w 446"/>
                  <a:gd name="T120" fmla="*/ 505 h 505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446" h="505">
                    <a:moveTo>
                      <a:pt x="2" y="330"/>
                    </a:moveTo>
                    <a:lnTo>
                      <a:pt x="7" y="337"/>
                    </a:lnTo>
                    <a:lnTo>
                      <a:pt x="16" y="343"/>
                    </a:lnTo>
                    <a:lnTo>
                      <a:pt x="62" y="245"/>
                    </a:lnTo>
                    <a:lnTo>
                      <a:pt x="80" y="234"/>
                    </a:lnTo>
                    <a:lnTo>
                      <a:pt x="88" y="246"/>
                    </a:lnTo>
                    <a:lnTo>
                      <a:pt x="89" y="274"/>
                    </a:lnTo>
                    <a:lnTo>
                      <a:pt x="117" y="272"/>
                    </a:lnTo>
                    <a:lnTo>
                      <a:pt x="139" y="257"/>
                    </a:lnTo>
                    <a:lnTo>
                      <a:pt x="146" y="245"/>
                    </a:lnTo>
                    <a:lnTo>
                      <a:pt x="148" y="236"/>
                    </a:lnTo>
                    <a:lnTo>
                      <a:pt x="162" y="234"/>
                    </a:lnTo>
                    <a:lnTo>
                      <a:pt x="196" y="250"/>
                    </a:lnTo>
                    <a:lnTo>
                      <a:pt x="216" y="272"/>
                    </a:lnTo>
                    <a:lnTo>
                      <a:pt x="221" y="297"/>
                    </a:lnTo>
                    <a:lnTo>
                      <a:pt x="200" y="344"/>
                    </a:lnTo>
                    <a:lnTo>
                      <a:pt x="201" y="378"/>
                    </a:lnTo>
                    <a:lnTo>
                      <a:pt x="211" y="404"/>
                    </a:lnTo>
                    <a:lnTo>
                      <a:pt x="236" y="434"/>
                    </a:lnTo>
                    <a:lnTo>
                      <a:pt x="285" y="466"/>
                    </a:lnTo>
                    <a:lnTo>
                      <a:pt x="292" y="470"/>
                    </a:lnTo>
                    <a:lnTo>
                      <a:pt x="309" y="434"/>
                    </a:lnTo>
                    <a:lnTo>
                      <a:pt x="325" y="438"/>
                    </a:lnTo>
                    <a:lnTo>
                      <a:pt x="327" y="456"/>
                    </a:lnTo>
                    <a:lnTo>
                      <a:pt x="319" y="477"/>
                    </a:lnTo>
                    <a:lnTo>
                      <a:pt x="326" y="491"/>
                    </a:lnTo>
                    <a:lnTo>
                      <a:pt x="339" y="505"/>
                    </a:lnTo>
                    <a:lnTo>
                      <a:pt x="358" y="477"/>
                    </a:lnTo>
                    <a:lnTo>
                      <a:pt x="363" y="452"/>
                    </a:lnTo>
                    <a:lnTo>
                      <a:pt x="358" y="415"/>
                    </a:lnTo>
                    <a:lnTo>
                      <a:pt x="339" y="374"/>
                    </a:lnTo>
                    <a:lnTo>
                      <a:pt x="356" y="332"/>
                    </a:lnTo>
                    <a:lnTo>
                      <a:pt x="372" y="300"/>
                    </a:lnTo>
                    <a:lnTo>
                      <a:pt x="385" y="306"/>
                    </a:lnTo>
                    <a:lnTo>
                      <a:pt x="400" y="344"/>
                    </a:lnTo>
                    <a:lnTo>
                      <a:pt x="404" y="367"/>
                    </a:lnTo>
                    <a:lnTo>
                      <a:pt x="413" y="373"/>
                    </a:lnTo>
                    <a:lnTo>
                      <a:pt x="441" y="309"/>
                    </a:lnTo>
                    <a:lnTo>
                      <a:pt x="446" y="288"/>
                    </a:lnTo>
                    <a:lnTo>
                      <a:pt x="446" y="264"/>
                    </a:lnTo>
                    <a:lnTo>
                      <a:pt x="437" y="241"/>
                    </a:lnTo>
                    <a:lnTo>
                      <a:pt x="434" y="204"/>
                    </a:lnTo>
                    <a:lnTo>
                      <a:pt x="440" y="181"/>
                    </a:lnTo>
                    <a:lnTo>
                      <a:pt x="436" y="158"/>
                    </a:lnTo>
                    <a:lnTo>
                      <a:pt x="412" y="164"/>
                    </a:lnTo>
                    <a:lnTo>
                      <a:pt x="401" y="153"/>
                    </a:lnTo>
                    <a:lnTo>
                      <a:pt x="416" y="114"/>
                    </a:lnTo>
                    <a:lnTo>
                      <a:pt x="413" y="97"/>
                    </a:lnTo>
                    <a:lnTo>
                      <a:pt x="403" y="72"/>
                    </a:lnTo>
                    <a:lnTo>
                      <a:pt x="354" y="0"/>
                    </a:lnTo>
                    <a:lnTo>
                      <a:pt x="347" y="19"/>
                    </a:lnTo>
                    <a:lnTo>
                      <a:pt x="354" y="47"/>
                    </a:lnTo>
                    <a:lnTo>
                      <a:pt x="358" y="86"/>
                    </a:lnTo>
                    <a:lnTo>
                      <a:pt x="351" y="97"/>
                    </a:lnTo>
                    <a:lnTo>
                      <a:pt x="334" y="93"/>
                    </a:lnTo>
                    <a:lnTo>
                      <a:pt x="325" y="100"/>
                    </a:lnTo>
                    <a:lnTo>
                      <a:pt x="311" y="125"/>
                    </a:lnTo>
                    <a:lnTo>
                      <a:pt x="299" y="100"/>
                    </a:lnTo>
                    <a:lnTo>
                      <a:pt x="286" y="102"/>
                    </a:lnTo>
                    <a:lnTo>
                      <a:pt x="278" y="158"/>
                    </a:lnTo>
                    <a:lnTo>
                      <a:pt x="250" y="142"/>
                    </a:lnTo>
                    <a:lnTo>
                      <a:pt x="234" y="156"/>
                    </a:lnTo>
                    <a:lnTo>
                      <a:pt x="225" y="186"/>
                    </a:lnTo>
                    <a:lnTo>
                      <a:pt x="216" y="197"/>
                    </a:lnTo>
                    <a:lnTo>
                      <a:pt x="194" y="199"/>
                    </a:lnTo>
                    <a:lnTo>
                      <a:pt x="180" y="208"/>
                    </a:lnTo>
                    <a:lnTo>
                      <a:pt x="176" y="169"/>
                    </a:lnTo>
                    <a:lnTo>
                      <a:pt x="163" y="151"/>
                    </a:lnTo>
                    <a:lnTo>
                      <a:pt x="129" y="156"/>
                    </a:lnTo>
                    <a:lnTo>
                      <a:pt x="105" y="169"/>
                    </a:lnTo>
                    <a:lnTo>
                      <a:pt x="94" y="178"/>
                    </a:lnTo>
                    <a:lnTo>
                      <a:pt x="89" y="202"/>
                    </a:lnTo>
                    <a:lnTo>
                      <a:pt x="80" y="208"/>
                    </a:lnTo>
                    <a:lnTo>
                      <a:pt x="55" y="211"/>
                    </a:lnTo>
                    <a:lnTo>
                      <a:pt x="39" y="220"/>
                    </a:lnTo>
                    <a:lnTo>
                      <a:pt x="27" y="236"/>
                    </a:lnTo>
                    <a:lnTo>
                      <a:pt x="3" y="304"/>
                    </a:lnTo>
                    <a:lnTo>
                      <a:pt x="0" y="322"/>
                    </a:lnTo>
                    <a:lnTo>
                      <a:pt x="2" y="330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425" name="Freeform 189"/>
              <p:cNvSpPr>
                <a:spLocks/>
              </p:cNvSpPr>
              <p:nvPr>
                <p:custDataLst>
                  <p:tags r:id="rId250"/>
                </p:custDataLst>
              </p:nvPr>
            </p:nvSpPr>
            <p:spPr bwMode="auto">
              <a:xfrm>
                <a:off x="4525" y="2559"/>
                <a:ext cx="18" cy="24"/>
              </a:xfrm>
              <a:custGeom>
                <a:avLst/>
                <a:gdLst>
                  <a:gd name="T0" fmla="*/ 95 w 116"/>
                  <a:gd name="T1" fmla="*/ 28 h 166"/>
                  <a:gd name="T2" fmla="*/ 83 w 116"/>
                  <a:gd name="T3" fmla="*/ 7 h 166"/>
                  <a:gd name="T4" fmla="*/ 67 w 116"/>
                  <a:gd name="T5" fmla="*/ 0 h 166"/>
                  <a:gd name="T6" fmla="*/ 0 w 116"/>
                  <a:gd name="T7" fmla="*/ 14 h 166"/>
                  <a:gd name="T8" fmla="*/ 6 w 116"/>
                  <a:gd name="T9" fmla="*/ 39 h 166"/>
                  <a:gd name="T10" fmla="*/ 59 w 116"/>
                  <a:gd name="T11" fmla="*/ 83 h 166"/>
                  <a:gd name="T12" fmla="*/ 63 w 116"/>
                  <a:gd name="T13" fmla="*/ 104 h 166"/>
                  <a:gd name="T14" fmla="*/ 58 w 116"/>
                  <a:gd name="T15" fmla="*/ 123 h 166"/>
                  <a:gd name="T16" fmla="*/ 59 w 116"/>
                  <a:gd name="T17" fmla="*/ 130 h 166"/>
                  <a:gd name="T18" fmla="*/ 71 w 116"/>
                  <a:gd name="T19" fmla="*/ 139 h 166"/>
                  <a:gd name="T20" fmla="*/ 79 w 116"/>
                  <a:gd name="T21" fmla="*/ 152 h 166"/>
                  <a:gd name="T22" fmla="*/ 104 w 116"/>
                  <a:gd name="T23" fmla="*/ 166 h 166"/>
                  <a:gd name="T24" fmla="*/ 111 w 116"/>
                  <a:gd name="T25" fmla="*/ 164 h 166"/>
                  <a:gd name="T26" fmla="*/ 116 w 116"/>
                  <a:gd name="T27" fmla="*/ 157 h 166"/>
                  <a:gd name="T28" fmla="*/ 104 w 116"/>
                  <a:gd name="T29" fmla="*/ 115 h 166"/>
                  <a:gd name="T30" fmla="*/ 95 w 116"/>
                  <a:gd name="T31" fmla="*/ 28 h 16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16"/>
                  <a:gd name="T49" fmla="*/ 0 h 166"/>
                  <a:gd name="T50" fmla="*/ 116 w 116"/>
                  <a:gd name="T51" fmla="*/ 166 h 16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16" h="166">
                    <a:moveTo>
                      <a:pt x="95" y="28"/>
                    </a:moveTo>
                    <a:lnTo>
                      <a:pt x="83" y="7"/>
                    </a:lnTo>
                    <a:lnTo>
                      <a:pt x="67" y="0"/>
                    </a:lnTo>
                    <a:lnTo>
                      <a:pt x="0" y="14"/>
                    </a:lnTo>
                    <a:lnTo>
                      <a:pt x="6" y="39"/>
                    </a:lnTo>
                    <a:lnTo>
                      <a:pt x="59" y="83"/>
                    </a:lnTo>
                    <a:lnTo>
                      <a:pt x="63" y="104"/>
                    </a:lnTo>
                    <a:lnTo>
                      <a:pt x="58" y="123"/>
                    </a:lnTo>
                    <a:lnTo>
                      <a:pt x="59" y="130"/>
                    </a:lnTo>
                    <a:lnTo>
                      <a:pt x="71" y="139"/>
                    </a:lnTo>
                    <a:lnTo>
                      <a:pt x="79" y="152"/>
                    </a:lnTo>
                    <a:lnTo>
                      <a:pt x="104" y="166"/>
                    </a:lnTo>
                    <a:lnTo>
                      <a:pt x="111" y="164"/>
                    </a:lnTo>
                    <a:lnTo>
                      <a:pt x="116" y="157"/>
                    </a:lnTo>
                    <a:lnTo>
                      <a:pt x="104" y="115"/>
                    </a:lnTo>
                    <a:lnTo>
                      <a:pt x="95" y="28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426" name="Freeform 190"/>
              <p:cNvSpPr>
                <a:spLocks/>
              </p:cNvSpPr>
              <p:nvPr>
                <p:custDataLst>
                  <p:tags r:id="rId251"/>
                </p:custDataLst>
              </p:nvPr>
            </p:nvSpPr>
            <p:spPr bwMode="auto">
              <a:xfrm>
                <a:off x="4202" y="2523"/>
                <a:ext cx="76" cy="73"/>
              </a:xfrm>
              <a:custGeom>
                <a:avLst/>
                <a:gdLst>
                  <a:gd name="T0" fmla="*/ 496 w 508"/>
                  <a:gd name="T1" fmla="*/ 0 h 505"/>
                  <a:gd name="T2" fmla="*/ 431 w 508"/>
                  <a:gd name="T3" fmla="*/ 31 h 505"/>
                  <a:gd name="T4" fmla="*/ 394 w 508"/>
                  <a:gd name="T5" fmla="*/ 3 h 505"/>
                  <a:gd name="T6" fmla="*/ 356 w 508"/>
                  <a:gd name="T7" fmla="*/ 30 h 505"/>
                  <a:gd name="T8" fmla="*/ 369 w 508"/>
                  <a:gd name="T9" fmla="*/ 54 h 505"/>
                  <a:gd name="T10" fmla="*/ 369 w 508"/>
                  <a:gd name="T11" fmla="*/ 79 h 505"/>
                  <a:gd name="T12" fmla="*/ 338 w 508"/>
                  <a:gd name="T13" fmla="*/ 68 h 505"/>
                  <a:gd name="T14" fmla="*/ 254 w 508"/>
                  <a:gd name="T15" fmla="*/ 31 h 505"/>
                  <a:gd name="T16" fmla="*/ 177 w 508"/>
                  <a:gd name="T17" fmla="*/ 28 h 505"/>
                  <a:gd name="T18" fmla="*/ 90 w 508"/>
                  <a:gd name="T19" fmla="*/ 28 h 505"/>
                  <a:gd name="T20" fmla="*/ 50 w 508"/>
                  <a:gd name="T21" fmla="*/ 58 h 505"/>
                  <a:gd name="T22" fmla="*/ 3 w 508"/>
                  <a:gd name="T23" fmla="*/ 140 h 505"/>
                  <a:gd name="T24" fmla="*/ 1 w 508"/>
                  <a:gd name="T25" fmla="*/ 195 h 505"/>
                  <a:gd name="T26" fmla="*/ 33 w 508"/>
                  <a:gd name="T27" fmla="*/ 267 h 505"/>
                  <a:gd name="T28" fmla="*/ 33 w 508"/>
                  <a:gd name="T29" fmla="*/ 302 h 505"/>
                  <a:gd name="T30" fmla="*/ 70 w 508"/>
                  <a:gd name="T31" fmla="*/ 436 h 505"/>
                  <a:gd name="T32" fmla="*/ 106 w 508"/>
                  <a:gd name="T33" fmla="*/ 420 h 505"/>
                  <a:gd name="T34" fmla="*/ 130 w 508"/>
                  <a:gd name="T35" fmla="*/ 440 h 505"/>
                  <a:gd name="T36" fmla="*/ 123 w 508"/>
                  <a:gd name="T37" fmla="*/ 464 h 505"/>
                  <a:gd name="T38" fmla="*/ 124 w 508"/>
                  <a:gd name="T39" fmla="*/ 487 h 505"/>
                  <a:gd name="T40" fmla="*/ 147 w 508"/>
                  <a:gd name="T41" fmla="*/ 487 h 505"/>
                  <a:gd name="T42" fmla="*/ 180 w 508"/>
                  <a:gd name="T43" fmla="*/ 482 h 505"/>
                  <a:gd name="T44" fmla="*/ 201 w 508"/>
                  <a:gd name="T45" fmla="*/ 505 h 505"/>
                  <a:gd name="T46" fmla="*/ 243 w 508"/>
                  <a:gd name="T47" fmla="*/ 479 h 505"/>
                  <a:gd name="T48" fmla="*/ 310 w 508"/>
                  <a:gd name="T49" fmla="*/ 438 h 505"/>
                  <a:gd name="T50" fmla="*/ 361 w 508"/>
                  <a:gd name="T51" fmla="*/ 449 h 505"/>
                  <a:gd name="T52" fmla="*/ 368 w 508"/>
                  <a:gd name="T53" fmla="*/ 424 h 505"/>
                  <a:gd name="T54" fmla="*/ 334 w 508"/>
                  <a:gd name="T55" fmla="*/ 378 h 505"/>
                  <a:gd name="T56" fmla="*/ 453 w 508"/>
                  <a:gd name="T57" fmla="*/ 290 h 505"/>
                  <a:gd name="T58" fmla="*/ 495 w 508"/>
                  <a:gd name="T59" fmla="*/ 265 h 505"/>
                  <a:gd name="T60" fmla="*/ 503 w 508"/>
                  <a:gd name="T61" fmla="*/ 180 h 505"/>
                  <a:gd name="T62" fmla="*/ 508 w 508"/>
                  <a:gd name="T63" fmla="*/ 138 h 505"/>
                  <a:gd name="T64" fmla="*/ 486 w 508"/>
                  <a:gd name="T65" fmla="*/ 47 h 505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508"/>
                  <a:gd name="T100" fmla="*/ 0 h 505"/>
                  <a:gd name="T101" fmla="*/ 508 w 508"/>
                  <a:gd name="T102" fmla="*/ 505 h 505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508" h="505">
                    <a:moveTo>
                      <a:pt x="486" y="47"/>
                    </a:moveTo>
                    <a:lnTo>
                      <a:pt x="496" y="0"/>
                    </a:lnTo>
                    <a:lnTo>
                      <a:pt x="443" y="28"/>
                    </a:lnTo>
                    <a:lnTo>
                      <a:pt x="431" y="31"/>
                    </a:lnTo>
                    <a:lnTo>
                      <a:pt x="414" y="14"/>
                    </a:lnTo>
                    <a:lnTo>
                      <a:pt x="394" y="3"/>
                    </a:lnTo>
                    <a:lnTo>
                      <a:pt x="373" y="14"/>
                    </a:lnTo>
                    <a:lnTo>
                      <a:pt x="356" y="30"/>
                    </a:lnTo>
                    <a:lnTo>
                      <a:pt x="361" y="45"/>
                    </a:lnTo>
                    <a:lnTo>
                      <a:pt x="369" y="54"/>
                    </a:lnTo>
                    <a:lnTo>
                      <a:pt x="373" y="67"/>
                    </a:lnTo>
                    <a:lnTo>
                      <a:pt x="369" y="79"/>
                    </a:lnTo>
                    <a:lnTo>
                      <a:pt x="359" y="82"/>
                    </a:lnTo>
                    <a:lnTo>
                      <a:pt x="338" y="68"/>
                    </a:lnTo>
                    <a:lnTo>
                      <a:pt x="291" y="54"/>
                    </a:lnTo>
                    <a:lnTo>
                      <a:pt x="254" y="31"/>
                    </a:lnTo>
                    <a:lnTo>
                      <a:pt x="201" y="22"/>
                    </a:lnTo>
                    <a:lnTo>
                      <a:pt x="177" y="28"/>
                    </a:lnTo>
                    <a:lnTo>
                      <a:pt x="143" y="24"/>
                    </a:lnTo>
                    <a:lnTo>
                      <a:pt x="90" y="28"/>
                    </a:lnTo>
                    <a:lnTo>
                      <a:pt x="74" y="33"/>
                    </a:lnTo>
                    <a:lnTo>
                      <a:pt x="50" y="58"/>
                    </a:lnTo>
                    <a:lnTo>
                      <a:pt x="11" y="123"/>
                    </a:lnTo>
                    <a:lnTo>
                      <a:pt x="3" y="140"/>
                    </a:lnTo>
                    <a:lnTo>
                      <a:pt x="0" y="161"/>
                    </a:lnTo>
                    <a:lnTo>
                      <a:pt x="1" y="195"/>
                    </a:lnTo>
                    <a:lnTo>
                      <a:pt x="11" y="230"/>
                    </a:lnTo>
                    <a:lnTo>
                      <a:pt x="33" y="267"/>
                    </a:lnTo>
                    <a:lnTo>
                      <a:pt x="40" y="293"/>
                    </a:lnTo>
                    <a:lnTo>
                      <a:pt x="33" y="302"/>
                    </a:lnTo>
                    <a:lnTo>
                      <a:pt x="62" y="382"/>
                    </a:lnTo>
                    <a:lnTo>
                      <a:pt x="70" y="436"/>
                    </a:lnTo>
                    <a:lnTo>
                      <a:pt x="85" y="436"/>
                    </a:lnTo>
                    <a:lnTo>
                      <a:pt x="106" y="420"/>
                    </a:lnTo>
                    <a:lnTo>
                      <a:pt x="118" y="419"/>
                    </a:lnTo>
                    <a:lnTo>
                      <a:pt x="130" y="440"/>
                    </a:lnTo>
                    <a:lnTo>
                      <a:pt x="131" y="452"/>
                    </a:lnTo>
                    <a:lnTo>
                      <a:pt x="123" y="464"/>
                    </a:lnTo>
                    <a:lnTo>
                      <a:pt x="118" y="480"/>
                    </a:lnTo>
                    <a:lnTo>
                      <a:pt x="124" y="487"/>
                    </a:lnTo>
                    <a:lnTo>
                      <a:pt x="138" y="486"/>
                    </a:lnTo>
                    <a:lnTo>
                      <a:pt x="147" y="487"/>
                    </a:lnTo>
                    <a:lnTo>
                      <a:pt x="163" y="480"/>
                    </a:lnTo>
                    <a:lnTo>
                      <a:pt x="180" y="482"/>
                    </a:lnTo>
                    <a:lnTo>
                      <a:pt x="189" y="496"/>
                    </a:lnTo>
                    <a:lnTo>
                      <a:pt x="201" y="505"/>
                    </a:lnTo>
                    <a:lnTo>
                      <a:pt x="216" y="491"/>
                    </a:lnTo>
                    <a:lnTo>
                      <a:pt x="243" y="479"/>
                    </a:lnTo>
                    <a:lnTo>
                      <a:pt x="283" y="450"/>
                    </a:lnTo>
                    <a:lnTo>
                      <a:pt x="310" y="438"/>
                    </a:lnTo>
                    <a:lnTo>
                      <a:pt x="332" y="438"/>
                    </a:lnTo>
                    <a:lnTo>
                      <a:pt x="361" y="449"/>
                    </a:lnTo>
                    <a:lnTo>
                      <a:pt x="369" y="434"/>
                    </a:lnTo>
                    <a:lnTo>
                      <a:pt x="368" y="424"/>
                    </a:lnTo>
                    <a:lnTo>
                      <a:pt x="344" y="401"/>
                    </a:lnTo>
                    <a:lnTo>
                      <a:pt x="334" y="378"/>
                    </a:lnTo>
                    <a:lnTo>
                      <a:pt x="344" y="357"/>
                    </a:lnTo>
                    <a:lnTo>
                      <a:pt x="453" y="290"/>
                    </a:lnTo>
                    <a:lnTo>
                      <a:pt x="479" y="279"/>
                    </a:lnTo>
                    <a:lnTo>
                      <a:pt x="495" y="265"/>
                    </a:lnTo>
                    <a:lnTo>
                      <a:pt x="506" y="237"/>
                    </a:lnTo>
                    <a:lnTo>
                      <a:pt x="503" y="180"/>
                    </a:lnTo>
                    <a:lnTo>
                      <a:pt x="504" y="158"/>
                    </a:lnTo>
                    <a:lnTo>
                      <a:pt x="508" y="138"/>
                    </a:lnTo>
                    <a:lnTo>
                      <a:pt x="488" y="82"/>
                    </a:lnTo>
                    <a:lnTo>
                      <a:pt x="486" y="47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427" name="Freeform 191"/>
              <p:cNvSpPr>
                <a:spLocks/>
              </p:cNvSpPr>
              <p:nvPr>
                <p:custDataLst>
                  <p:tags r:id="rId252"/>
                </p:custDataLst>
              </p:nvPr>
            </p:nvSpPr>
            <p:spPr bwMode="auto">
              <a:xfrm>
                <a:off x="3870" y="2609"/>
                <a:ext cx="31" cy="64"/>
              </a:xfrm>
              <a:custGeom>
                <a:avLst/>
                <a:gdLst>
                  <a:gd name="T0" fmla="*/ 67 w 215"/>
                  <a:gd name="T1" fmla="*/ 27 h 442"/>
                  <a:gd name="T2" fmla="*/ 43 w 215"/>
                  <a:gd name="T3" fmla="*/ 0 h 442"/>
                  <a:gd name="T4" fmla="*/ 50 w 215"/>
                  <a:gd name="T5" fmla="*/ 30 h 442"/>
                  <a:gd name="T6" fmla="*/ 39 w 215"/>
                  <a:gd name="T7" fmla="*/ 49 h 442"/>
                  <a:gd name="T8" fmla="*/ 37 w 215"/>
                  <a:gd name="T9" fmla="*/ 69 h 442"/>
                  <a:gd name="T10" fmla="*/ 22 w 215"/>
                  <a:gd name="T11" fmla="*/ 92 h 442"/>
                  <a:gd name="T12" fmla="*/ 2 w 215"/>
                  <a:gd name="T13" fmla="*/ 90 h 442"/>
                  <a:gd name="T14" fmla="*/ 0 w 215"/>
                  <a:gd name="T15" fmla="*/ 104 h 442"/>
                  <a:gd name="T16" fmla="*/ 13 w 215"/>
                  <a:gd name="T17" fmla="*/ 124 h 442"/>
                  <a:gd name="T18" fmla="*/ 6 w 215"/>
                  <a:gd name="T19" fmla="*/ 150 h 442"/>
                  <a:gd name="T20" fmla="*/ 17 w 215"/>
                  <a:gd name="T21" fmla="*/ 187 h 442"/>
                  <a:gd name="T22" fmla="*/ 18 w 215"/>
                  <a:gd name="T23" fmla="*/ 310 h 442"/>
                  <a:gd name="T24" fmla="*/ 45 w 215"/>
                  <a:gd name="T25" fmla="*/ 409 h 442"/>
                  <a:gd name="T26" fmla="*/ 55 w 215"/>
                  <a:gd name="T27" fmla="*/ 428 h 442"/>
                  <a:gd name="T28" fmla="*/ 66 w 215"/>
                  <a:gd name="T29" fmla="*/ 439 h 442"/>
                  <a:gd name="T30" fmla="*/ 87 w 215"/>
                  <a:gd name="T31" fmla="*/ 442 h 442"/>
                  <a:gd name="T32" fmla="*/ 116 w 215"/>
                  <a:gd name="T33" fmla="*/ 440 h 442"/>
                  <a:gd name="T34" fmla="*/ 149 w 215"/>
                  <a:gd name="T35" fmla="*/ 424 h 442"/>
                  <a:gd name="T36" fmla="*/ 173 w 215"/>
                  <a:gd name="T37" fmla="*/ 403 h 442"/>
                  <a:gd name="T38" fmla="*/ 190 w 215"/>
                  <a:gd name="T39" fmla="*/ 382 h 442"/>
                  <a:gd name="T40" fmla="*/ 206 w 215"/>
                  <a:gd name="T41" fmla="*/ 347 h 442"/>
                  <a:gd name="T42" fmla="*/ 215 w 215"/>
                  <a:gd name="T43" fmla="*/ 308 h 442"/>
                  <a:gd name="T44" fmla="*/ 209 w 215"/>
                  <a:gd name="T45" fmla="*/ 282 h 442"/>
                  <a:gd name="T46" fmla="*/ 173 w 215"/>
                  <a:gd name="T47" fmla="*/ 208 h 442"/>
                  <a:gd name="T48" fmla="*/ 163 w 215"/>
                  <a:gd name="T49" fmla="*/ 169 h 442"/>
                  <a:gd name="T50" fmla="*/ 136 w 215"/>
                  <a:gd name="T51" fmla="*/ 150 h 442"/>
                  <a:gd name="T52" fmla="*/ 135 w 215"/>
                  <a:gd name="T53" fmla="*/ 143 h 442"/>
                  <a:gd name="T54" fmla="*/ 140 w 215"/>
                  <a:gd name="T55" fmla="*/ 125 h 442"/>
                  <a:gd name="T56" fmla="*/ 132 w 215"/>
                  <a:gd name="T57" fmla="*/ 108 h 442"/>
                  <a:gd name="T58" fmla="*/ 98 w 215"/>
                  <a:gd name="T59" fmla="*/ 46 h 442"/>
                  <a:gd name="T60" fmla="*/ 67 w 215"/>
                  <a:gd name="T61" fmla="*/ 27 h 442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215"/>
                  <a:gd name="T94" fmla="*/ 0 h 442"/>
                  <a:gd name="T95" fmla="*/ 215 w 215"/>
                  <a:gd name="T96" fmla="*/ 442 h 442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215" h="442">
                    <a:moveTo>
                      <a:pt x="67" y="27"/>
                    </a:moveTo>
                    <a:lnTo>
                      <a:pt x="43" y="0"/>
                    </a:lnTo>
                    <a:lnTo>
                      <a:pt x="50" y="30"/>
                    </a:lnTo>
                    <a:lnTo>
                      <a:pt x="39" y="49"/>
                    </a:lnTo>
                    <a:lnTo>
                      <a:pt x="37" y="69"/>
                    </a:lnTo>
                    <a:lnTo>
                      <a:pt x="22" y="92"/>
                    </a:lnTo>
                    <a:lnTo>
                      <a:pt x="2" y="90"/>
                    </a:lnTo>
                    <a:lnTo>
                      <a:pt x="0" y="104"/>
                    </a:lnTo>
                    <a:lnTo>
                      <a:pt x="13" y="124"/>
                    </a:lnTo>
                    <a:lnTo>
                      <a:pt x="6" y="150"/>
                    </a:lnTo>
                    <a:lnTo>
                      <a:pt x="17" y="187"/>
                    </a:lnTo>
                    <a:lnTo>
                      <a:pt x="18" y="310"/>
                    </a:lnTo>
                    <a:lnTo>
                      <a:pt x="45" y="409"/>
                    </a:lnTo>
                    <a:lnTo>
                      <a:pt x="55" y="428"/>
                    </a:lnTo>
                    <a:lnTo>
                      <a:pt x="66" y="439"/>
                    </a:lnTo>
                    <a:lnTo>
                      <a:pt x="87" y="442"/>
                    </a:lnTo>
                    <a:lnTo>
                      <a:pt x="116" y="440"/>
                    </a:lnTo>
                    <a:lnTo>
                      <a:pt x="149" y="424"/>
                    </a:lnTo>
                    <a:lnTo>
                      <a:pt x="173" y="403"/>
                    </a:lnTo>
                    <a:lnTo>
                      <a:pt x="190" y="382"/>
                    </a:lnTo>
                    <a:lnTo>
                      <a:pt x="206" y="347"/>
                    </a:lnTo>
                    <a:lnTo>
                      <a:pt x="215" y="308"/>
                    </a:lnTo>
                    <a:lnTo>
                      <a:pt x="209" y="282"/>
                    </a:lnTo>
                    <a:lnTo>
                      <a:pt x="173" y="208"/>
                    </a:lnTo>
                    <a:lnTo>
                      <a:pt x="163" y="169"/>
                    </a:lnTo>
                    <a:lnTo>
                      <a:pt x="136" y="150"/>
                    </a:lnTo>
                    <a:lnTo>
                      <a:pt x="135" y="143"/>
                    </a:lnTo>
                    <a:lnTo>
                      <a:pt x="140" y="125"/>
                    </a:lnTo>
                    <a:lnTo>
                      <a:pt x="132" y="108"/>
                    </a:lnTo>
                    <a:lnTo>
                      <a:pt x="98" y="46"/>
                    </a:lnTo>
                    <a:lnTo>
                      <a:pt x="67" y="27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428" name="Freeform 192"/>
              <p:cNvSpPr>
                <a:spLocks/>
              </p:cNvSpPr>
              <p:nvPr>
                <p:custDataLst>
                  <p:tags r:id="rId253"/>
                </p:custDataLst>
              </p:nvPr>
            </p:nvSpPr>
            <p:spPr bwMode="auto">
              <a:xfrm>
                <a:off x="3990" y="1783"/>
                <a:ext cx="471" cy="229"/>
              </a:xfrm>
              <a:custGeom>
                <a:avLst/>
                <a:gdLst>
                  <a:gd name="T0" fmla="*/ 1811 w 3133"/>
                  <a:gd name="T1" fmla="*/ 251 h 1542"/>
                  <a:gd name="T2" fmla="*/ 1551 w 3133"/>
                  <a:gd name="T3" fmla="*/ 288 h 1542"/>
                  <a:gd name="T4" fmla="*/ 1431 w 3133"/>
                  <a:gd name="T5" fmla="*/ 221 h 1542"/>
                  <a:gd name="T6" fmla="*/ 1404 w 3133"/>
                  <a:gd name="T7" fmla="*/ 118 h 1542"/>
                  <a:gd name="T8" fmla="*/ 1290 w 3133"/>
                  <a:gd name="T9" fmla="*/ 56 h 1542"/>
                  <a:gd name="T10" fmla="*/ 1084 w 3133"/>
                  <a:gd name="T11" fmla="*/ 0 h 1542"/>
                  <a:gd name="T12" fmla="*/ 1002 w 3133"/>
                  <a:gd name="T13" fmla="*/ 205 h 1542"/>
                  <a:gd name="T14" fmla="*/ 1018 w 3133"/>
                  <a:gd name="T15" fmla="*/ 278 h 1542"/>
                  <a:gd name="T16" fmla="*/ 937 w 3133"/>
                  <a:gd name="T17" fmla="*/ 346 h 1542"/>
                  <a:gd name="T18" fmla="*/ 874 w 3133"/>
                  <a:gd name="T19" fmla="*/ 327 h 1542"/>
                  <a:gd name="T20" fmla="*/ 702 w 3133"/>
                  <a:gd name="T21" fmla="*/ 318 h 1542"/>
                  <a:gd name="T22" fmla="*/ 421 w 3133"/>
                  <a:gd name="T23" fmla="*/ 198 h 1542"/>
                  <a:gd name="T24" fmla="*/ 233 w 3133"/>
                  <a:gd name="T25" fmla="*/ 295 h 1542"/>
                  <a:gd name="T26" fmla="*/ 158 w 3133"/>
                  <a:gd name="T27" fmla="*/ 369 h 1542"/>
                  <a:gd name="T28" fmla="*/ 44 w 3133"/>
                  <a:gd name="T29" fmla="*/ 399 h 1542"/>
                  <a:gd name="T30" fmla="*/ 4 w 3133"/>
                  <a:gd name="T31" fmla="*/ 440 h 1542"/>
                  <a:gd name="T32" fmla="*/ 131 w 3133"/>
                  <a:gd name="T33" fmla="*/ 613 h 1542"/>
                  <a:gd name="T34" fmla="*/ 258 w 3133"/>
                  <a:gd name="T35" fmla="*/ 689 h 1542"/>
                  <a:gd name="T36" fmla="*/ 303 w 3133"/>
                  <a:gd name="T37" fmla="*/ 908 h 1542"/>
                  <a:gd name="T38" fmla="*/ 277 w 3133"/>
                  <a:gd name="T39" fmla="*/ 965 h 1542"/>
                  <a:gd name="T40" fmla="*/ 323 w 3133"/>
                  <a:gd name="T41" fmla="*/ 1028 h 1542"/>
                  <a:gd name="T42" fmla="*/ 508 w 3133"/>
                  <a:gd name="T43" fmla="*/ 1049 h 1542"/>
                  <a:gd name="T44" fmla="*/ 691 w 3133"/>
                  <a:gd name="T45" fmla="*/ 1153 h 1542"/>
                  <a:gd name="T46" fmla="*/ 798 w 3133"/>
                  <a:gd name="T47" fmla="*/ 1333 h 1542"/>
                  <a:gd name="T48" fmla="*/ 925 w 3133"/>
                  <a:gd name="T49" fmla="*/ 1377 h 1542"/>
                  <a:gd name="T50" fmla="*/ 1383 w 3133"/>
                  <a:gd name="T51" fmla="*/ 1416 h 1542"/>
                  <a:gd name="T52" fmla="*/ 1575 w 3133"/>
                  <a:gd name="T53" fmla="*/ 1510 h 1542"/>
                  <a:gd name="T54" fmla="*/ 1643 w 3133"/>
                  <a:gd name="T55" fmla="*/ 1529 h 1542"/>
                  <a:gd name="T56" fmla="*/ 1713 w 3133"/>
                  <a:gd name="T57" fmla="*/ 1522 h 1542"/>
                  <a:gd name="T58" fmla="*/ 2082 w 3133"/>
                  <a:gd name="T59" fmla="*/ 1425 h 1542"/>
                  <a:gd name="T60" fmla="*/ 2208 w 3133"/>
                  <a:gd name="T61" fmla="*/ 1363 h 1542"/>
                  <a:gd name="T62" fmla="*/ 2341 w 3133"/>
                  <a:gd name="T63" fmla="*/ 1254 h 1542"/>
                  <a:gd name="T64" fmla="*/ 2353 w 3133"/>
                  <a:gd name="T65" fmla="*/ 1205 h 1542"/>
                  <a:gd name="T66" fmla="*/ 2310 w 3133"/>
                  <a:gd name="T67" fmla="*/ 1120 h 1542"/>
                  <a:gd name="T68" fmla="*/ 2364 w 3133"/>
                  <a:gd name="T69" fmla="*/ 1041 h 1542"/>
                  <a:gd name="T70" fmla="*/ 2438 w 3133"/>
                  <a:gd name="T71" fmla="*/ 1071 h 1542"/>
                  <a:gd name="T72" fmla="*/ 2572 w 3133"/>
                  <a:gd name="T73" fmla="*/ 1048 h 1542"/>
                  <a:gd name="T74" fmla="*/ 2655 w 3133"/>
                  <a:gd name="T75" fmla="*/ 989 h 1542"/>
                  <a:gd name="T76" fmla="*/ 2750 w 3133"/>
                  <a:gd name="T77" fmla="*/ 968 h 1542"/>
                  <a:gd name="T78" fmla="*/ 2790 w 3133"/>
                  <a:gd name="T79" fmla="*/ 889 h 1542"/>
                  <a:gd name="T80" fmla="*/ 2847 w 3133"/>
                  <a:gd name="T81" fmla="*/ 849 h 1542"/>
                  <a:gd name="T82" fmla="*/ 2986 w 3133"/>
                  <a:gd name="T83" fmla="*/ 801 h 1542"/>
                  <a:gd name="T84" fmla="*/ 3089 w 3133"/>
                  <a:gd name="T85" fmla="*/ 807 h 1542"/>
                  <a:gd name="T86" fmla="*/ 3133 w 3133"/>
                  <a:gd name="T87" fmla="*/ 787 h 1542"/>
                  <a:gd name="T88" fmla="*/ 3066 w 3133"/>
                  <a:gd name="T89" fmla="*/ 669 h 1542"/>
                  <a:gd name="T90" fmla="*/ 2966 w 3133"/>
                  <a:gd name="T91" fmla="*/ 609 h 1542"/>
                  <a:gd name="T92" fmla="*/ 2880 w 3133"/>
                  <a:gd name="T93" fmla="*/ 657 h 1542"/>
                  <a:gd name="T94" fmla="*/ 2823 w 3133"/>
                  <a:gd name="T95" fmla="*/ 623 h 1542"/>
                  <a:gd name="T96" fmla="*/ 2733 w 3133"/>
                  <a:gd name="T97" fmla="*/ 657 h 1542"/>
                  <a:gd name="T98" fmla="*/ 2821 w 3133"/>
                  <a:gd name="T99" fmla="*/ 346 h 1542"/>
                  <a:gd name="T100" fmla="*/ 2788 w 3133"/>
                  <a:gd name="T101" fmla="*/ 315 h 1542"/>
                  <a:gd name="T102" fmla="*/ 2680 w 3133"/>
                  <a:gd name="T103" fmla="*/ 315 h 1542"/>
                  <a:gd name="T104" fmla="*/ 2588 w 3133"/>
                  <a:gd name="T105" fmla="*/ 272 h 1542"/>
                  <a:gd name="T106" fmla="*/ 2488 w 3133"/>
                  <a:gd name="T107" fmla="*/ 339 h 1542"/>
                  <a:gd name="T108" fmla="*/ 2418 w 3133"/>
                  <a:gd name="T109" fmla="*/ 396 h 1542"/>
                  <a:gd name="T110" fmla="*/ 2016 w 3133"/>
                  <a:gd name="T111" fmla="*/ 387 h 1542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3133"/>
                  <a:gd name="T169" fmla="*/ 0 h 1542"/>
                  <a:gd name="T170" fmla="*/ 3133 w 3133"/>
                  <a:gd name="T171" fmla="*/ 1542 h 1542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3133" h="1542">
                    <a:moveTo>
                      <a:pt x="1930" y="341"/>
                    </a:moveTo>
                    <a:lnTo>
                      <a:pt x="1845" y="267"/>
                    </a:lnTo>
                    <a:lnTo>
                      <a:pt x="1811" y="251"/>
                    </a:lnTo>
                    <a:lnTo>
                      <a:pt x="1697" y="246"/>
                    </a:lnTo>
                    <a:lnTo>
                      <a:pt x="1661" y="251"/>
                    </a:lnTo>
                    <a:lnTo>
                      <a:pt x="1551" y="288"/>
                    </a:lnTo>
                    <a:lnTo>
                      <a:pt x="1521" y="281"/>
                    </a:lnTo>
                    <a:lnTo>
                      <a:pt x="1448" y="244"/>
                    </a:lnTo>
                    <a:lnTo>
                      <a:pt x="1431" y="221"/>
                    </a:lnTo>
                    <a:lnTo>
                      <a:pt x="1414" y="191"/>
                    </a:lnTo>
                    <a:lnTo>
                      <a:pt x="1404" y="157"/>
                    </a:lnTo>
                    <a:lnTo>
                      <a:pt x="1404" y="118"/>
                    </a:lnTo>
                    <a:lnTo>
                      <a:pt x="1398" y="104"/>
                    </a:lnTo>
                    <a:lnTo>
                      <a:pt x="1365" y="95"/>
                    </a:lnTo>
                    <a:lnTo>
                      <a:pt x="1290" y="56"/>
                    </a:lnTo>
                    <a:lnTo>
                      <a:pt x="1167" y="21"/>
                    </a:lnTo>
                    <a:lnTo>
                      <a:pt x="1121" y="14"/>
                    </a:lnTo>
                    <a:lnTo>
                      <a:pt x="1084" y="0"/>
                    </a:lnTo>
                    <a:lnTo>
                      <a:pt x="988" y="125"/>
                    </a:lnTo>
                    <a:lnTo>
                      <a:pt x="983" y="146"/>
                    </a:lnTo>
                    <a:lnTo>
                      <a:pt x="1002" y="205"/>
                    </a:lnTo>
                    <a:lnTo>
                      <a:pt x="1019" y="226"/>
                    </a:lnTo>
                    <a:lnTo>
                      <a:pt x="1025" y="241"/>
                    </a:lnTo>
                    <a:lnTo>
                      <a:pt x="1018" y="278"/>
                    </a:lnTo>
                    <a:lnTo>
                      <a:pt x="985" y="316"/>
                    </a:lnTo>
                    <a:lnTo>
                      <a:pt x="972" y="327"/>
                    </a:lnTo>
                    <a:lnTo>
                      <a:pt x="937" y="346"/>
                    </a:lnTo>
                    <a:lnTo>
                      <a:pt x="912" y="348"/>
                    </a:lnTo>
                    <a:lnTo>
                      <a:pt x="887" y="336"/>
                    </a:lnTo>
                    <a:lnTo>
                      <a:pt x="874" y="327"/>
                    </a:lnTo>
                    <a:lnTo>
                      <a:pt x="798" y="323"/>
                    </a:lnTo>
                    <a:lnTo>
                      <a:pt x="765" y="318"/>
                    </a:lnTo>
                    <a:lnTo>
                      <a:pt x="702" y="318"/>
                    </a:lnTo>
                    <a:lnTo>
                      <a:pt x="670" y="309"/>
                    </a:lnTo>
                    <a:lnTo>
                      <a:pt x="623" y="230"/>
                    </a:lnTo>
                    <a:lnTo>
                      <a:pt x="421" y="198"/>
                    </a:lnTo>
                    <a:lnTo>
                      <a:pt x="384" y="211"/>
                    </a:lnTo>
                    <a:lnTo>
                      <a:pt x="267" y="267"/>
                    </a:lnTo>
                    <a:lnTo>
                      <a:pt x="233" y="295"/>
                    </a:lnTo>
                    <a:lnTo>
                      <a:pt x="191" y="343"/>
                    </a:lnTo>
                    <a:lnTo>
                      <a:pt x="188" y="343"/>
                    </a:lnTo>
                    <a:lnTo>
                      <a:pt x="158" y="369"/>
                    </a:lnTo>
                    <a:lnTo>
                      <a:pt x="131" y="380"/>
                    </a:lnTo>
                    <a:lnTo>
                      <a:pt x="69" y="385"/>
                    </a:lnTo>
                    <a:lnTo>
                      <a:pt x="44" y="399"/>
                    </a:lnTo>
                    <a:lnTo>
                      <a:pt x="8" y="428"/>
                    </a:lnTo>
                    <a:lnTo>
                      <a:pt x="0" y="431"/>
                    </a:lnTo>
                    <a:lnTo>
                      <a:pt x="4" y="440"/>
                    </a:lnTo>
                    <a:lnTo>
                      <a:pt x="20" y="505"/>
                    </a:lnTo>
                    <a:lnTo>
                      <a:pt x="36" y="535"/>
                    </a:lnTo>
                    <a:lnTo>
                      <a:pt x="131" y="613"/>
                    </a:lnTo>
                    <a:lnTo>
                      <a:pt x="218" y="639"/>
                    </a:lnTo>
                    <a:lnTo>
                      <a:pt x="233" y="648"/>
                    </a:lnTo>
                    <a:lnTo>
                      <a:pt x="258" y="689"/>
                    </a:lnTo>
                    <a:lnTo>
                      <a:pt x="323" y="830"/>
                    </a:lnTo>
                    <a:lnTo>
                      <a:pt x="314" y="858"/>
                    </a:lnTo>
                    <a:lnTo>
                      <a:pt x="303" y="908"/>
                    </a:lnTo>
                    <a:lnTo>
                      <a:pt x="294" y="935"/>
                    </a:lnTo>
                    <a:lnTo>
                      <a:pt x="278" y="958"/>
                    </a:lnTo>
                    <a:lnTo>
                      <a:pt x="277" y="965"/>
                    </a:lnTo>
                    <a:lnTo>
                      <a:pt x="281" y="993"/>
                    </a:lnTo>
                    <a:lnTo>
                      <a:pt x="291" y="1009"/>
                    </a:lnTo>
                    <a:lnTo>
                      <a:pt x="323" y="1028"/>
                    </a:lnTo>
                    <a:lnTo>
                      <a:pt x="369" y="1041"/>
                    </a:lnTo>
                    <a:lnTo>
                      <a:pt x="481" y="1044"/>
                    </a:lnTo>
                    <a:lnTo>
                      <a:pt x="508" y="1049"/>
                    </a:lnTo>
                    <a:lnTo>
                      <a:pt x="553" y="1064"/>
                    </a:lnTo>
                    <a:lnTo>
                      <a:pt x="654" y="1134"/>
                    </a:lnTo>
                    <a:lnTo>
                      <a:pt x="691" y="1153"/>
                    </a:lnTo>
                    <a:lnTo>
                      <a:pt x="724" y="1161"/>
                    </a:lnTo>
                    <a:lnTo>
                      <a:pt x="728" y="1194"/>
                    </a:lnTo>
                    <a:lnTo>
                      <a:pt x="798" y="1333"/>
                    </a:lnTo>
                    <a:lnTo>
                      <a:pt x="818" y="1362"/>
                    </a:lnTo>
                    <a:lnTo>
                      <a:pt x="838" y="1377"/>
                    </a:lnTo>
                    <a:lnTo>
                      <a:pt x="925" y="1377"/>
                    </a:lnTo>
                    <a:lnTo>
                      <a:pt x="1015" y="1399"/>
                    </a:lnTo>
                    <a:lnTo>
                      <a:pt x="1359" y="1406"/>
                    </a:lnTo>
                    <a:lnTo>
                      <a:pt x="1383" y="1416"/>
                    </a:lnTo>
                    <a:lnTo>
                      <a:pt x="1419" y="1452"/>
                    </a:lnTo>
                    <a:lnTo>
                      <a:pt x="1534" y="1503"/>
                    </a:lnTo>
                    <a:lnTo>
                      <a:pt x="1575" y="1510"/>
                    </a:lnTo>
                    <a:lnTo>
                      <a:pt x="1604" y="1506"/>
                    </a:lnTo>
                    <a:lnTo>
                      <a:pt x="1631" y="1510"/>
                    </a:lnTo>
                    <a:lnTo>
                      <a:pt x="1643" y="1529"/>
                    </a:lnTo>
                    <a:lnTo>
                      <a:pt x="1662" y="1542"/>
                    </a:lnTo>
                    <a:lnTo>
                      <a:pt x="1682" y="1540"/>
                    </a:lnTo>
                    <a:lnTo>
                      <a:pt x="1713" y="1522"/>
                    </a:lnTo>
                    <a:lnTo>
                      <a:pt x="1911" y="1425"/>
                    </a:lnTo>
                    <a:lnTo>
                      <a:pt x="2037" y="1420"/>
                    </a:lnTo>
                    <a:lnTo>
                      <a:pt x="2082" y="1425"/>
                    </a:lnTo>
                    <a:lnTo>
                      <a:pt x="2110" y="1422"/>
                    </a:lnTo>
                    <a:lnTo>
                      <a:pt x="2196" y="1374"/>
                    </a:lnTo>
                    <a:lnTo>
                      <a:pt x="2208" y="1363"/>
                    </a:lnTo>
                    <a:lnTo>
                      <a:pt x="2257" y="1296"/>
                    </a:lnTo>
                    <a:lnTo>
                      <a:pt x="2286" y="1272"/>
                    </a:lnTo>
                    <a:lnTo>
                      <a:pt x="2341" y="1254"/>
                    </a:lnTo>
                    <a:lnTo>
                      <a:pt x="2356" y="1236"/>
                    </a:lnTo>
                    <a:lnTo>
                      <a:pt x="2362" y="1219"/>
                    </a:lnTo>
                    <a:lnTo>
                      <a:pt x="2353" y="1205"/>
                    </a:lnTo>
                    <a:lnTo>
                      <a:pt x="2327" y="1178"/>
                    </a:lnTo>
                    <a:lnTo>
                      <a:pt x="2310" y="1141"/>
                    </a:lnTo>
                    <a:lnTo>
                      <a:pt x="2310" y="1120"/>
                    </a:lnTo>
                    <a:lnTo>
                      <a:pt x="2319" y="1094"/>
                    </a:lnTo>
                    <a:lnTo>
                      <a:pt x="2343" y="1055"/>
                    </a:lnTo>
                    <a:lnTo>
                      <a:pt x="2364" y="1041"/>
                    </a:lnTo>
                    <a:lnTo>
                      <a:pt x="2377" y="1035"/>
                    </a:lnTo>
                    <a:lnTo>
                      <a:pt x="2408" y="1046"/>
                    </a:lnTo>
                    <a:lnTo>
                      <a:pt x="2438" y="1071"/>
                    </a:lnTo>
                    <a:lnTo>
                      <a:pt x="2465" y="1079"/>
                    </a:lnTo>
                    <a:lnTo>
                      <a:pt x="2540" y="1076"/>
                    </a:lnTo>
                    <a:lnTo>
                      <a:pt x="2572" y="1048"/>
                    </a:lnTo>
                    <a:lnTo>
                      <a:pt x="2626" y="988"/>
                    </a:lnTo>
                    <a:lnTo>
                      <a:pt x="2637" y="989"/>
                    </a:lnTo>
                    <a:lnTo>
                      <a:pt x="2655" y="989"/>
                    </a:lnTo>
                    <a:lnTo>
                      <a:pt x="2682" y="993"/>
                    </a:lnTo>
                    <a:lnTo>
                      <a:pt x="2723" y="984"/>
                    </a:lnTo>
                    <a:lnTo>
                      <a:pt x="2750" y="968"/>
                    </a:lnTo>
                    <a:lnTo>
                      <a:pt x="2765" y="956"/>
                    </a:lnTo>
                    <a:lnTo>
                      <a:pt x="2776" y="942"/>
                    </a:lnTo>
                    <a:lnTo>
                      <a:pt x="2790" y="889"/>
                    </a:lnTo>
                    <a:lnTo>
                      <a:pt x="2805" y="865"/>
                    </a:lnTo>
                    <a:lnTo>
                      <a:pt x="2826" y="853"/>
                    </a:lnTo>
                    <a:lnTo>
                      <a:pt x="2847" y="849"/>
                    </a:lnTo>
                    <a:lnTo>
                      <a:pt x="2868" y="858"/>
                    </a:lnTo>
                    <a:lnTo>
                      <a:pt x="2884" y="844"/>
                    </a:lnTo>
                    <a:lnTo>
                      <a:pt x="2986" y="801"/>
                    </a:lnTo>
                    <a:lnTo>
                      <a:pt x="3023" y="800"/>
                    </a:lnTo>
                    <a:lnTo>
                      <a:pt x="3042" y="807"/>
                    </a:lnTo>
                    <a:lnTo>
                      <a:pt x="3089" y="807"/>
                    </a:lnTo>
                    <a:lnTo>
                      <a:pt x="3111" y="816"/>
                    </a:lnTo>
                    <a:lnTo>
                      <a:pt x="3128" y="801"/>
                    </a:lnTo>
                    <a:lnTo>
                      <a:pt x="3133" y="787"/>
                    </a:lnTo>
                    <a:lnTo>
                      <a:pt x="3132" y="768"/>
                    </a:lnTo>
                    <a:lnTo>
                      <a:pt x="3104" y="734"/>
                    </a:lnTo>
                    <a:lnTo>
                      <a:pt x="3066" y="669"/>
                    </a:lnTo>
                    <a:lnTo>
                      <a:pt x="3031" y="636"/>
                    </a:lnTo>
                    <a:lnTo>
                      <a:pt x="3007" y="623"/>
                    </a:lnTo>
                    <a:lnTo>
                      <a:pt x="2966" y="609"/>
                    </a:lnTo>
                    <a:lnTo>
                      <a:pt x="2948" y="609"/>
                    </a:lnTo>
                    <a:lnTo>
                      <a:pt x="2894" y="660"/>
                    </a:lnTo>
                    <a:lnTo>
                      <a:pt x="2880" y="657"/>
                    </a:lnTo>
                    <a:lnTo>
                      <a:pt x="2863" y="629"/>
                    </a:lnTo>
                    <a:lnTo>
                      <a:pt x="2848" y="623"/>
                    </a:lnTo>
                    <a:lnTo>
                      <a:pt x="2823" y="623"/>
                    </a:lnTo>
                    <a:lnTo>
                      <a:pt x="2790" y="629"/>
                    </a:lnTo>
                    <a:lnTo>
                      <a:pt x="2749" y="655"/>
                    </a:lnTo>
                    <a:lnTo>
                      <a:pt x="2733" y="657"/>
                    </a:lnTo>
                    <a:lnTo>
                      <a:pt x="2731" y="655"/>
                    </a:lnTo>
                    <a:lnTo>
                      <a:pt x="2719" y="600"/>
                    </a:lnTo>
                    <a:lnTo>
                      <a:pt x="2821" y="346"/>
                    </a:lnTo>
                    <a:lnTo>
                      <a:pt x="2834" y="325"/>
                    </a:lnTo>
                    <a:lnTo>
                      <a:pt x="2814" y="313"/>
                    </a:lnTo>
                    <a:lnTo>
                      <a:pt x="2788" y="315"/>
                    </a:lnTo>
                    <a:lnTo>
                      <a:pt x="2732" y="336"/>
                    </a:lnTo>
                    <a:lnTo>
                      <a:pt x="2695" y="323"/>
                    </a:lnTo>
                    <a:lnTo>
                      <a:pt x="2680" y="315"/>
                    </a:lnTo>
                    <a:lnTo>
                      <a:pt x="2646" y="279"/>
                    </a:lnTo>
                    <a:lnTo>
                      <a:pt x="2614" y="269"/>
                    </a:lnTo>
                    <a:lnTo>
                      <a:pt x="2588" y="272"/>
                    </a:lnTo>
                    <a:lnTo>
                      <a:pt x="2572" y="272"/>
                    </a:lnTo>
                    <a:lnTo>
                      <a:pt x="2520" y="306"/>
                    </a:lnTo>
                    <a:lnTo>
                      <a:pt x="2488" y="339"/>
                    </a:lnTo>
                    <a:lnTo>
                      <a:pt x="2469" y="368"/>
                    </a:lnTo>
                    <a:lnTo>
                      <a:pt x="2442" y="385"/>
                    </a:lnTo>
                    <a:lnTo>
                      <a:pt x="2418" y="396"/>
                    </a:lnTo>
                    <a:lnTo>
                      <a:pt x="2189" y="429"/>
                    </a:lnTo>
                    <a:lnTo>
                      <a:pt x="2114" y="420"/>
                    </a:lnTo>
                    <a:lnTo>
                      <a:pt x="2016" y="387"/>
                    </a:lnTo>
                    <a:lnTo>
                      <a:pt x="1981" y="362"/>
                    </a:lnTo>
                    <a:lnTo>
                      <a:pt x="1930" y="341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429" name="Freeform 193"/>
              <p:cNvSpPr>
                <a:spLocks/>
              </p:cNvSpPr>
              <p:nvPr>
                <p:custDataLst>
                  <p:tags r:id="rId254"/>
                </p:custDataLst>
              </p:nvPr>
            </p:nvSpPr>
            <p:spPr bwMode="auto">
              <a:xfrm>
                <a:off x="3717" y="1977"/>
                <a:ext cx="161" cy="83"/>
              </a:xfrm>
              <a:custGeom>
                <a:avLst/>
                <a:gdLst>
                  <a:gd name="T0" fmla="*/ 196 w 1072"/>
                  <a:gd name="T1" fmla="*/ 67 h 555"/>
                  <a:gd name="T2" fmla="*/ 181 w 1072"/>
                  <a:gd name="T3" fmla="*/ 129 h 555"/>
                  <a:gd name="T4" fmla="*/ 159 w 1072"/>
                  <a:gd name="T5" fmla="*/ 168 h 555"/>
                  <a:gd name="T6" fmla="*/ 130 w 1072"/>
                  <a:gd name="T7" fmla="*/ 194 h 555"/>
                  <a:gd name="T8" fmla="*/ 93 w 1072"/>
                  <a:gd name="T9" fmla="*/ 237 h 555"/>
                  <a:gd name="T10" fmla="*/ 144 w 1072"/>
                  <a:gd name="T11" fmla="*/ 242 h 555"/>
                  <a:gd name="T12" fmla="*/ 172 w 1072"/>
                  <a:gd name="T13" fmla="*/ 289 h 555"/>
                  <a:gd name="T14" fmla="*/ 228 w 1072"/>
                  <a:gd name="T15" fmla="*/ 267 h 555"/>
                  <a:gd name="T16" fmla="*/ 245 w 1072"/>
                  <a:gd name="T17" fmla="*/ 244 h 555"/>
                  <a:gd name="T18" fmla="*/ 281 w 1072"/>
                  <a:gd name="T19" fmla="*/ 285 h 555"/>
                  <a:gd name="T20" fmla="*/ 293 w 1072"/>
                  <a:gd name="T21" fmla="*/ 305 h 555"/>
                  <a:gd name="T22" fmla="*/ 332 w 1072"/>
                  <a:gd name="T23" fmla="*/ 326 h 555"/>
                  <a:gd name="T24" fmla="*/ 360 w 1072"/>
                  <a:gd name="T25" fmla="*/ 352 h 555"/>
                  <a:gd name="T26" fmla="*/ 310 w 1072"/>
                  <a:gd name="T27" fmla="*/ 366 h 555"/>
                  <a:gd name="T28" fmla="*/ 298 w 1072"/>
                  <a:gd name="T29" fmla="*/ 386 h 555"/>
                  <a:gd name="T30" fmla="*/ 266 w 1072"/>
                  <a:gd name="T31" fmla="*/ 414 h 555"/>
                  <a:gd name="T32" fmla="*/ 233 w 1072"/>
                  <a:gd name="T33" fmla="*/ 419 h 555"/>
                  <a:gd name="T34" fmla="*/ 185 w 1072"/>
                  <a:gd name="T35" fmla="*/ 414 h 555"/>
                  <a:gd name="T36" fmla="*/ 136 w 1072"/>
                  <a:gd name="T37" fmla="*/ 437 h 555"/>
                  <a:gd name="T38" fmla="*/ 123 w 1072"/>
                  <a:gd name="T39" fmla="*/ 440 h 555"/>
                  <a:gd name="T40" fmla="*/ 29 w 1072"/>
                  <a:gd name="T41" fmla="*/ 432 h 555"/>
                  <a:gd name="T42" fmla="*/ 18 w 1072"/>
                  <a:gd name="T43" fmla="*/ 465 h 555"/>
                  <a:gd name="T44" fmla="*/ 0 w 1072"/>
                  <a:gd name="T45" fmla="*/ 479 h 555"/>
                  <a:gd name="T46" fmla="*/ 94 w 1072"/>
                  <a:gd name="T47" fmla="*/ 507 h 555"/>
                  <a:gd name="T48" fmla="*/ 140 w 1072"/>
                  <a:gd name="T49" fmla="*/ 509 h 555"/>
                  <a:gd name="T50" fmla="*/ 168 w 1072"/>
                  <a:gd name="T51" fmla="*/ 534 h 555"/>
                  <a:gd name="T52" fmla="*/ 195 w 1072"/>
                  <a:gd name="T53" fmla="*/ 515 h 555"/>
                  <a:gd name="T54" fmla="*/ 226 w 1072"/>
                  <a:gd name="T55" fmla="*/ 516 h 555"/>
                  <a:gd name="T56" fmla="*/ 251 w 1072"/>
                  <a:gd name="T57" fmla="*/ 546 h 555"/>
                  <a:gd name="T58" fmla="*/ 290 w 1072"/>
                  <a:gd name="T59" fmla="*/ 555 h 555"/>
                  <a:gd name="T60" fmla="*/ 341 w 1072"/>
                  <a:gd name="T61" fmla="*/ 532 h 555"/>
                  <a:gd name="T62" fmla="*/ 426 w 1072"/>
                  <a:gd name="T63" fmla="*/ 520 h 555"/>
                  <a:gd name="T64" fmla="*/ 445 w 1072"/>
                  <a:gd name="T65" fmla="*/ 465 h 555"/>
                  <a:gd name="T66" fmla="*/ 616 w 1072"/>
                  <a:gd name="T67" fmla="*/ 368 h 555"/>
                  <a:gd name="T68" fmla="*/ 662 w 1072"/>
                  <a:gd name="T69" fmla="*/ 396 h 555"/>
                  <a:gd name="T70" fmla="*/ 733 w 1072"/>
                  <a:gd name="T71" fmla="*/ 324 h 555"/>
                  <a:gd name="T72" fmla="*/ 818 w 1072"/>
                  <a:gd name="T73" fmla="*/ 308 h 555"/>
                  <a:gd name="T74" fmla="*/ 888 w 1072"/>
                  <a:gd name="T75" fmla="*/ 280 h 555"/>
                  <a:gd name="T76" fmla="*/ 1056 w 1072"/>
                  <a:gd name="T77" fmla="*/ 170 h 555"/>
                  <a:gd name="T78" fmla="*/ 1071 w 1072"/>
                  <a:gd name="T79" fmla="*/ 136 h 555"/>
                  <a:gd name="T80" fmla="*/ 1003 w 1072"/>
                  <a:gd name="T81" fmla="*/ 106 h 555"/>
                  <a:gd name="T82" fmla="*/ 976 w 1072"/>
                  <a:gd name="T83" fmla="*/ 58 h 555"/>
                  <a:gd name="T84" fmla="*/ 879 w 1072"/>
                  <a:gd name="T85" fmla="*/ 51 h 555"/>
                  <a:gd name="T86" fmla="*/ 758 w 1072"/>
                  <a:gd name="T87" fmla="*/ 28 h 555"/>
                  <a:gd name="T88" fmla="*/ 634 w 1072"/>
                  <a:gd name="T89" fmla="*/ 57 h 555"/>
                  <a:gd name="T90" fmla="*/ 503 w 1072"/>
                  <a:gd name="T91" fmla="*/ 6 h 555"/>
                  <a:gd name="T92" fmla="*/ 426 w 1072"/>
                  <a:gd name="T93" fmla="*/ 32 h 555"/>
                  <a:gd name="T94" fmla="*/ 401 w 1072"/>
                  <a:gd name="T95" fmla="*/ 99 h 55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1072"/>
                  <a:gd name="T145" fmla="*/ 0 h 555"/>
                  <a:gd name="T146" fmla="*/ 1072 w 1072"/>
                  <a:gd name="T147" fmla="*/ 555 h 55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1072" h="555">
                    <a:moveTo>
                      <a:pt x="401" y="99"/>
                    </a:moveTo>
                    <a:lnTo>
                      <a:pt x="257" y="53"/>
                    </a:lnTo>
                    <a:lnTo>
                      <a:pt x="196" y="67"/>
                    </a:lnTo>
                    <a:lnTo>
                      <a:pt x="165" y="118"/>
                    </a:lnTo>
                    <a:lnTo>
                      <a:pt x="167" y="136"/>
                    </a:lnTo>
                    <a:lnTo>
                      <a:pt x="181" y="129"/>
                    </a:lnTo>
                    <a:lnTo>
                      <a:pt x="200" y="143"/>
                    </a:lnTo>
                    <a:lnTo>
                      <a:pt x="168" y="166"/>
                    </a:lnTo>
                    <a:lnTo>
                      <a:pt x="159" y="168"/>
                    </a:lnTo>
                    <a:lnTo>
                      <a:pt x="156" y="180"/>
                    </a:lnTo>
                    <a:lnTo>
                      <a:pt x="143" y="184"/>
                    </a:lnTo>
                    <a:lnTo>
                      <a:pt x="130" y="194"/>
                    </a:lnTo>
                    <a:lnTo>
                      <a:pt x="120" y="205"/>
                    </a:lnTo>
                    <a:lnTo>
                      <a:pt x="94" y="230"/>
                    </a:lnTo>
                    <a:lnTo>
                      <a:pt x="93" y="237"/>
                    </a:lnTo>
                    <a:lnTo>
                      <a:pt x="119" y="244"/>
                    </a:lnTo>
                    <a:lnTo>
                      <a:pt x="125" y="252"/>
                    </a:lnTo>
                    <a:lnTo>
                      <a:pt x="144" y="242"/>
                    </a:lnTo>
                    <a:lnTo>
                      <a:pt x="148" y="256"/>
                    </a:lnTo>
                    <a:lnTo>
                      <a:pt x="156" y="270"/>
                    </a:lnTo>
                    <a:lnTo>
                      <a:pt x="172" y="289"/>
                    </a:lnTo>
                    <a:lnTo>
                      <a:pt x="216" y="289"/>
                    </a:lnTo>
                    <a:lnTo>
                      <a:pt x="217" y="263"/>
                    </a:lnTo>
                    <a:lnTo>
                      <a:pt x="228" y="267"/>
                    </a:lnTo>
                    <a:lnTo>
                      <a:pt x="236" y="254"/>
                    </a:lnTo>
                    <a:lnTo>
                      <a:pt x="236" y="238"/>
                    </a:lnTo>
                    <a:lnTo>
                      <a:pt x="245" y="244"/>
                    </a:lnTo>
                    <a:lnTo>
                      <a:pt x="254" y="254"/>
                    </a:lnTo>
                    <a:lnTo>
                      <a:pt x="265" y="283"/>
                    </a:lnTo>
                    <a:lnTo>
                      <a:pt x="281" y="285"/>
                    </a:lnTo>
                    <a:lnTo>
                      <a:pt x="288" y="283"/>
                    </a:lnTo>
                    <a:lnTo>
                      <a:pt x="291" y="299"/>
                    </a:lnTo>
                    <a:lnTo>
                      <a:pt x="293" y="305"/>
                    </a:lnTo>
                    <a:lnTo>
                      <a:pt x="307" y="303"/>
                    </a:lnTo>
                    <a:lnTo>
                      <a:pt x="320" y="313"/>
                    </a:lnTo>
                    <a:lnTo>
                      <a:pt x="332" y="326"/>
                    </a:lnTo>
                    <a:lnTo>
                      <a:pt x="376" y="331"/>
                    </a:lnTo>
                    <a:lnTo>
                      <a:pt x="383" y="338"/>
                    </a:lnTo>
                    <a:lnTo>
                      <a:pt x="360" y="352"/>
                    </a:lnTo>
                    <a:lnTo>
                      <a:pt x="343" y="372"/>
                    </a:lnTo>
                    <a:lnTo>
                      <a:pt x="320" y="370"/>
                    </a:lnTo>
                    <a:lnTo>
                      <a:pt x="310" y="366"/>
                    </a:lnTo>
                    <a:lnTo>
                      <a:pt x="314" y="377"/>
                    </a:lnTo>
                    <a:lnTo>
                      <a:pt x="314" y="386"/>
                    </a:lnTo>
                    <a:lnTo>
                      <a:pt x="298" y="386"/>
                    </a:lnTo>
                    <a:lnTo>
                      <a:pt x="291" y="389"/>
                    </a:lnTo>
                    <a:lnTo>
                      <a:pt x="277" y="402"/>
                    </a:lnTo>
                    <a:lnTo>
                      <a:pt x="266" y="414"/>
                    </a:lnTo>
                    <a:lnTo>
                      <a:pt x="254" y="416"/>
                    </a:lnTo>
                    <a:lnTo>
                      <a:pt x="245" y="428"/>
                    </a:lnTo>
                    <a:lnTo>
                      <a:pt x="233" y="419"/>
                    </a:lnTo>
                    <a:lnTo>
                      <a:pt x="206" y="407"/>
                    </a:lnTo>
                    <a:lnTo>
                      <a:pt x="196" y="409"/>
                    </a:lnTo>
                    <a:lnTo>
                      <a:pt x="185" y="414"/>
                    </a:lnTo>
                    <a:lnTo>
                      <a:pt x="172" y="409"/>
                    </a:lnTo>
                    <a:lnTo>
                      <a:pt x="169" y="416"/>
                    </a:lnTo>
                    <a:lnTo>
                      <a:pt x="136" y="437"/>
                    </a:lnTo>
                    <a:lnTo>
                      <a:pt x="136" y="451"/>
                    </a:lnTo>
                    <a:lnTo>
                      <a:pt x="128" y="451"/>
                    </a:lnTo>
                    <a:lnTo>
                      <a:pt x="123" y="440"/>
                    </a:lnTo>
                    <a:lnTo>
                      <a:pt x="78" y="419"/>
                    </a:lnTo>
                    <a:lnTo>
                      <a:pt x="34" y="432"/>
                    </a:lnTo>
                    <a:lnTo>
                      <a:pt x="29" y="432"/>
                    </a:lnTo>
                    <a:lnTo>
                      <a:pt x="24" y="449"/>
                    </a:lnTo>
                    <a:lnTo>
                      <a:pt x="27" y="460"/>
                    </a:lnTo>
                    <a:lnTo>
                      <a:pt x="18" y="465"/>
                    </a:lnTo>
                    <a:lnTo>
                      <a:pt x="13" y="451"/>
                    </a:lnTo>
                    <a:lnTo>
                      <a:pt x="5" y="463"/>
                    </a:lnTo>
                    <a:lnTo>
                      <a:pt x="0" y="479"/>
                    </a:lnTo>
                    <a:lnTo>
                      <a:pt x="8" y="504"/>
                    </a:lnTo>
                    <a:lnTo>
                      <a:pt x="12" y="511"/>
                    </a:lnTo>
                    <a:lnTo>
                      <a:pt x="94" y="507"/>
                    </a:lnTo>
                    <a:lnTo>
                      <a:pt x="103" y="513"/>
                    </a:lnTo>
                    <a:lnTo>
                      <a:pt x="125" y="504"/>
                    </a:lnTo>
                    <a:lnTo>
                      <a:pt x="140" y="509"/>
                    </a:lnTo>
                    <a:lnTo>
                      <a:pt x="147" y="516"/>
                    </a:lnTo>
                    <a:lnTo>
                      <a:pt x="150" y="529"/>
                    </a:lnTo>
                    <a:lnTo>
                      <a:pt x="168" y="534"/>
                    </a:lnTo>
                    <a:lnTo>
                      <a:pt x="181" y="530"/>
                    </a:lnTo>
                    <a:lnTo>
                      <a:pt x="180" y="516"/>
                    </a:lnTo>
                    <a:lnTo>
                      <a:pt x="195" y="515"/>
                    </a:lnTo>
                    <a:lnTo>
                      <a:pt x="214" y="506"/>
                    </a:lnTo>
                    <a:lnTo>
                      <a:pt x="224" y="507"/>
                    </a:lnTo>
                    <a:lnTo>
                      <a:pt x="226" y="516"/>
                    </a:lnTo>
                    <a:lnTo>
                      <a:pt x="241" y="525"/>
                    </a:lnTo>
                    <a:lnTo>
                      <a:pt x="245" y="523"/>
                    </a:lnTo>
                    <a:lnTo>
                      <a:pt x="251" y="546"/>
                    </a:lnTo>
                    <a:lnTo>
                      <a:pt x="265" y="536"/>
                    </a:lnTo>
                    <a:lnTo>
                      <a:pt x="281" y="536"/>
                    </a:lnTo>
                    <a:lnTo>
                      <a:pt x="290" y="555"/>
                    </a:lnTo>
                    <a:lnTo>
                      <a:pt x="297" y="555"/>
                    </a:lnTo>
                    <a:lnTo>
                      <a:pt x="304" y="546"/>
                    </a:lnTo>
                    <a:lnTo>
                      <a:pt x="341" y="532"/>
                    </a:lnTo>
                    <a:lnTo>
                      <a:pt x="395" y="536"/>
                    </a:lnTo>
                    <a:lnTo>
                      <a:pt x="409" y="525"/>
                    </a:lnTo>
                    <a:lnTo>
                      <a:pt x="426" y="520"/>
                    </a:lnTo>
                    <a:lnTo>
                      <a:pt x="433" y="525"/>
                    </a:lnTo>
                    <a:lnTo>
                      <a:pt x="441" y="479"/>
                    </a:lnTo>
                    <a:lnTo>
                      <a:pt x="445" y="465"/>
                    </a:lnTo>
                    <a:lnTo>
                      <a:pt x="598" y="365"/>
                    </a:lnTo>
                    <a:lnTo>
                      <a:pt x="613" y="363"/>
                    </a:lnTo>
                    <a:lnTo>
                      <a:pt x="616" y="368"/>
                    </a:lnTo>
                    <a:lnTo>
                      <a:pt x="623" y="403"/>
                    </a:lnTo>
                    <a:lnTo>
                      <a:pt x="639" y="405"/>
                    </a:lnTo>
                    <a:lnTo>
                      <a:pt x="662" y="396"/>
                    </a:lnTo>
                    <a:lnTo>
                      <a:pt x="700" y="389"/>
                    </a:lnTo>
                    <a:lnTo>
                      <a:pt x="712" y="373"/>
                    </a:lnTo>
                    <a:lnTo>
                      <a:pt x="733" y="324"/>
                    </a:lnTo>
                    <a:lnTo>
                      <a:pt x="753" y="296"/>
                    </a:lnTo>
                    <a:lnTo>
                      <a:pt x="764" y="294"/>
                    </a:lnTo>
                    <a:lnTo>
                      <a:pt x="818" y="308"/>
                    </a:lnTo>
                    <a:lnTo>
                      <a:pt x="839" y="306"/>
                    </a:lnTo>
                    <a:lnTo>
                      <a:pt x="860" y="301"/>
                    </a:lnTo>
                    <a:lnTo>
                      <a:pt x="888" y="280"/>
                    </a:lnTo>
                    <a:lnTo>
                      <a:pt x="916" y="235"/>
                    </a:lnTo>
                    <a:lnTo>
                      <a:pt x="934" y="215"/>
                    </a:lnTo>
                    <a:lnTo>
                      <a:pt x="1056" y="170"/>
                    </a:lnTo>
                    <a:lnTo>
                      <a:pt x="1071" y="159"/>
                    </a:lnTo>
                    <a:lnTo>
                      <a:pt x="1072" y="148"/>
                    </a:lnTo>
                    <a:lnTo>
                      <a:pt x="1071" y="136"/>
                    </a:lnTo>
                    <a:lnTo>
                      <a:pt x="1052" y="113"/>
                    </a:lnTo>
                    <a:lnTo>
                      <a:pt x="1032" y="106"/>
                    </a:lnTo>
                    <a:lnTo>
                      <a:pt x="1003" y="106"/>
                    </a:lnTo>
                    <a:lnTo>
                      <a:pt x="995" y="90"/>
                    </a:lnTo>
                    <a:lnTo>
                      <a:pt x="983" y="80"/>
                    </a:lnTo>
                    <a:lnTo>
                      <a:pt x="976" y="58"/>
                    </a:lnTo>
                    <a:lnTo>
                      <a:pt x="950" y="62"/>
                    </a:lnTo>
                    <a:lnTo>
                      <a:pt x="908" y="46"/>
                    </a:lnTo>
                    <a:lnTo>
                      <a:pt x="879" y="51"/>
                    </a:lnTo>
                    <a:lnTo>
                      <a:pt x="818" y="50"/>
                    </a:lnTo>
                    <a:lnTo>
                      <a:pt x="790" y="43"/>
                    </a:lnTo>
                    <a:lnTo>
                      <a:pt x="758" y="28"/>
                    </a:lnTo>
                    <a:lnTo>
                      <a:pt x="724" y="37"/>
                    </a:lnTo>
                    <a:lnTo>
                      <a:pt x="653" y="39"/>
                    </a:lnTo>
                    <a:lnTo>
                      <a:pt x="634" y="57"/>
                    </a:lnTo>
                    <a:lnTo>
                      <a:pt x="610" y="51"/>
                    </a:lnTo>
                    <a:lnTo>
                      <a:pt x="537" y="23"/>
                    </a:lnTo>
                    <a:lnTo>
                      <a:pt x="503" y="6"/>
                    </a:lnTo>
                    <a:lnTo>
                      <a:pt x="478" y="0"/>
                    </a:lnTo>
                    <a:lnTo>
                      <a:pt x="446" y="9"/>
                    </a:lnTo>
                    <a:lnTo>
                      <a:pt x="426" y="32"/>
                    </a:lnTo>
                    <a:lnTo>
                      <a:pt x="416" y="78"/>
                    </a:lnTo>
                    <a:lnTo>
                      <a:pt x="417" y="106"/>
                    </a:lnTo>
                    <a:lnTo>
                      <a:pt x="401" y="99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430" name="Freeform 194"/>
              <p:cNvSpPr>
                <a:spLocks/>
              </p:cNvSpPr>
              <p:nvPr>
                <p:custDataLst>
                  <p:tags r:id="rId255"/>
                </p:custDataLst>
              </p:nvPr>
            </p:nvSpPr>
            <p:spPr bwMode="auto">
              <a:xfrm>
                <a:off x="4523" y="1979"/>
                <a:ext cx="93" cy="111"/>
              </a:xfrm>
              <a:custGeom>
                <a:avLst/>
                <a:gdLst>
                  <a:gd name="T0" fmla="*/ 611 w 618"/>
                  <a:gd name="T1" fmla="*/ 70 h 755"/>
                  <a:gd name="T2" fmla="*/ 560 w 618"/>
                  <a:gd name="T3" fmla="*/ 0 h 755"/>
                  <a:gd name="T4" fmla="*/ 532 w 618"/>
                  <a:gd name="T5" fmla="*/ 31 h 755"/>
                  <a:gd name="T6" fmla="*/ 454 w 618"/>
                  <a:gd name="T7" fmla="*/ 127 h 755"/>
                  <a:gd name="T8" fmla="*/ 409 w 618"/>
                  <a:gd name="T9" fmla="*/ 123 h 755"/>
                  <a:gd name="T10" fmla="*/ 378 w 618"/>
                  <a:gd name="T11" fmla="*/ 119 h 755"/>
                  <a:gd name="T12" fmla="*/ 365 w 618"/>
                  <a:gd name="T13" fmla="*/ 156 h 755"/>
                  <a:gd name="T14" fmla="*/ 389 w 618"/>
                  <a:gd name="T15" fmla="*/ 211 h 755"/>
                  <a:gd name="T16" fmla="*/ 321 w 618"/>
                  <a:gd name="T17" fmla="*/ 224 h 755"/>
                  <a:gd name="T18" fmla="*/ 279 w 618"/>
                  <a:gd name="T19" fmla="*/ 199 h 755"/>
                  <a:gd name="T20" fmla="*/ 246 w 618"/>
                  <a:gd name="T21" fmla="*/ 174 h 755"/>
                  <a:gd name="T22" fmla="*/ 198 w 618"/>
                  <a:gd name="T23" fmla="*/ 249 h 755"/>
                  <a:gd name="T24" fmla="*/ 125 w 618"/>
                  <a:gd name="T25" fmla="*/ 316 h 755"/>
                  <a:gd name="T26" fmla="*/ 35 w 618"/>
                  <a:gd name="T27" fmla="*/ 374 h 755"/>
                  <a:gd name="T28" fmla="*/ 0 w 618"/>
                  <a:gd name="T29" fmla="*/ 434 h 755"/>
                  <a:gd name="T30" fmla="*/ 30 w 618"/>
                  <a:gd name="T31" fmla="*/ 471 h 755"/>
                  <a:gd name="T32" fmla="*/ 55 w 618"/>
                  <a:gd name="T33" fmla="*/ 468 h 755"/>
                  <a:gd name="T34" fmla="*/ 76 w 618"/>
                  <a:gd name="T35" fmla="*/ 466 h 755"/>
                  <a:gd name="T36" fmla="*/ 114 w 618"/>
                  <a:gd name="T37" fmla="*/ 500 h 755"/>
                  <a:gd name="T38" fmla="*/ 87 w 618"/>
                  <a:gd name="T39" fmla="*/ 576 h 755"/>
                  <a:gd name="T40" fmla="*/ 111 w 618"/>
                  <a:gd name="T41" fmla="*/ 609 h 755"/>
                  <a:gd name="T42" fmla="*/ 59 w 618"/>
                  <a:gd name="T43" fmla="*/ 648 h 755"/>
                  <a:gd name="T44" fmla="*/ 62 w 618"/>
                  <a:gd name="T45" fmla="*/ 694 h 755"/>
                  <a:gd name="T46" fmla="*/ 102 w 618"/>
                  <a:gd name="T47" fmla="*/ 733 h 755"/>
                  <a:gd name="T48" fmla="*/ 139 w 618"/>
                  <a:gd name="T49" fmla="*/ 708 h 755"/>
                  <a:gd name="T50" fmla="*/ 173 w 618"/>
                  <a:gd name="T51" fmla="*/ 752 h 755"/>
                  <a:gd name="T52" fmla="*/ 203 w 618"/>
                  <a:gd name="T53" fmla="*/ 718 h 755"/>
                  <a:gd name="T54" fmla="*/ 225 w 618"/>
                  <a:gd name="T55" fmla="*/ 722 h 755"/>
                  <a:gd name="T56" fmla="*/ 266 w 618"/>
                  <a:gd name="T57" fmla="*/ 660 h 755"/>
                  <a:gd name="T58" fmla="*/ 307 w 618"/>
                  <a:gd name="T59" fmla="*/ 651 h 755"/>
                  <a:gd name="T60" fmla="*/ 368 w 618"/>
                  <a:gd name="T61" fmla="*/ 655 h 755"/>
                  <a:gd name="T62" fmla="*/ 374 w 618"/>
                  <a:gd name="T63" fmla="*/ 591 h 755"/>
                  <a:gd name="T64" fmla="*/ 308 w 618"/>
                  <a:gd name="T65" fmla="*/ 519 h 755"/>
                  <a:gd name="T66" fmla="*/ 335 w 618"/>
                  <a:gd name="T67" fmla="*/ 445 h 755"/>
                  <a:gd name="T68" fmla="*/ 372 w 618"/>
                  <a:gd name="T69" fmla="*/ 419 h 755"/>
                  <a:gd name="T70" fmla="*/ 422 w 618"/>
                  <a:gd name="T71" fmla="*/ 404 h 755"/>
                  <a:gd name="T72" fmla="*/ 523 w 618"/>
                  <a:gd name="T73" fmla="*/ 318 h 755"/>
                  <a:gd name="T74" fmla="*/ 540 w 618"/>
                  <a:gd name="T75" fmla="*/ 236 h 755"/>
                  <a:gd name="T76" fmla="*/ 540 w 618"/>
                  <a:gd name="T77" fmla="*/ 183 h 755"/>
                  <a:gd name="T78" fmla="*/ 618 w 618"/>
                  <a:gd name="T79" fmla="*/ 95 h 755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618"/>
                  <a:gd name="T121" fmla="*/ 0 h 755"/>
                  <a:gd name="T122" fmla="*/ 618 w 618"/>
                  <a:gd name="T123" fmla="*/ 755 h 755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618" h="755">
                    <a:moveTo>
                      <a:pt x="618" y="95"/>
                    </a:moveTo>
                    <a:lnTo>
                      <a:pt x="611" y="70"/>
                    </a:lnTo>
                    <a:lnTo>
                      <a:pt x="572" y="0"/>
                    </a:lnTo>
                    <a:lnTo>
                      <a:pt x="560" y="0"/>
                    </a:lnTo>
                    <a:lnTo>
                      <a:pt x="550" y="8"/>
                    </a:lnTo>
                    <a:lnTo>
                      <a:pt x="532" y="31"/>
                    </a:lnTo>
                    <a:lnTo>
                      <a:pt x="521" y="75"/>
                    </a:lnTo>
                    <a:lnTo>
                      <a:pt x="454" y="127"/>
                    </a:lnTo>
                    <a:lnTo>
                      <a:pt x="430" y="127"/>
                    </a:lnTo>
                    <a:lnTo>
                      <a:pt x="409" y="123"/>
                    </a:lnTo>
                    <a:lnTo>
                      <a:pt x="394" y="116"/>
                    </a:lnTo>
                    <a:lnTo>
                      <a:pt x="378" y="119"/>
                    </a:lnTo>
                    <a:lnTo>
                      <a:pt x="365" y="135"/>
                    </a:lnTo>
                    <a:lnTo>
                      <a:pt x="365" y="156"/>
                    </a:lnTo>
                    <a:lnTo>
                      <a:pt x="386" y="204"/>
                    </a:lnTo>
                    <a:lnTo>
                      <a:pt x="389" y="211"/>
                    </a:lnTo>
                    <a:lnTo>
                      <a:pt x="365" y="222"/>
                    </a:lnTo>
                    <a:lnTo>
                      <a:pt x="321" y="224"/>
                    </a:lnTo>
                    <a:lnTo>
                      <a:pt x="299" y="215"/>
                    </a:lnTo>
                    <a:lnTo>
                      <a:pt x="279" y="199"/>
                    </a:lnTo>
                    <a:lnTo>
                      <a:pt x="267" y="174"/>
                    </a:lnTo>
                    <a:lnTo>
                      <a:pt x="246" y="174"/>
                    </a:lnTo>
                    <a:lnTo>
                      <a:pt x="230" y="183"/>
                    </a:lnTo>
                    <a:lnTo>
                      <a:pt x="198" y="249"/>
                    </a:lnTo>
                    <a:lnTo>
                      <a:pt x="170" y="283"/>
                    </a:lnTo>
                    <a:lnTo>
                      <a:pt x="125" y="316"/>
                    </a:lnTo>
                    <a:lnTo>
                      <a:pt x="58" y="353"/>
                    </a:lnTo>
                    <a:lnTo>
                      <a:pt x="35" y="374"/>
                    </a:lnTo>
                    <a:lnTo>
                      <a:pt x="16" y="403"/>
                    </a:lnTo>
                    <a:lnTo>
                      <a:pt x="0" y="434"/>
                    </a:lnTo>
                    <a:lnTo>
                      <a:pt x="7" y="449"/>
                    </a:lnTo>
                    <a:lnTo>
                      <a:pt x="30" y="471"/>
                    </a:lnTo>
                    <a:lnTo>
                      <a:pt x="39" y="477"/>
                    </a:lnTo>
                    <a:lnTo>
                      <a:pt x="55" y="468"/>
                    </a:lnTo>
                    <a:lnTo>
                      <a:pt x="71" y="466"/>
                    </a:lnTo>
                    <a:lnTo>
                      <a:pt x="76" y="466"/>
                    </a:lnTo>
                    <a:lnTo>
                      <a:pt x="105" y="484"/>
                    </a:lnTo>
                    <a:lnTo>
                      <a:pt x="114" y="500"/>
                    </a:lnTo>
                    <a:lnTo>
                      <a:pt x="105" y="521"/>
                    </a:lnTo>
                    <a:lnTo>
                      <a:pt x="87" y="576"/>
                    </a:lnTo>
                    <a:lnTo>
                      <a:pt x="114" y="593"/>
                    </a:lnTo>
                    <a:lnTo>
                      <a:pt x="111" y="609"/>
                    </a:lnTo>
                    <a:lnTo>
                      <a:pt x="78" y="623"/>
                    </a:lnTo>
                    <a:lnTo>
                      <a:pt x="59" y="648"/>
                    </a:lnTo>
                    <a:lnTo>
                      <a:pt x="55" y="667"/>
                    </a:lnTo>
                    <a:lnTo>
                      <a:pt x="62" y="694"/>
                    </a:lnTo>
                    <a:lnTo>
                      <a:pt x="92" y="717"/>
                    </a:lnTo>
                    <a:lnTo>
                      <a:pt x="102" y="733"/>
                    </a:lnTo>
                    <a:lnTo>
                      <a:pt x="111" y="755"/>
                    </a:lnTo>
                    <a:lnTo>
                      <a:pt x="139" y="708"/>
                    </a:lnTo>
                    <a:lnTo>
                      <a:pt x="157" y="715"/>
                    </a:lnTo>
                    <a:lnTo>
                      <a:pt x="173" y="752"/>
                    </a:lnTo>
                    <a:lnTo>
                      <a:pt x="188" y="740"/>
                    </a:lnTo>
                    <a:lnTo>
                      <a:pt x="203" y="718"/>
                    </a:lnTo>
                    <a:lnTo>
                      <a:pt x="214" y="731"/>
                    </a:lnTo>
                    <a:lnTo>
                      <a:pt x="225" y="722"/>
                    </a:lnTo>
                    <a:lnTo>
                      <a:pt x="238" y="706"/>
                    </a:lnTo>
                    <a:lnTo>
                      <a:pt x="266" y="660"/>
                    </a:lnTo>
                    <a:lnTo>
                      <a:pt x="280" y="651"/>
                    </a:lnTo>
                    <a:lnTo>
                      <a:pt x="307" y="651"/>
                    </a:lnTo>
                    <a:lnTo>
                      <a:pt x="354" y="662"/>
                    </a:lnTo>
                    <a:lnTo>
                      <a:pt x="368" y="655"/>
                    </a:lnTo>
                    <a:lnTo>
                      <a:pt x="393" y="613"/>
                    </a:lnTo>
                    <a:lnTo>
                      <a:pt x="374" y="591"/>
                    </a:lnTo>
                    <a:lnTo>
                      <a:pt x="320" y="540"/>
                    </a:lnTo>
                    <a:lnTo>
                      <a:pt x="308" y="519"/>
                    </a:lnTo>
                    <a:lnTo>
                      <a:pt x="324" y="464"/>
                    </a:lnTo>
                    <a:lnTo>
                      <a:pt x="335" y="445"/>
                    </a:lnTo>
                    <a:lnTo>
                      <a:pt x="346" y="431"/>
                    </a:lnTo>
                    <a:lnTo>
                      <a:pt x="372" y="419"/>
                    </a:lnTo>
                    <a:lnTo>
                      <a:pt x="402" y="417"/>
                    </a:lnTo>
                    <a:lnTo>
                      <a:pt x="422" y="404"/>
                    </a:lnTo>
                    <a:lnTo>
                      <a:pt x="493" y="327"/>
                    </a:lnTo>
                    <a:lnTo>
                      <a:pt x="523" y="318"/>
                    </a:lnTo>
                    <a:lnTo>
                      <a:pt x="532" y="265"/>
                    </a:lnTo>
                    <a:lnTo>
                      <a:pt x="540" y="236"/>
                    </a:lnTo>
                    <a:lnTo>
                      <a:pt x="534" y="208"/>
                    </a:lnTo>
                    <a:lnTo>
                      <a:pt x="540" y="183"/>
                    </a:lnTo>
                    <a:lnTo>
                      <a:pt x="557" y="153"/>
                    </a:lnTo>
                    <a:lnTo>
                      <a:pt x="618" y="95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431" name="Freeform 195"/>
              <p:cNvSpPr>
                <a:spLocks/>
              </p:cNvSpPr>
              <p:nvPr>
                <p:custDataLst>
                  <p:tags r:id="rId256"/>
                </p:custDataLst>
              </p:nvPr>
            </p:nvSpPr>
            <p:spPr bwMode="auto">
              <a:xfrm>
                <a:off x="4052" y="2272"/>
                <a:ext cx="131" cy="328"/>
              </a:xfrm>
              <a:custGeom>
                <a:avLst/>
                <a:gdLst>
                  <a:gd name="T0" fmla="*/ 588 w 872"/>
                  <a:gd name="T1" fmla="*/ 92 h 2224"/>
                  <a:gd name="T2" fmla="*/ 538 w 872"/>
                  <a:gd name="T3" fmla="*/ 0 h 2224"/>
                  <a:gd name="T4" fmla="*/ 510 w 872"/>
                  <a:gd name="T5" fmla="*/ 58 h 2224"/>
                  <a:gd name="T6" fmla="*/ 477 w 872"/>
                  <a:gd name="T7" fmla="*/ 122 h 2224"/>
                  <a:gd name="T8" fmla="*/ 409 w 872"/>
                  <a:gd name="T9" fmla="*/ 148 h 2224"/>
                  <a:gd name="T10" fmla="*/ 291 w 872"/>
                  <a:gd name="T11" fmla="*/ 254 h 2224"/>
                  <a:gd name="T12" fmla="*/ 246 w 872"/>
                  <a:gd name="T13" fmla="*/ 381 h 2224"/>
                  <a:gd name="T14" fmla="*/ 252 w 872"/>
                  <a:gd name="T15" fmla="*/ 435 h 2224"/>
                  <a:gd name="T16" fmla="*/ 182 w 872"/>
                  <a:gd name="T17" fmla="*/ 567 h 2224"/>
                  <a:gd name="T18" fmla="*/ 122 w 872"/>
                  <a:gd name="T19" fmla="*/ 559 h 2224"/>
                  <a:gd name="T20" fmla="*/ 102 w 872"/>
                  <a:gd name="T21" fmla="*/ 675 h 2224"/>
                  <a:gd name="T22" fmla="*/ 98 w 872"/>
                  <a:gd name="T23" fmla="*/ 774 h 2224"/>
                  <a:gd name="T24" fmla="*/ 64 w 872"/>
                  <a:gd name="T25" fmla="*/ 795 h 2224"/>
                  <a:gd name="T26" fmla="*/ 11 w 872"/>
                  <a:gd name="T27" fmla="*/ 903 h 2224"/>
                  <a:gd name="T28" fmla="*/ 27 w 872"/>
                  <a:gd name="T29" fmla="*/ 968 h 2224"/>
                  <a:gd name="T30" fmla="*/ 77 w 872"/>
                  <a:gd name="T31" fmla="*/ 998 h 2224"/>
                  <a:gd name="T32" fmla="*/ 93 w 872"/>
                  <a:gd name="T33" fmla="*/ 1044 h 2224"/>
                  <a:gd name="T34" fmla="*/ 158 w 872"/>
                  <a:gd name="T35" fmla="*/ 1093 h 2224"/>
                  <a:gd name="T36" fmla="*/ 151 w 872"/>
                  <a:gd name="T37" fmla="*/ 1135 h 2224"/>
                  <a:gd name="T38" fmla="*/ 168 w 872"/>
                  <a:gd name="T39" fmla="*/ 1172 h 2224"/>
                  <a:gd name="T40" fmla="*/ 225 w 872"/>
                  <a:gd name="T41" fmla="*/ 1269 h 2224"/>
                  <a:gd name="T42" fmla="*/ 198 w 872"/>
                  <a:gd name="T43" fmla="*/ 1500 h 2224"/>
                  <a:gd name="T44" fmla="*/ 224 w 872"/>
                  <a:gd name="T45" fmla="*/ 1517 h 2224"/>
                  <a:gd name="T46" fmla="*/ 264 w 872"/>
                  <a:gd name="T47" fmla="*/ 1507 h 2224"/>
                  <a:gd name="T48" fmla="*/ 279 w 872"/>
                  <a:gd name="T49" fmla="*/ 1546 h 2224"/>
                  <a:gd name="T50" fmla="*/ 305 w 872"/>
                  <a:gd name="T51" fmla="*/ 1549 h 2224"/>
                  <a:gd name="T52" fmla="*/ 335 w 872"/>
                  <a:gd name="T53" fmla="*/ 1540 h 2224"/>
                  <a:gd name="T54" fmla="*/ 445 w 872"/>
                  <a:gd name="T55" fmla="*/ 1443 h 2224"/>
                  <a:gd name="T56" fmla="*/ 466 w 872"/>
                  <a:gd name="T57" fmla="*/ 1364 h 2224"/>
                  <a:gd name="T58" fmla="*/ 514 w 872"/>
                  <a:gd name="T59" fmla="*/ 1463 h 2224"/>
                  <a:gd name="T60" fmla="*/ 538 w 872"/>
                  <a:gd name="T61" fmla="*/ 1484 h 2224"/>
                  <a:gd name="T62" fmla="*/ 596 w 872"/>
                  <a:gd name="T63" fmla="*/ 1807 h 2224"/>
                  <a:gd name="T64" fmla="*/ 642 w 872"/>
                  <a:gd name="T65" fmla="*/ 1996 h 2224"/>
                  <a:gd name="T66" fmla="*/ 640 w 872"/>
                  <a:gd name="T67" fmla="*/ 2044 h 2224"/>
                  <a:gd name="T68" fmla="*/ 644 w 872"/>
                  <a:gd name="T69" fmla="*/ 2111 h 2224"/>
                  <a:gd name="T70" fmla="*/ 618 w 872"/>
                  <a:gd name="T71" fmla="*/ 2215 h 2224"/>
                  <a:gd name="T72" fmla="*/ 728 w 872"/>
                  <a:gd name="T73" fmla="*/ 2032 h 2224"/>
                  <a:gd name="T74" fmla="*/ 683 w 872"/>
                  <a:gd name="T75" fmla="*/ 1875 h 2224"/>
                  <a:gd name="T76" fmla="*/ 675 w 872"/>
                  <a:gd name="T77" fmla="*/ 1778 h 2224"/>
                  <a:gd name="T78" fmla="*/ 589 w 872"/>
                  <a:gd name="T79" fmla="*/ 1623 h 2224"/>
                  <a:gd name="T80" fmla="*/ 624 w 872"/>
                  <a:gd name="T81" fmla="*/ 1526 h 2224"/>
                  <a:gd name="T82" fmla="*/ 657 w 872"/>
                  <a:gd name="T83" fmla="*/ 1487 h 2224"/>
                  <a:gd name="T84" fmla="*/ 555 w 872"/>
                  <a:gd name="T85" fmla="*/ 1337 h 2224"/>
                  <a:gd name="T86" fmla="*/ 515 w 872"/>
                  <a:gd name="T87" fmla="*/ 1232 h 2224"/>
                  <a:gd name="T88" fmla="*/ 552 w 872"/>
                  <a:gd name="T89" fmla="*/ 1212 h 2224"/>
                  <a:gd name="T90" fmla="*/ 555 w 872"/>
                  <a:gd name="T91" fmla="*/ 1116 h 2224"/>
                  <a:gd name="T92" fmla="*/ 600 w 872"/>
                  <a:gd name="T93" fmla="*/ 1077 h 2224"/>
                  <a:gd name="T94" fmla="*/ 691 w 872"/>
                  <a:gd name="T95" fmla="*/ 1028 h 2224"/>
                  <a:gd name="T96" fmla="*/ 763 w 872"/>
                  <a:gd name="T97" fmla="*/ 996 h 2224"/>
                  <a:gd name="T98" fmla="*/ 850 w 872"/>
                  <a:gd name="T99" fmla="*/ 887 h 2224"/>
                  <a:gd name="T100" fmla="*/ 861 w 872"/>
                  <a:gd name="T101" fmla="*/ 834 h 2224"/>
                  <a:gd name="T102" fmla="*/ 793 w 872"/>
                  <a:gd name="T103" fmla="*/ 860 h 2224"/>
                  <a:gd name="T104" fmla="*/ 748 w 872"/>
                  <a:gd name="T105" fmla="*/ 784 h 2224"/>
                  <a:gd name="T106" fmla="*/ 690 w 872"/>
                  <a:gd name="T107" fmla="*/ 761 h 2224"/>
                  <a:gd name="T108" fmla="*/ 698 w 872"/>
                  <a:gd name="T109" fmla="*/ 654 h 2224"/>
                  <a:gd name="T110" fmla="*/ 651 w 872"/>
                  <a:gd name="T111" fmla="*/ 543 h 2224"/>
                  <a:gd name="T112" fmla="*/ 589 w 872"/>
                  <a:gd name="T113" fmla="*/ 541 h 2224"/>
                  <a:gd name="T114" fmla="*/ 530 w 872"/>
                  <a:gd name="T115" fmla="*/ 567 h 2224"/>
                  <a:gd name="T116" fmla="*/ 530 w 872"/>
                  <a:gd name="T117" fmla="*/ 455 h 2224"/>
                  <a:gd name="T118" fmla="*/ 585 w 872"/>
                  <a:gd name="T119" fmla="*/ 379 h 2224"/>
                  <a:gd name="T120" fmla="*/ 640 w 872"/>
                  <a:gd name="T121" fmla="*/ 118 h 222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872"/>
                  <a:gd name="T184" fmla="*/ 0 h 2224"/>
                  <a:gd name="T185" fmla="*/ 872 w 872"/>
                  <a:gd name="T186" fmla="*/ 2224 h 2224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872" h="2224">
                    <a:moveTo>
                      <a:pt x="609" y="113"/>
                    </a:moveTo>
                    <a:lnTo>
                      <a:pt x="597" y="110"/>
                    </a:lnTo>
                    <a:lnTo>
                      <a:pt x="588" y="92"/>
                    </a:lnTo>
                    <a:lnTo>
                      <a:pt x="577" y="41"/>
                    </a:lnTo>
                    <a:lnTo>
                      <a:pt x="559" y="16"/>
                    </a:lnTo>
                    <a:lnTo>
                      <a:pt x="538" y="0"/>
                    </a:lnTo>
                    <a:lnTo>
                      <a:pt x="526" y="4"/>
                    </a:lnTo>
                    <a:lnTo>
                      <a:pt x="511" y="23"/>
                    </a:lnTo>
                    <a:lnTo>
                      <a:pt x="510" y="58"/>
                    </a:lnTo>
                    <a:lnTo>
                      <a:pt x="506" y="73"/>
                    </a:lnTo>
                    <a:lnTo>
                      <a:pt x="479" y="106"/>
                    </a:lnTo>
                    <a:lnTo>
                      <a:pt x="477" y="122"/>
                    </a:lnTo>
                    <a:lnTo>
                      <a:pt x="483" y="163"/>
                    </a:lnTo>
                    <a:lnTo>
                      <a:pt x="472" y="166"/>
                    </a:lnTo>
                    <a:lnTo>
                      <a:pt x="409" y="148"/>
                    </a:lnTo>
                    <a:lnTo>
                      <a:pt x="395" y="155"/>
                    </a:lnTo>
                    <a:lnTo>
                      <a:pt x="300" y="235"/>
                    </a:lnTo>
                    <a:lnTo>
                      <a:pt x="291" y="254"/>
                    </a:lnTo>
                    <a:lnTo>
                      <a:pt x="294" y="297"/>
                    </a:lnTo>
                    <a:lnTo>
                      <a:pt x="288" y="318"/>
                    </a:lnTo>
                    <a:lnTo>
                      <a:pt x="246" y="381"/>
                    </a:lnTo>
                    <a:lnTo>
                      <a:pt x="244" y="394"/>
                    </a:lnTo>
                    <a:lnTo>
                      <a:pt x="252" y="418"/>
                    </a:lnTo>
                    <a:lnTo>
                      <a:pt x="252" y="435"/>
                    </a:lnTo>
                    <a:lnTo>
                      <a:pt x="202" y="560"/>
                    </a:lnTo>
                    <a:lnTo>
                      <a:pt x="195" y="569"/>
                    </a:lnTo>
                    <a:lnTo>
                      <a:pt x="182" y="567"/>
                    </a:lnTo>
                    <a:lnTo>
                      <a:pt x="163" y="562"/>
                    </a:lnTo>
                    <a:lnTo>
                      <a:pt x="127" y="545"/>
                    </a:lnTo>
                    <a:lnTo>
                      <a:pt x="122" y="559"/>
                    </a:lnTo>
                    <a:lnTo>
                      <a:pt x="127" y="649"/>
                    </a:lnTo>
                    <a:lnTo>
                      <a:pt x="121" y="668"/>
                    </a:lnTo>
                    <a:lnTo>
                      <a:pt x="102" y="675"/>
                    </a:lnTo>
                    <a:lnTo>
                      <a:pt x="93" y="686"/>
                    </a:lnTo>
                    <a:lnTo>
                      <a:pt x="100" y="737"/>
                    </a:lnTo>
                    <a:lnTo>
                      <a:pt x="98" y="774"/>
                    </a:lnTo>
                    <a:lnTo>
                      <a:pt x="86" y="795"/>
                    </a:lnTo>
                    <a:lnTo>
                      <a:pt x="76" y="802"/>
                    </a:lnTo>
                    <a:lnTo>
                      <a:pt x="64" y="795"/>
                    </a:lnTo>
                    <a:lnTo>
                      <a:pt x="37" y="786"/>
                    </a:lnTo>
                    <a:lnTo>
                      <a:pt x="47" y="874"/>
                    </a:lnTo>
                    <a:lnTo>
                      <a:pt x="11" y="903"/>
                    </a:lnTo>
                    <a:lnTo>
                      <a:pt x="0" y="922"/>
                    </a:lnTo>
                    <a:lnTo>
                      <a:pt x="4" y="936"/>
                    </a:lnTo>
                    <a:lnTo>
                      <a:pt x="27" y="968"/>
                    </a:lnTo>
                    <a:lnTo>
                      <a:pt x="52" y="994"/>
                    </a:lnTo>
                    <a:lnTo>
                      <a:pt x="69" y="991"/>
                    </a:lnTo>
                    <a:lnTo>
                      <a:pt x="77" y="998"/>
                    </a:lnTo>
                    <a:lnTo>
                      <a:pt x="79" y="1005"/>
                    </a:lnTo>
                    <a:lnTo>
                      <a:pt x="76" y="1030"/>
                    </a:lnTo>
                    <a:lnTo>
                      <a:pt x="93" y="1044"/>
                    </a:lnTo>
                    <a:lnTo>
                      <a:pt x="110" y="1038"/>
                    </a:lnTo>
                    <a:lnTo>
                      <a:pt x="119" y="1040"/>
                    </a:lnTo>
                    <a:lnTo>
                      <a:pt x="158" y="1093"/>
                    </a:lnTo>
                    <a:lnTo>
                      <a:pt x="159" y="1107"/>
                    </a:lnTo>
                    <a:lnTo>
                      <a:pt x="167" y="1135"/>
                    </a:lnTo>
                    <a:lnTo>
                      <a:pt x="151" y="1135"/>
                    </a:lnTo>
                    <a:lnTo>
                      <a:pt x="131" y="1143"/>
                    </a:lnTo>
                    <a:lnTo>
                      <a:pt x="155" y="1165"/>
                    </a:lnTo>
                    <a:lnTo>
                      <a:pt x="168" y="1172"/>
                    </a:lnTo>
                    <a:lnTo>
                      <a:pt x="182" y="1142"/>
                    </a:lnTo>
                    <a:lnTo>
                      <a:pt x="188" y="1158"/>
                    </a:lnTo>
                    <a:lnTo>
                      <a:pt x="225" y="1269"/>
                    </a:lnTo>
                    <a:lnTo>
                      <a:pt x="231" y="1375"/>
                    </a:lnTo>
                    <a:lnTo>
                      <a:pt x="223" y="1417"/>
                    </a:lnTo>
                    <a:lnTo>
                      <a:pt x="198" y="1500"/>
                    </a:lnTo>
                    <a:lnTo>
                      <a:pt x="198" y="1524"/>
                    </a:lnTo>
                    <a:lnTo>
                      <a:pt x="214" y="1532"/>
                    </a:lnTo>
                    <a:lnTo>
                      <a:pt x="224" y="1517"/>
                    </a:lnTo>
                    <a:lnTo>
                      <a:pt x="237" y="1510"/>
                    </a:lnTo>
                    <a:lnTo>
                      <a:pt x="264" y="1502"/>
                    </a:lnTo>
                    <a:lnTo>
                      <a:pt x="264" y="1507"/>
                    </a:lnTo>
                    <a:lnTo>
                      <a:pt x="258" y="1533"/>
                    </a:lnTo>
                    <a:lnTo>
                      <a:pt x="266" y="1546"/>
                    </a:lnTo>
                    <a:lnTo>
                      <a:pt x="279" y="1546"/>
                    </a:lnTo>
                    <a:lnTo>
                      <a:pt x="294" y="1526"/>
                    </a:lnTo>
                    <a:lnTo>
                      <a:pt x="305" y="1526"/>
                    </a:lnTo>
                    <a:lnTo>
                      <a:pt x="305" y="1549"/>
                    </a:lnTo>
                    <a:lnTo>
                      <a:pt x="315" y="1565"/>
                    </a:lnTo>
                    <a:lnTo>
                      <a:pt x="323" y="1556"/>
                    </a:lnTo>
                    <a:lnTo>
                      <a:pt x="335" y="1540"/>
                    </a:lnTo>
                    <a:lnTo>
                      <a:pt x="352" y="1507"/>
                    </a:lnTo>
                    <a:lnTo>
                      <a:pt x="426" y="1464"/>
                    </a:lnTo>
                    <a:lnTo>
                      <a:pt x="445" y="1443"/>
                    </a:lnTo>
                    <a:lnTo>
                      <a:pt x="453" y="1420"/>
                    </a:lnTo>
                    <a:lnTo>
                      <a:pt x="456" y="1366"/>
                    </a:lnTo>
                    <a:lnTo>
                      <a:pt x="466" y="1364"/>
                    </a:lnTo>
                    <a:lnTo>
                      <a:pt x="477" y="1376"/>
                    </a:lnTo>
                    <a:lnTo>
                      <a:pt x="498" y="1413"/>
                    </a:lnTo>
                    <a:lnTo>
                      <a:pt x="514" y="1463"/>
                    </a:lnTo>
                    <a:lnTo>
                      <a:pt x="519" y="1468"/>
                    </a:lnTo>
                    <a:lnTo>
                      <a:pt x="534" y="1473"/>
                    </a:lnTo>
                    <a:lnTo>
                      <a:pt x="538" y="1484"/>
                    </a:lnTo>
                    <a:lnTo>
                      <a:pt x="551" y="1644"/>
                    </a:lnTo>
                    <a:lnTo>
                      <a:pt x="559" y="1692"/>
                    </a:lnTo>
                    <a:lnTo>
                      <a:pt x="596" y="1807"/>
                    </a:lnTo>
                    <a:lnTo>
                      <a:pt x="625" y="1871"/>
                    </a:lnTo>
                    <a:lnTo>
                      <a:pt x="634" y="1915"/>
                    </a:lnTo>
                    <a:lnTo>
                      <a:pt x="642" y="1996"/>
                    </a:lnTo>
                    <a:lnTo>
                      <a:pt x="633" y="2025"/>
                    </a:lnTo>
                    <a:lnTo>
                      <a:pt x="633" y="2039"/>
                    </a:lnTo>
                    <a:lnTo>
                      <a:pt x="640" y="2044"/>
                    </a:lnTo>
                    <a:lnTo>
                      <a:pt x="662" y="2044"/>
                    </a:lnTo>
                    <a:lnTo>
                      <a:pt x="649" y="2069"/>
                    </a:lnTo>
                    <a:lnTo>
                      <a:pt x="644" y="2111"/>
                    </a:lnTo>
                    <a:lnTo>
                      <a:pt x="634" y="2138"/>
                    </a:lnTo>
                    <a:lnTo>
                      <a:pt x="616" y="2173"/>
                    </a:lnTo>
                    <a:lnTo>
                      <a:pt x="618" y="2215"/>
                    </a:lnTo>
                    <a:lnTo>
                      <a:pt x="634" y="2224"/>
                    </a:lnTo>
                    <a:lnTo>
                      <a:pt x="640" y="2205"/>
                    </a:lnTo>
                    <a:lnTo>
                      <a:pt x="728" y="2032"/>
                    </a:lnTo>
                    <a:lnTo>
                      <a:pt x="731" y="2016"/>
                    </a:lnTo>
                    <a:lnTo>
                      <a:pt x="683" y="1887"/>
                    </a:lnTo>
                    <a:lnTo>
                      <a:pt x="683" y="1875"/>
                    </a:lnTo>
                    <a:lnTo>
                      <a:pt x="687" y="1839"/>
                    </a:lnTo>
                    <a:lnTo>
                      <a:pt x="683" y="1803"/>
                    </a:lnTo>
                    <a:lnTo>
                      <a:pt x="675" y="1778"/>
                    </a:lnTo>
                    <a:lnTo>
                      <a:pt x="625" y="1720"/>
                    </a:lnTo>
                    <a:lnTo>
                      <a:pt x="597" y="1643"/>
                    </a:lnTo>
                    <a:lnTo>
                      <a:pt x="589" y="1623"/>
                    </a:lnTo>
                    <a:lnTo>
                      <a:pt x="626" y="1600"/>
                    </a:lnTo>
                    <a:lnTo>
                      <a:pt x="633" y="1590"/>
                    </a:lnTo>
                    <a:lnTo>
                      <a:pt x="624" y="1526"/>
                    </a:lnTo>
                    <a:lnTo>
                      <a:pt x="629" y="1514"/>
                    </a:lnTo>
                    <a:lnTo>
                      <a:pt x="649" y="1502"/>
                    </a:lnTo>
                    <a:lnTo>
                      <a:pt x="657" y="1487"/>
                    </a:lnTo>
                    <a:lnTo>
                      <a:pt x="614" y="1396"/>
                    </a:lnTo>
                    <a:lnTo>
                      <a:pt x="567" y="1345"/>
                    </a:lnTo>
                    <a:lnTo>
                      <a:pt x="555" y="1337"/>
                    </a:lnTo>
                    <a:lnTo>
                      <a:pt x="551" y="1290"/>
                    </a:lnTo>
                    <a:lnTo>
                      <a:pt x="547" y="1279"/>
                    </a:lnTo>
                    <a:lnTo>
                      <a:pt x="515" y="1232"/>
                    </a:lnTo>
                    <a:lnTo>
                      <a:pt x="540" y="1225"/>
                    </a:lnTo>
                    <a:lnTo>
                      <a:pt x="547" y="1225"/>
                    </a:lnTo>
                    <a:lnTo>
                      <a:pt x="552" y="1212"/>
                    </a:lnTo>
                    <a:lnTo>
                      <a:pt x="548" y="1189"/>
                    </a:lnTo>
                    <a:lnTo>
                      <a:pt x="554" y="1161"/>
                    </a:lnTo>
                    <a:lnTo>
                      <a:pt x="555" y="1116"/>
                    </a:lnTo>
                    <a:lnTo>
                      <a:pt x="563" y="1097"/>
                    </a:lnTo>
                    <a:lnTo>
                      <a:pt x="577" y="1074"/>
                    </a:lnTo>
                    <a:lnTo>
                      <a:pt x="600" y="1077"/>
                    </a:lnTo>
                    <a:lnTo>
                      <a:pt x="626" y="1077"/>
                    </a:lnTo>
                    <a:lnTo>
                      <a:pt x="674" y="1060"/>
                    </a:lnTo>
                    <a:lnTo>
                      <a:pt x="691" y="1028"/>
                    </a:lnTo>
                    <a:lnTo>
                      <a:pt x="714" y="1008"/>
                    </a:lnTo>
                    <a:lnTo>
                      <a:pt x="732" y="1000"/>
                    </a:lnTo>
                    <a:lnTo>
                      <a:pt x="763" y="996"/>
                    </a:lnTo>
                    <a:lnTo>
                      <a:pt x="768" y="993"/>
                    </a:lnTo>
                    <a:lnTo>
                      <a:pt x="806" y="952"/>
                    </a:lnTo>
                    <a:lnTo>
                      <a:pt x="850" y="887"/>
                    </a:lnTo>
                    <a:lnTo>
                      <a:pt x="872" y="867"/>
                    </a:lnTo>
                    <a:lnTo>
                      <a:pt x="865" y="855"/>
                    </a:lnTo>
                    <a:lnTo>
                      <a:pt x="861" y="834"/>
                    </a:lnTo>
                    <a:lnTo>
                      <a:pt x="832" y="857"/>
                    </a:lnTo>
                    <a:lnTo>
                      <a:pt x="804" y="866"/>
                    </a:lnTo>
                    <a:lnTo>
                      <a:pt x="793" y="860"/>
                    </a:lnTo>
                    <a:lnTo>
                      <a:pt x="776" y="846"/>
                    </a:lnTo>
                    <a:lnTo>
                      <a:pt x="761" y="804"/>
                    </a:lnTo>
                    <a:lnTo>
                      <a:pt x="748" y="784"/>
                    </a:lnTo>
                    <a:lnTo>
                      <a:pt x="704" y="786"/>
                    </a:lnTo>
                    <a:lnTo>
                      <a:pt x="694" y="781"/>
                    </a:lnTo>
                    <a:lnTo>
                      <a:pt x="690" y="761"/>
                    </a:lnTo>
                    <a:lnTo>
                      <a:pt x="720" y="673"/>
                    </a:lnTo>
                    <a:lnTo>
                      <a:pt x="720" y="659"/>
                    </a:lnTo>
                    <a:lnTo>
                      <a:pt x="698" y="654"/>
                    </a:lnTo>
                    <a:lnTo>
                      <a:pt x="674" y="657"/>
                    </a:lnTo>
                    <a:lnTo>
                      <a:pt x="665" y="640"/>
                    </a:lnTo>
                    <a:lnTo>
                      <a:pt x="651" y="543"/>
                    </a:lnTo>
                    <a:lnTo>
                      <a:pt x="645" y="536"/>
                    </a:lnTo>
                    <a:lnTo>
                      <a:pt x="624" y="536"/>
                    </a:lnTo>
                    <a:lnTo>
                      <a:pt x="589" y="541"/>
                    </a:lnTo>
                    <a:lnTo>
                      <a:pt x="554" y="566"/>
                    </a:lnTo>
                    <a:lnTo>
                      <a:pt x="540" y="571"/>
                    </a:lnTo>
                    <a:lnTo>
                      <a:pt x="530" y="567"/>
                    </a:lnTo>
                    <a:lnTo>
                      <a:pt x="530" y="552"/>
                    </a:lnTo>
                    <a:lnTo>
                      <a:pt x="540" y="520"/>
                    </a:lnTo>
                    <a:lnTo>
                      <a:pt x="530" y="455"/>
                    </a:lnTo>
                    <a:lnTo>
                      <a:pt x="556" y="406"/>
                    </a:lnTo>
                    <a:lnTo>
                      <a:pt x="565" y="395"/>
                    </a:lnTo>
                    <a:lnTo>
                      <a:pt x="585" y="379"/>
                    </a:lnTo>
                    <a:lnTo>
                      <a:pt x="614" y="349"/>
                    </a:lnTo>
                    <a:lnTo>
                      <a:pt x="649" y="261"/>
                    </a:lnTo>
                    <a:lnTo>
                      <a:pt x="640" y="118"/>
                    </a:lnTo>
                    <a:lnTo>
                      <a:pt x="632" y="111"/>
                    </a:lnTo>
                    <a:lnTo>
                      <a:pt x="609" y="113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432" name="Freeform 196"/>
              <p:cNvSpPr>
                <a:spLocks/>
              </p:cNvSpPr>
              <p:nvPr>
                <p:custDataLst>
                  <p:tags r:id="rId257"/>
                </p:custDataLst>
              </p:nvPr>
            </p:nvSpPr>
            <p:spPr bwMode="auto">
              <a:xfrm>
                <a:off x="3993" y="2309"/>
                <a:ext cx="67" cy="99"/>
              </a:xfrm>
              <a:custGeom>
                <a:avLst/>
                <a:gdLst>
                  <a:gd name="T0" fmla="*/ 410 w 450"/>
                  <a:gd name="T1" fmla="*/ 160 h 659"/>
                  <a:gd name="T2" fmla="*/ 295 w 450"/>
                  <a:gd name="T3" fmla="*/ 143 h 659"/>
                  <a:gd name="T4" fmla="*/ 182 w 450"/>
                  <a:gd name="T5" fmla="*/ 136 h 659"/>
                  <a:gd name="T6" fmla="*/ 172 w 450"/>
                  <a:gd name="T7" fmla="*/ 64 h 659"/>
                  <a:gd name="T8" fmla="*/ 148 w 450"/>
                  <a:gd name="T9" fmla="*/ 42 h 659"/>
                  <a:gd name="T10" fmla="*/ 95 w 450"/>
                  <a:gd name="T11" fmla="*/ 16 h 659"/>
                  <a:gd name="T12" fmla="*/ 30 w 450"/>
                  <a:gd name="T13" fmla="*/ 9 h 659"/>
                  <a:gd name="T14" fmla="*/ 0 w 450"/>
                  <a:gd name="T15" fmla="*/ 55 h 659"/>
                  <a:gd name="T16" fmla="*/ 26 w 450"/>
                  <a:gd name="T17" fmla="*/ 76 h 659"/>
                  <a:gd name="T18" fmla="*/ 84 w 450"/>
                  <a:gd name="T19" fmla="*/ 136 h 659"/>
                  <a:gd name="T20" fmla="*/ 43 w 450"/>
                  <a:gd name="T21" fmla="*/ 158 h 659"/>
                  <a:gd name="T22" fmla="*/ 2 w 450"/>
                  <a:gd name="T23" fmla="*/ 209 h 659"/>
                  <a:gd name="T24" fmla="*/ 63 w 450"/>
                  <a:gd name="T25" fmla="*/ 250 h 659"/>
                  <a:gd name="T26" fmla="*/ 70 w 450"/>
                  <a:gd name="T27" fmla="*/ 276 h 659"/>
                  <a:gd name="T28" fmla="*/ 49 w 450"/>
                  <a:gd name="T29" fmla="*/ 334 h 659"/>
                  <a:gd name="T30" fmla="*/ 96 w 450"/>
                  <a:gd name="T31" fmla="*/ 534 h 659"/>
                  <a:gd name="T32" fmla="*/ 120 w 450"/>
                  <a:gd name="T33" fmla="*/ 578 h 659"/>
                  <a:gd name="T34" fmla="*/ 153 w 450"/>
                  <a:gd name="T35" fmla="*/ 573 h 659"/>
                  <a:gd name="T36" fmla="*/ 176 w 450"/>
                  <a:gd name="T37" fmla="*/ 557 h 659"/>
                  <a:gd name="T38" fmla="*/ 185 w 450"/>
                  <a:gd name="T39" fmla="*/ 523 h 659"/>
                  <a:gd name="T40" fmla="*/ 210 w 450"/>
                  <a:gd name="T41" fmla="*/ 569 h 659"/>
                  <a:gd name="T42" fmla="*/ 231 w 450"/>
                  <a:gd name="T43" fmla="*/ 534 h 659"/>
                  <a:gd name="T44" fmla="*/ 258 w 450"/>
                  <a:gd name="T45" fmla="*/ 520 h 659"/>
                  <a:gd name="T46" fmla="*/ 242 w 450"/>
                  <a:gd name="T47" fmla="*/ 453 h 659"/>
                  <a:gd name="T48" fmla="*/ 251 w 450"/>
                  <a:gd name="T49" fmla="*/ 416 h 659"/>
                  <a:gd name="T50" fmla="*/ 271 w 450"/>
                  <a:gd name="T51" fmla="*/ 451 h 659"/>
                  <a:gd name="T52" fmla="*/ 283 w 450"/>
                  <a:gd name="T53" fmla="*/ 467 h 659"/>
                  <a:gd name="T54" fmla="*/ 333 w 450"/>
                  <a:gd name="T55" fmla="*/ 447 h 659"/>
                  <a:gd name="T56" fmla="*/ 375 w 450"/>
                  <a:gd name="T57" fmla="*/ 548 h 659"/>
                  <a:gd name="T58" fmla="*/ 403 w 450"/>
                  <a:gd name="T59" fmla="*/ 659 h 659"/>
                  <a:gd name="T60" fmla="*/ 450 w 450"/>
                  <a:gd name="T61" fmla="*/ 611 h 659"/>
                  <a:gd name="T62" fmla="*/ 411 w 450"/>
                  <a:gd name="T63" fmla="*/ 359 h 659"/>
                  <a:gd name="T64" fmla="*/ 391 w 450"/>
                  <a:gd name="T65" fmla="*/ 331 h 659"/>
                  <a:gd name="T66" fmla="*/ 362 w 450"/>
                  <a:gd name="T67" fmla="*/ 401 h 659"/>
                  <a:gd name="T68" fmla="*/ 328 w 450"/>
                  <a:gd name="T69" fmla="*/ 396 h 659"/>
                  <a:gd name="T70" fmla="*/ 307 w 450"/>
                  <a:gd name="T71" fmla="*/ 315 h 659"/>
                  <a:gd name="T72" fmla="*/ 341 w 450"/>
                  <a:gd name="T73" fmla="*/ 280 h 659"/>
                  <a:gd name="T74" fmla="*/ 405 w 450"/>
                  <a:gd name="T75" fmla="*/ 230 h 659"/>
                  <a:gd name="T76" fmla="*/ 412 w 450"/>
                  <a:gd name="T77" fmla="*/ 167 h 659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450"/>
                  <a:gd name="T118" fmla="*/ 0 h 659"/>
                  <a:gd name="T119" fmla="*/ 450 w 450"/>
                  <a:gd name="T120" fmla="*/ 659 h 659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450" h="659">
                    <a:moveTo>
                      <a:pt x="412" y="167"/>
                    </a:moveTo>
                    <a:lnTo>
                      <a:pt x="410" y="160"/>
                    </a:lnTo>
                    <a:lnTo>
                      <a:pt x="405" y="155"/>
                    </a:lnTo>
                    <a:lnTo>
                      <a:pt x="295" y="143"/>
                    </a:lnTo>
                    <a:lnTo>
                      <a:pt x="230" y="146"/>
                    </a:lnTo>
                    <a:lnTo>
                      <a:pt x="182" y="136"/>
                    </a:lnTo>
                    <a:lnTo>
                      <a:pt x="178" y="131"/>
                    </a:lnTo>
                    <a:lnTo>
                      <a:pt x="172" y="64"/>
                    </a:lnTo>
                    <a:lnTo>
                      <a:pt x="166" y="46"/>
                    </a:lnTo>
                    <a:lnTo>
                      <a:pt x="148" y="42"/>
                    </a:lnTo>
                    <a:lnTo>
                      <a:pt x="127" y="46"/>
                    </a:lnTo>
                    <a:lnTo>
                      <a:pt x="95" y="16"/>
                    </a:lnTo>
                    <a:lnTo>
                      <a:pt x="41" y="0"/>
                    </a:lnTo>
                    <a:lnTo>
                      <a:pt x="30" y="9"/>
                    </a:lnTo>
                    <a:lnTo>
                      <a:pt x="5" y="39"/>
                    </a:lnTo>
                    <a:lnTo>
                      <a:pt x="0" y="55"/>
                    </a:lnTo>
                    <a:lnTo>
                      <a:pt x="3" y="64"/>
                    </a:lnTo>
                    <a:lnTo>
                      <a:pt x="26" y="76"/>
                    </a:lnTo>
                    <a:lnTo>
                      <a:pt x="79" y="129"/>
                    </a:lnTo>
                    <a:lnTo>
                      <a:pt x="84" y="136"/>
                    </a:lnTo>
                    <a:lnTo>
                      <a:pt x="83" y="143"/>
                    </a:lnTo>
                    <a:lnTo>
                      <a:pt x="43" y="158"/>
                    </a:lnTo>
                    <a:lnTo>
                      <a:pt x="27" y="174"/>
                    </a:lnTo>
                    <a:lnTo>
                      <a:pt x="2" y="209"/>
                    </a:lnTo>
                    <a:lnTo>
                      <a:pt x="17" y="227"/>
                    </a:lnTo>
                    <a:lnTo>
                      <a:pt x="63" y="250"/>
                    </a:lnTo>
                    <a:lnTo>
                      <a:pt x="71" y="262"/>
                    </a:lnTo>
                    <a:lnTo>
                      <a:pt x="70" y="276"/>
                    </a:lnTo>
                    <a:lnTo>
                      <a:pt x="47" y="320"/>
                    </a:lnTo>
                    <a:lnTo>
                      <a:pt x="49" y="334"/>
                    </a:lnTo>
                    <a:lnTo>
                      <a:pt x="66" y="359"/>
                    </a:lnTo>
                    <a:lnTo>
                      <a:pt x="96" y="534"/>
                    </a:lnTo>
                    <a:lnTo>
                      <a:pt x="104" y="564"/>
                    </a:lnTo>
                    <a:lnTo>
                      <a:pt x="120" y="578"/>
                    </a:lnTo>
                    <a:lnTo>
                      <a:pt x="141" y="543"/>
                    </a:lnTo>
                    <a:lnTo>
                      <a:pt x="153" y="573"/>
                    </a:lnTo>
                    <a:lnTo>
                      <a:pt x="162" y="571"/>
                    </a:lnTo>
                    <a:lnTo>
                      <a:pt x="176" y="557"/>
                    </a:lnTo>
                    <a:lnTo>
                      <a:pt x="182" y="520"/>
                    </a:lnTo>
                    <a:lnTo>
                      <a:pt x="185" y="523"/>
                    </a:lnTo>
                    <a:lnTo>
                      <a:pt x="199" y="544"/>
                    </a:lnTo>
                    <a:lnTo>
                      <a:pt x="210" y="569"/>
                    </a:lnTo>
                    <a:lnTo>
                      <a:pt x="221" y="564"/>
                    </a:lnTo>
                    <a:lnTo>
                      <a:pt x="231" y="534"/>
                    </a:lnTo>
                    <a:lnTo>
                      <a:pt x="252" y="528"/>
                    </a:lnTo>
                    <a:lnTo>
                      <a:pt x="258" y="520"/>
                    </a:lnTo>
                    <a:lnTo>
                      <a:pt x="258" y="497"/>
                    </a:lnTo>
                    <a:lnTo>
                      <a:pt x="242" y="453"/>
                    </a:lnTo>
                    <a:lnTo>
                      <a:pt x="243" y="423"/>
                    </a:lnTo>
                    <a:lnTo>
                      <a:pt x="251" y="416"/>
                    </a:lnTo>
                    <a:lnTo>
                      <a:pt x="255" y="419"/>
                    </a:lnTo>
                    <a:lnTo>
                      <a:pt x="271" y="451"/>
                    </a:lnTo>
                    <a:lnTo>
                      <a:pt x="282" y="463"/>
                    </a:lnTo>
                    <a:lnTo>
                      <a:pt x="283" y="467"/>
                    </a:lnTo>
                    <a:lnTo>
                      <a:pt x="301" y="467"/>
                    </a:lnTo>
                    <a:lnTo>
                      <a:pt x="333" y="447"/>
                    </a:lnTo>
                    <a:lnTo>
                      <a:pt x="349" y="470"/>
                    </a:lnTo>
                    <a:lnTo>
                      <a:pt x="375" y="548"/>
                    </a:lnTo>
                    <a:lnTo>
                      <a:pt x="386" y="615"/>
                    </a:lnTo>
                    <a:lnTo>
                      <a:pt x="403" y="659"/>
                    </a:lnTo>
                    <a:lnTo>
                      <a:pt x="414" y="640"/>
                    </a:lnTo>
                    <a:lnTo>
                      <a:pt x="450" y="611"/>
                    </a:lnTo>
                    <a:lnTo>
                      <a:pt x="439" y="497"/>
                    </a:lnTo>
                    <a:lnTo>
                      <a:pt x="411" y="359"/>
                    </a:lnTo>
                    <a:lnTo>
                      <a:pt x="410" y="327"/>
                    </a:lnTo>
                    <a:lnTo>
                      <a:pt x="391" y="331"/>
                    </a:lnTo>
                    <a:lnTo>
                      <a:pt x="378" y="336"/>
                    </a:lnTo>
                    <a:lnTo>
                      <a:pt x="362" y="401"/>
                    </a:lnTo>
                    <a:lnTo>
                      <a:pt x="352" y="421"/>
                    </a:lnTo>
                    <a:lnTo>
                      <a:pt x="328" y="396"/>
                    </a:lnTo>
                    <a:lnTo>
                      <a:pt x="307" y="366"/>
                    </a:lnTo>
                    <a:lnTo>
                      <a:pt x="307" y="315"/>
                    </a:lnTo>
                    <a:lnTo>
                      <a:pt x="312" y="299"/>
                    </a:lnTo>
                    <a:lnTo>
                      <a:pt x="341" y="280"/>
                    </a:lnTo>
                    <a:lnTo>
                      <a:pt x="364" y="273"/>
                    </a:lnTo>
                    <a:lnTo>
                      <a:pt x="405" y="230"/>
                    </a:lnTo>
                    <a:lnTo>
                      <a:pt x="411" y="211"/>
                    </a:lnTo>
                    <a:lnTo>
                      <a:pt x="412" y="167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433" name="Freeform 197"/>
              <p:cNvSpPr>
                <a:spLocks/>
              </p:cNvSpPr>
              <p:nvPr>
                <p:custDataLst>
                  <p:tags r:id="rId258"/>
                </p:custDataLst>
              </p:nvPr>
            </p:nvSpPr>
            <p:spPr bwMode="auto">
              <a:xfrm>
                <a:off x="4130" y="2418"/>
                <a:ext cx="119" cy="262"/>
              </a:xfrm>
              <a:custGeom>
                <a:avLst/>
                <a:gdLst>
                  <a:gd name="T0" fmla="*/ 159 w 794"/>
                  <a:gd name="T1" fmla="*/ 73 h 1778"/>
                  <a:gd name="T2" fmla="*/ 62 w 794"/>
                  <a:gd name="T3" fmla="*/ 87 h 1778"/>
                  <a:gd name="T4" fmla="*/ 39 w 794"/>
                  <a:gd name="T5" fmla="*/ 174 h 1778"/>
                  <a:gd name="T6" fmla="*/ 32 w 794"/>
                  <a:gd name="T7" fmla="*/ 238 h 1778"/>
                  <a:gd name="T8" fmla="*/ 32 w 794"/>
                  <a:gd name="T9" fmla="*/ 292 h 1778"/>
                  <a:gd name="T10" fmla="*/ 52 w 794"/>
                  <a:gd name="T11" fmla="*/ 358 h 1778"/>
                  <a:gd name="T12" fmla="*/ 134 w 794"/>
                  <a:gd name="T13" fmla="*/ 515 h 1778"/>
                  <a:gd name="T14" fmla="*/ 118 w 794"/>
                  <a:gd name="T15" fmla="*/ 603 h 1778"/>
                  <a:gd name="T16" fmla="*/ 82 w 794"/>
                  <a:gd name="T17" fmla="*/ 656 h 1778"/>
                  <a:gd name="T18" fmla="*/ 168 w 794"/>
                  <a:gd name="T19" fmla="*/ 816 h 1778"/>
                  <a:gd name="T20" fmla="*/ 168 w 794"/>
                  <a:gd name="T21" fmla="*/ 900 h 1778"/>
                  <a:gd name="T22" fmla="*/ 125 w 794"/>
                  <a:gd name="T23" fmla="*/ 1218 h 1778"/>
                  <a:gd name="T24" fmla="*/ 86 w 794"/>
                  <a:gd name="T25" fmla="*/ 1376 h 1778"/>
                  <a:gd name="T26" fmla="*/ 90 w 794"/>
                  <a:gd name="T27" fmla="*/ 1468 h 1778"/>
                  <a:gd name="T28" fmla="*/ 135 w 794"/>
                  <a:gd name="T29" fmla="*/ 1477 h 1778"/>
                  <a:gd name="T30" fmla="*/ 171 w 794"/>
                  <a:gd name="T31" fmla="*/ 1530 h 1778"/>
                  <a:gd name="T32" fmla="*/ 215 w 794"/>
                  <a:gd name="T33" fmla="*/ 1575 h 1778"/>
                  <a:gd name="T34" fmla="*/ 224 w 794"/>
                  <a:gd name="T35" fmla="*/ 1640 h 1778"/>
                  <a:gd name="T36" fmla="*/ 273 w 794"/>
                  <a:gd name="T37" fmla="*/ 1652 h 1778"/>
                  <a:gd name="T38" fmla="*/ 291 w 794"/>
                  <a:gd name="T39" fmla="*/ 1674 h 1778"/>
                  <a:gd name="T40" fmla="*/ 342 w 794"/>
                  <a:gd name="T41" fmla="*/ 1704 h 1778"/>
                  <a:gd name="T42" fmla="*/ 359 w 794"/>
                  <a:gd name="T43" fmla="*/ 1739 h 1778"/>
                  <a:gd name="T44" fmla="*/ 363 w 794"/>
                  <a:gd name="T45" fmla="*/ 1778 h 1778"/>
                  <a:gd name="T46" fmla="*/ 400 w 794"/>
                  <a:gd name="T47" fmla="*/ 1751 h 1778"/>
                  <a:gd name="T48" fmla="*/ 436 w 794"/>
                  <a:gd name="T49" fmla="*/ 1741 h 1778"/>
                  <a:gd name="T50" fmla="*/ 422 w 794"/>
                  <a:gd name="T51" fmla="*/ 1668 h 1778"/>
                  <a:gd name="T52" fmla="*/ 376 w 794"/>
                  <a:gd name="T53" fmla="*/ 1628 h 1778"/>
                  <a:gd name="T54" fmla="*/ 310 w 794"/>
                  <a:gd name="T55" fmla="*/ 1600 h 1778"/>
                  <a:gd name="T56" fmla="*/ 287 w 794"/>
                  <a:gd name="T57" fmla="*/ 1500 h 1778"/>
                  <a:gd name="T58" fmla="*/ 258 w 794"/>
                  <a:gd name="T59" fmla="*/ 1429 h 1778"/>
                  <a:gd name="T60" fmla="*/ 248 w 794"/>
                  <a:gd name="T61" fmla="*/ 1378 h 1778"/>
                  <a:gd name="T62" fmla="*/ 229 w 794"/>
                  <a:gd name="T63" fmla="*/ 1339 h 1778"/>
                  <a:gd name="T64" fmla="*/ 178 w 794"/>
                  <a:gd name="T65" fmla="*/ 1341 h 1778"/>
                  <a:gd name="T66" fmla="*/ 178 w 794"/>
                  <a:gd name="T67" fmla="*/ 1195 h 1778"/>
                  <a:gd name="T68" fmla="*/ 254 w 794"/>
                  <a:gd name="T69" fmla="*/ 916 h 1778"/>
                  <a:gd name="T70" fmla="*/ 261 w 794"/>
                  <a:gd name="T71" fmla="*/ 851 h 1778"/>
                  <a:gd name="T72" fmla="*/ 314 w 794"/>
                  <a:gd name="T73" fmla="*/ 842 h 1778"/>
                  <a:gd name="T74" fmla="*/ 342 w 794"/>
                  <a:gd name="T75" fmla="*/ 921 h 1778"/>
                  <a:gd name="T76" fmla="*/ 371 w 794"/>
                  <a:gd name="T77" fmla="*/ 944 h 1778"/>
                  <a:gd name="T78" fmla="*/ 426 w 794"/>
                  <a:gd name="T79" fmla="*/ 939 h 1778"/>
                  <a:gd name="T80" fmla="*/ 506 w 794"/>
                  <a:gd name="T81" fmla="*/ 999 h 1778"/>
                  <a:gd name="T82" fmla="*/ 526 w 794"/>
                  <a:gd name="T83" fmla="*/ 1002 h 1778"/>
                  <a:gd name="T84" fmla="*/ 487 w 794"/>
                  <a:gd name="T85" fmla="*/ 904 h 1778"/>
                  <a:gd name="T86" fmla="*/ 497 w 794"/>
                  <a:gd name="T87" fmla="*/ 832 h 1778"/>
                  <a:gd name="T88" fmla="*/ 576 w 794"/>
                  <a:gd name="T89" fmla="*/ 737 h 1778"/>
                  <a:gd name="T90" fmla="*/ 687 w 794"/>
                  <a:gd name="T91" fmla="*/ 731 h 1778"/>
                  <a:gd name="T92" fmla="*/ 789 w 794"/>
                  <a:gd name="T93" fmla="*/ 716 h 1778"/>
                  <a:gd name="T94" fmla="*/ 787 w 794"/>
                  <a:gd name="T95" fmla="*/ 613 h 1778"/>
                  <a:gd name="T96" fmla="*/ 715 w 794"/>
                  <a:gd name="T97" fmla="*/ 481 h 1778"/>
                  <a:gd name="T98" fmla="*/ 687 w 794"/>
                  <a:gd name="T99" fmla="*/ 345 h 1778"/>
                  <a:gd name="T100" fmla="*/ 642 w 794"/>
                  <a:gd name="T101" fmla="*/ 266 h 1778"/>
                  <a:gd name="T102" fmla="*/ 573 w 794"/>
                  <a:gd name="T103" fmla="*/ 246 h 1778"/>
                  <a:gd name="T104" fmla="*/ 527 w 794"/>
                  <a:gd name="T105" fmla="*/ 313 h 1778"/>
                  <a:gd name="T106" fmla="*/ 440 w 794"/>
                  <a:gd name="T107" fmla="*/ 285 h 1778"/>
                  <a:gd name="T108" fmla="*/ 344 w 794"/>
                  <a:gd name="T109" fmla="*/ 347 h 1778"/>
                  <a:gd name="T110" fmla="*/ 367 w 794"/>
                  <a:gd name="T111" fmla="*/ 117 h 1778"/>
                  <a:gd name="T112" fmla="*/ 324 w 794"/>
                  <a:gd name="T113" fmla="*/ 124 h 1778"/>
                  <a:gd name="T114" fmla="*/ 295 w 794"/>
                  <a:gd name="T115" fmla="*/ 95 h 1778"/>
                  <a:gd name="T116" fmla="*/ 295 w 794"/>
                  <a:gd name="T117" fmla="*/ 20 h 1778"/>
                  <a:gd name="T118" fmla="*/ 253 w 794"/>
                  <a:gd name="T119" fmla="*/ 6 h 1778"/>
                  <a:gd name="T120" fmla="*/ 199 w 794"/>
                  <a:gd name="T121" fmla="*/ 21 h 177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794"/>
                  <a:gd name="T184" fmla="*/ 0 h 1778"/>
                  <a:gd name="T185" fmla="*/ 794 w 794"/>
                  <a:gd name="T186" fmla="*/ 1778 h 1778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794" h="1778">
                    <a:moveTo>
                      <a:pt x="199" y="21"/>
                    </a:moveTo>
                    <a:lnTo>
                      <a:pt x="176" y="41"/>
                    </a:lnTo>
                    <a:lnTo>
                      <a:pt x="159" y="73"/>
                    </a:lnTo>
                    <a:lnTo>
                      <a:pt x="111" y="90"/>
                    </a:lnTo>
                    <a:lnTo>
                      <a:pt x="85" y="90"/>
                    </a:lnTo>
                    <a:lnTo>
                      <a:pt x="62" y="87"/>
                    </a:lnTo>
                    <a:lnTo>
                      <a:pt x="48" y="110"/>
                    </a:lnTo>
                    <a:lnTo>
                      <a:pt x="40" y="129"/>
                    </a:lnTo>
                    <a:lnTo>
                      <a:pt x="39" y="174"/>
                    </a:lnTo>
                    <a:lnTo>
                      <a:pt x="33" y="202"/>
                    </a:lnTo>
                    <a:lnTo>
                      <a:pt x="37" y="225"/>
                    </a:lnTo>
                    <a:lnTo>
                      <a:pt x="32" y="238"/>
                    </a:lnTo>
                    <a:lnTo>
                      <a:pt x="25" y="238"/>
                    </a:lnTo>
                    <a:lnTo>
                      <a:pt x="0" y="245"/>
                    </a:lnTo>
                    <a:lnTo>
                      <a:pt x="32" y="292"/>
                    </a:lnTo>
                    <a:lnTo>
                      <a:pt x="36" y="303"/>
                    </a:lnTo>
                    <a:lnTo>
                      <a:pt x="40" y="350"/>
                    </a:lnTo>
                    <a:lnTo>
                      <a:pt x="52" y="358"/>
                    </a:lnTo>
                    <a:lnTo>
                      <a:pt x="99" y="409"/>
                    </a:lnTo>
                    <a:lnTo>
                      <a:pt x="142" y="500"/>
                    </a:lnTo>
                    <a:lnTo>
                      <a:pt x="134" y="515"/>
                    </a:lnTo>
                    <a:lnTo>
                      <a:pt x="114" y="527"/>
                    </a:lnTo>
                    <a:lnTo>
                      <a:pt x="109" y="539"/>
                    </a:lnTo>
                    <a:lnTo>
                      <a:pt x="118" y="603"/>
                    </a:lnTo>
                    <a:lnTo>
                      <a:pt x="111" y="613"/>
                    </a:lnTo>
                    <a:lnTo>
                      <a:pt x="74" y="636"/>
                    </a:lnTo>
                    <a:lnTo>
                      <a:pt x="82" y="656"/>
                    </a:lnTo>
                    <a:lnTo>
                      <a:pt x="110" y="733"/>
                    </a:lnTo>
                    <a:lnTo>
                      <a:pt x="160" y="791"/>
                    </a:lnTo>
                    <a:lnTo>
                      <a:pt x="168" y="816"/>
                    </a:lnTo>
                    <a:lnTo>
                      <a:pt x="172" y="852"/>
                    </a:lnTo>
                    <a:lnTo>
                      <a:pt x="168" y="888"/>
                    </a:lnTo>
                    <a:lnTo>
                      <a:pt x="168" y="900"/>
                    </a:lnTo>
                    <a:lnTo>
                      <a:pt x="216" y="1029"/>
                    </a:lnTo>
                    <a:lnTo>
                      <a:pt x="213" y="1045"/>
                    </a:lnTo>
                    <a:lnTo>
                      <a:pt x="125" y="1218"/>
                    </a:lnTo>
                    <a:lnTo>
                      <a:pt x="119" y="1237"/>
                    </a:lnTo>
                    <a:lnTo>
                      <a:pt x="123" y="1240"/>
                    </a:lnTo>
                    <a:lnTo>
                      <a:pt x="86" y="1376"/>
                    </a:lnTo>
                    <a:lnTo>
                      <a:pt x="78" y="1417"/>
                    </a:lnTo>
                    <a:lnTo>
                      <a:pt x="80" y="1449"/>
                    </a:lnTo>
                    <a:lnTo>
                      <a:pt x="90" y="1468"/>
                    </a:lnTo>
                    <a:lnTo>
                      <a:pt x="99" y="1461"/>
                    </a:lnTo>
                    <a:lnTo>
                      <a:pt x="114" y="1456"/>
                    </a:lnTo>
                    <a:lnTo>
                      <a:pt x="135" y="1477"/>
                    </a:lnTo>
                    <a:lnTo>
                      <a:pt x="148" y="1486"/>
                    </a:lnTo>
                    <a:lnTo>
                      <a:pt x="162" y="1502"/>
                    </a:lnTo>
                    <a:lnTo>
                      <a:pt x="171" y="1530"/>
                    </a:lnTo>
                    <a:lnTo>
                      <a:pt x="188" y="1568"/>
                    </a:lnTo>
                    <a:lnTo>
                      <a:pt x="204" y="1566"/>
                    </a:lnTo>
                    <a:lnTo>
                      <a:pt x="215" y="1575"/>
                    </a:lnTo>
                    <a:lnTo>
                      <a:pt x="222" y="1598"/>
                    </a:lnTo>
                    <a:lnTo>
                      <a:pt x="220" y="1612"/>
                    </a:lnTo>
                    <a:lnTo>
                      <a:pt x="224" y="1640"/>
                    </a:lnTo>
                    <a:lnTo>
                      <a:pt x="241" y="1660"/>
                    </a:lnTo>
                    <a:lnTo>
                      <a:pt x="254" y="1663"/>
                    </a:lnTo>
                    <a:lnTo>
                      <a:pt x="273" y="1652"/>
                    </a:lnTo>
                    <a:lnTo>
                      <a:pt x="278" y="1661"/>
                    </a:lnTo>
                    <a:lnTo>
                      <a:pt x="273" y="1682"/>
                    </a:lnTo>
                    <a:lnTo>
                      <a:pt x="291" y="1674"/>
                    </a:lnTo>
                    <a:lnTo>
                      <a:pt x="317" y="1674"/>
                    </a:lnTo>
                    <a:lnTo>
                      <a:pt x="323" y="1698"/>
                    </a:lnTo>
                    <a:lnTo>
                      <a:pt x="342" y="1704"/>
                    </a:lnTo>
                    <a:lnTo>
                      <a:pt x="354" y="1716"/>
                    </a:lnTo>
                    <a:lnTo>
                      <a:pt x="356" y="1728"/>
                    </a:lnTo>
                    <a:lnTo>
                      <a:pt x="359" y="1739"/>
                    </a:lnTo>
                    <a:lnTo>
                      <a:pt x="348" y="1760"/>
                    </a:lnTo>
                    <a:lnTo>
                      <a:pt x="354" y="1772"/>
                    </a:lnTo>
                    <a:lnTo>
                      <a:pt x="363" y="1778"/>
                    </a:lnTo>
                    <a:lnTo>
                      <a:pt x="373" y="1757"/>
                    </a:lnTo>
                    <a:lnTo>
                      <a:pt x="385" y="1742"/>
                    </a:lnTo>
                    <a:lnTo>
                      <a:pt x="400" y="1751"/>
                    </a:lnTo>
                    <a:lnTo>
                      <a:pt x="401" y="1776"/>
                    </a:lnTo>
                    <a:lnTo>
                      <a:pt x="430" y="1771"/>
                    </a:lnTo>
                    <a:lnTo>
                      <a:pt x="436" y="1741"/>
                    </a:lnTo>
                    <a:lnTo>
                      <a:pt x="457" y="1723"/>
                    </a:lnTo>
                    <a:lnTo>
                      <a:pt x="461" y="1705"/>
                    </a:lnTo>
                    <a:lnTo>
                      <a:pt x="422" y="1668"/>
                    </a:lnTo>
                    <a:lnTo>
                      <a:pt x="410" y="1637"/>
                    </a:lnTo>
                    <a:lnTo>
                      <a:pt x="397" y="1626"/>
                    </a:lnTo>
                    <a:lnTo>
                      <a:pt x="376" y="1628"/>
                    </a:lnTo>
                    <a:lnTo>
                      <a:pt x="352" y="1622"/>
                    </a:lnTo>
                    <a:lnTo>
                      <a:pt x="317" y="1608"/>
                    </a:lnTo>
                    <a:lnTo>
                      <a:pt x="310" y="1600"/>
                    </a:lnTo>
                    <a:lnTo>
                      <a:pt x="290" y="1554"/>
                    </a:lnTo>
                    <a:lnTo>
                      <a:pt x="286" y="1514"/>
                    </a:lnTo>
                    <a:lnTo>
                      <a:pt x="287" y="1500"/>
                    </a:lnTo>
                    <a:lnTo>
                      <a:pt x="277" y="1449"/>
                    </a:lnTo>
                    <a:lnTo>
                      <a:pt x="270" y="1424"/>
                    </a:lnTo>
                    <a:lnTo>
                      <a:pt x="258" y="1429"/>
                    </a:lnTo>
                    <a:lnTo>
                      <a:pt x="250" y="1419"/>
                    </a:lnTo>
                    <a:lnTo>
                      <a:pt x="245" y="1403"/>
                    </a:lnTo>
                    <a:lnTo>
                      <a:pt x="248" y="1378"/>
                    </a:lnTo>
                    <a:lnTo>
                      <a:pt x="248" y="1362"/>
                    </a:lnTo>
                    <a:lnTo>
                      <a:pt x="241" y="1343"/>
                    </a:lnTo>
                    <a:lnTo>
                      <a:pt x="229" y="1339"/>
                    </a:lnTo>
                    <a:lnTo>
                      <a:pt x="213" y="1346"/>
                    </a:lnTo>
                    <a:lnTo>
                      <a:pt x="188" y="1350"/>
                    </a:lnTo>
                    <a:lnTo>
                      <a:pt x="178" y="1341"/>
                    </a:lnTo>
                    <a:lnTo>
                      <a:pt x="171" y="1325"/>
                    </a:lnTo>
                    <a:lnTo>
                      <a:pt x="166" y="1263"/>
                    </a:lnTo>
                    <a:lnTo>
                      <a:pt x="178" y="1195"/>
                    </a:lnTo>
                    <a:lnTo>
                      <a:pt x="248" y="1006"/>
                    </a:lnTo>
                    <a:lnTo>
                      <a:pt x="241" y="953"/>
                    </a:lnTo>
                    <a:lnTo>
                      <a:pt x="254" y="916"/>
                    </a:lnTo>
                    <a:lnTo>
                      <a:pt x="260" y="898"/>
                    </a:lnTo>
                    <a:lnTo>
                      <a:pt x="250" y="867"/>
                    </a:lnTo>
                    <a:lnTo>
                      <a:pt x="261" y="851"/>
                    </a:lnTo>
                    <a:lnTo>
                      <a:pt x="282" y="837"/>
                    </a:lnTo>
                    <a:lnTo>
                      <a:pt x="303" y="836"/>
                    </a:lnTo>
                    <a:lnTo>
                      <a:pt x="314" y="842"/>
                    </a:lnTo>
                    <a:lnTo>
                      <a:pt x="347" y="844"/>
                    </a:lnTo>
                    <a:lnTo>
                      <a:pt x="351" y="854"/>
                    </a:lnTo>
                    <a:lnTo>
                      <a:pt x="342" y="921"/>
                    </a:lnTo>
                    <a:lnTo>
                      <a:pt x="342" y="935"/>
                    </a:lnTo>
                    <a:lnTo>
                      <a:pt x="357" y="935"/>
                    </a:lnTo>
                    <a:lnTo>
                      <a:pt x="371" y="944"/>
                    </a:lnTo>
                    <a:lnTo>
                      <a:pt x="388" y="949"/>
                    </a:lnTo>
                    <a:lnTo>
                      <a:pt x="413" y="937"/>
                    </a:lnTo>
                    <a:lnTo>
                      <a:pt x="426" y="939"/>
                    </a:lnTo>
                    <a:lnTo>
                      <a:pt x="446" y="946"/>
                    </a:lnTo>
                    <a:lnTo>
                      <a:pt x="485" y="994"/>
                    </a:lnTo>
                    <a:lnTo>
                      <a:pt x="506" y="999"/>
                    </a:lnTo>
                    <a:lnTo>
                      <a:pt x="518" y="1008"/>
                    </a:lnTo>
                    <a:lnTo>
                      <a:pt x="519" y="1011"/>
                    </a:lnTo>
                    <a:lnTo>
                      <a:pt x="526" y="1002"/>
                    </a:lnTo>
                    <a:lnTo>
                      <a:pt x="519" y="976"/>
                    </a:lnTo>
                    <a:lnTo>
                      <a:pt x="497" y="939"/>
                    </a:lnTo>
                    <a:lnTo>
                      <a:pt x="487" y="904"/>
                    </a:lnTo>
                    <a:lnTo>
                      <a:pt x="486" y="870"/>
                    </a:lnTo>
                    <a:lnTo>
                      <a:pt x="489" y="849"/>
                    </a:lnTo>
                    <a:lnTo>
                      <a:pt x="497" y="832"/>
                    </a:lnTo>
                    <a:lnTo>
                      <a:pt x="536" y="767"/>
                    </a:lnTo>
                    <a:lnTo>
                      <a:pt x="560" y="742"/>
                    </a:lnTo>
                    <a:lnTo>
                      <a:pt x="576" y="737"/>
                    </a:lnTo>
                    <a:lnTo>
                      <a:pt x="629" y="733"/>
                    </a:lnTo>
                    <a:lnTo>
                      <a:pt x="663" y="737"/>
                    </a:lnTo>
                    <a:lnTo>
                      <a:pt x="687" y="731"/>
                    </a:lnTo>
                    <a:lnTo>
                      <a:pt x="740" y="740"/>
                    </a:lnTo>
                    <a:lnTo>
                      <a:pt x="753" y="749"/>
                    </a:lnTo>
                    <a:lnTo>
                      <a:pt x="789" y="716"/>
                    </a:lnTo>
                    <a:lnTo>
                      <a:pt x="794" y="691"/>
                    </a:lnTo>
                    <a:lnTo>
                      <a:pt x="794" y="640"/>
                    </a:lnTo>
                    <a:lnTo>
                      <a:pt x="787" y="613"/>
                    </a:lnTo>
                    <a:lnTo>
                      <a:pt x="769" y="576"/>
                    </a:lnTo>
                    <a:lnTo>
                      <a:pt x="724" y="507"/>
                    </a:lnTo>
                    <a:lnTo>
                      <a:pt x="715" y="481"/>
                    </a:lnTo>
                    <a:lnTo>
                      <a:pt x="710" y="462"/>
                    </a:lnTo>
                    <a:lnTo>
                      <a:pt x="707" y="379"/>
                    </a:lnTo>
                    <a:lnTo>
                      <a:pt x="687" y="345"/>
                    </a:lnTo>
                    <a:lnTo>
                      <a:pt x="657" y="310"/>
                    </a:lnTo>
                    <a:lnTo>
                      <a:pt x="645" y="280"/>
                    </a:lnTo>
                    <a:lnTo>
                      <a:pt x="642" y="266"/>
                    </a:lnTo>
                    <a:lnTo>
                      <a:pt x="631" y="257"/>
                    </a:lnTo>
                    <a:lnTo>
                      <a:pt x="592" y="246"/>
                    </a:lnTo>
                    <a:lnTo>
                      <a:pt x="573" y="246"/>
                    </a:lnTo>
                    <a:lnTo>
                      <a:pt x="560" y="271"/>
                    </a:lnTo>
                    <a:lnTo>
                      <a:pt x="551" y="299"/>
                    </a:lnTo>
                    <a:lnTo>
                      <a:pt x="527" y="313"/>
                    </a:lnTo>
                    <a:lnTo>
                      <a:pt x="519" y="317"/>
                    </a:lnTo>
                    <a:lnTo>
                      <a:pt x="455" y="283"/>
                    </a:lnTo>
                    <a:lnTo>
                      <a:pt x="440" y="285"/>
                    </a:lnTo>
                    <a:lnTo>
                      <a:pt x="372" y="372"/>
                    </a:lnTo>
                    <a:lnTo>
                      <a:pt x="351" y="365"/>
                    </a:lnTo>
                    <a:lnTo>
                      <a:pt x="344" y="347"/>
                    </a:lnTo>
                    <a:lnTo>
                      <a:pt x="346" y="320"/>
                    </a:lnTo>
                    <a:lnTo>
                      <a:pt x="378" y="188"/>
                    </a:lnTo>
                    <a:lnTo>
                      <a:pt x="367" y="117"/>
                    </a:lnTo>
                    <a:lnTo>
                      <a:pt x="364" y="111"/>
                    </a:lnTo>
                    <a:lnTo>
                      <a:pt x="347" y="113"/>
                    </a:lnTo>
                    <a:lnTo>
                      <a:pt x="324" y="124"/>
                    </a:lnTo>
                    <a:lnTo>
                      <a:pt x="307" y="124"/>
                    </a:lnTo>
                    <a:lnTo>
                      <a:pt x="298" y="115"/>
                    </a:lnTo>
                    <a:lnTo>
                      <a:pt x="295" y="95"/>
                    </a:lnTo>
                    <a:lnTo>
                      <a:pt x="299" y="51"/>
                    </a:lnTo>
                    <a:lnTo>
                      <a:pt x="299" y="28"/>
                    </a:lnTo>
                    <a:lnTo>
                      <a:pt x="295" y="20"/>
                    </a:lnTo>
                    <a:lnTo>
                      <a:pt x="282" y="9"/>
                    </a:lnTo>
                    <a:lnTo>
                      <a:pt x="258" y="0"/>
                    </a:lnTo>
                    <a:lnTo>
                      <a:pt x="253" y="6"/>
                    </a:lnTo>
                    <a:lnTo>
                      <a:pt x="248" y="9"/>
                    </a:lnTo>
                    <a:lnTo>
                      <a:pt x="217" y="13"/>
                    </a:lnTo>
                    <a:lnTo>
                      <a:pt x="199" y="21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434" name="Freeform 198"/>
              <p:cNvSpPr>
                <a:spLocks/>
              </p:cNvSpPr>
              <p:nvPr>
                <p:custDataLst>
                  <p:tags r:id="rId259"/>
                </p:custDataLst>
              </p:nvPr>
            </p:nvSpPr>
            <p:spPr bwMode="auto">
              <a:xfrm>
                <a:off x="4308" y="2657"/>
                <a:ext cx="140" cy="107"/>
              </a:xfrm>
              <a:custGeom>
                <a:avLst/>
                <a:gdLst>
                  <a:gd name="T0" fmla="*/ 645 w 934"/>
                  <a:gd name="T1" fmla="*/ 94 h 723"/>
                  <a:gd name="T2" fmla="*/ 616 w 934"/>
                  <a:gd name="T3" fmla="*/ 136 h 723"/>
                  <a:gd name="T4" fmla="*/ 585 w 934"/>
                  <a:gd name="T5" fmla="*/ 166 h 723"/>
                  <a:gd name="T6" fmla="*/ 557 w 934"/>
                  <a:gd name="T7" fmla="*/ 191 h 723"/>
                  <a:gd name="T8" fmla="*/ 580 w 934"/>
                  <a:gd name="T9" fmla="*/ 222 h 723"/>
                  <a:gd name="T10" fmla="*/ 553 w 934"/>
                  <a:gd name="T11" fmla="*/ 242 h 723"/>
                  <a:gd name="T12" fmla="*/ 541 w 934"/>
                  <a:gd name="T13" fmla="*/ 235 h 723"/>
                  <a:gd name="T14" fmla="*/ 540 w 934"/>
                  <a:gd name="T15" fmla="*/ 245 h 723"/>
                  <a:gd name="T16" fmla="*/ 544 w 934"/>
                  <a:gd name="T17" fmla="*/ 275 h 723"/>
                  <a:gd name="T18" fmla="*/ 553 w 934"/>
                  <a:gd name="T19" fmla="*/ 298 h 723"/>
                  <a:gd name="T20" fmla="*/ 499 w 934"/>
                  <a:gd name="T21" fmla="*/ 325 h 723"/>
                  <a:gd name="T22" fmla="*/ 469 w 934"/>
                  <a:gd name="T23" fmla="*/ 325 h 723"/>
                  <a:gd name="T24" fmla="*/ 454 w 934"/>
                  <a:gd name="T25" fmla="*/ 312 h 723"/>
                  <a:gd name="T26" fmla="*/ 448 w 934"/>
                  <a:gd name="T27" fmla="*/ 286 h 723"/>
                  <a:gd name="T28" fmla="*/ 421 w 934"/>
                  <a:gd name="T29" fmla="*/ 309 h 723"/>
                  <a:gd name="T30" fmla="*/ 360 w 934"/>
                  <a:gd name="T31" fmla="*/ 385 h 723"/>
                  <a:gd name="T32" fmla="*/ 319 w 934"/>
                  <a:gd name="T33" fmla="*/ 455 h 723"/>
                  <a:gd name="T34" fmla="*/ 183 w 934"/>
                  <a:gd name="T35" fmla="*/ 503 h 723"/>
                  <a:gd name="T36" fmla="*/ 143 w 934"/>
                  <a:gd name="T37" fmla="*/ 602 h 723"/>
                  <a:gd name="T38" fmla="*/ 158 w 934"/>
                  <a:gd name="T39" fmla="*/ 659 h 723"/>
                  <a:gd name="T40" fmla="*/ 127 w 934"/>
                  <a:gd name="T41" fmla="*/ 663 h 723"/>
                  <a:gd name="T42" fmla="*/ 76 w 934"/>
                  <a:gd name="T43" fmla="*/ 630 h 723"/>
                  <a:gd name="T44" fmla="*/ 21 w 934"/>
                  <a:gd name="T45" fmla="*/ 618 h 723"/>
                  <a:gd name="T46" fmla="*/ 0 w 934"/>
                  <a:gd name="T47" fmla="*/ 595 h 723"/>
                  <a:gd name="T48" fmla="*/ 24 w 934"/>
                  <a:gd name="T49" fmla="*/ 652 h 723"/>
                  <a:gd name="T50" fmla="*/ 82 w 934"/>
                  <a:gd name="T51" fmla="*/ 708 h 723"/>
                  <a:gd name="T52" fmla="*/ 143 w 934"/>
                  <a:gd name="T53" fmla="*/ 701 h 723"/>
                  <a:gd name="T54" fmla="*/ 176 w 934"/>
                  <a:gd name="T55" fmla="*/ 712 h 723"/>
                  <a:gd name="T56" fmla="*/ 242 w 934"/>
                  <a:gd name="T57" fmla="*/ 691 h 723"/>
                  <a:gd name="T58" fmla="*/ 283 w 934"/>
                  <a:gd name="T59" fmla="*/ 640 h 723"/>
                  <a:gd name="T60" fmla="*/ 323 w 934"/>
                  <a:gd name="T61" fmla="*/ 643 h 723"/>
                  <a:gd name="T62" fmla="*/ 396 w 934"/>
                  <a:gd name="T63" fmla="*/ 675 h 723"/>
                  <a:gd name="T64" fmla="*/ 429 w 934"/>
                  <a:gd name="T65" fmla="*/ 656 h 723"/>
                  <a:gd name="T66" fmla="*/ 488 w 934"/>
                  <a:gd name="T67" fmla="*/ 636 h 723"/>
                  <a:gd name="T68" fmla="*/ 546 w 934"/>
                  <a:gd name="T69" fmla="*/ 526 h 723"/>
                  <a:gd name="T70" fmla="*/ 552 w 934"/>
                  <a:gd name="T71" fmla="*/ 469 h 723"/>
                  <a:gd name="T72" fmla="*/ 590 w 934"/>
                  <a:gd name="T73" fmla="*/ 436 h 723"/>
                  <a:gd name="T74" fmla="*/ 590 w 934"/>
                  <a:gd name="T75" fmla="*/ 355 h 723"/>
                  <a:gd name="T76" fmla="*/ 618 w 934"/>
                  <a:gd name="T77" fmla="*/ 312 h 723"/>
                  <a:gd name="T78" fmla="*/ 700 w 934"/>
                  <a:gd name="T79" fmla="*/ 321 h 723"/>
                  <a:gd name="T80" fmla="*/ 748 w 934"/>
                  <a:gd name="T81" fmla="*/ 321 h 723"/>
                  <a:gd name="T82" fmla="*/ 789 w 934"/>
                  <a:gd name="T83" fmla="*/ 342 h 723"/>
                  <a:gd name="T84" fmla="*/ 843 w 934"/>
                  <a:gd name="T85" fmla="*/ 323 h 723"/>
                  <a:gd name="T86" fmla="*/ 871 w 934"/>
                  <a:gd name="T87" fmla="*/ 297 h 723"/>
                  <a:gd name="T88" fmla="*/ 827 w 934"/>
                  <a:gd name="T89" fmla="*/ 245 h 723"/>
                  <a:gd name="T90" fmla="*/ 874 w 934"/>
                  <a:gd name="T91" fmla="*/ 235 h 723"/>
                  <a:gd name="T92" fmla="*/ 919 w 934"/>
                  <a:gd name="T93" fmla="*/ 224 h 723"/>
                  <a:gd name="T94" fmla="*/ 934 w 934"/>
                  <a:gd name="T95" fmla="*/ 203 h 723"/>
                  <a:gd name="T96" fmla="*/ 915 w 934"/>
                  <a:gd name="T97" fmla="*/ 182 h 723"/>
                  <a:gd name="T98" fmla="*/ 857 w 934"/>
                  <a:gd name="T99" fmla="*/ 145 h 723"/>
                  <a:gd name="T100" fmla="*/ 808 w 934"/>
                  <a:gd name="T101" fmla="*/ 155 h 723"/>
                  <a:gd name="T102" fmla="*/ 818 w 934"/>
                  <a:gd name="T103" fmla="*/ 117 h 723"/>
                  <a:gd name="T104" fmla="*/ 768 w 934"/>
                  <a:gd name="T105" fmla="*/ 120 h 723"/>
                  <a:gd name="T106" fmla="*/ 785 w 934"/>
                  <a:gd name="T107" fmla="*/ 60 h 723"/>
                  <a:gd name="T108" fmla="*/ 737 w 934"/>
                  <a:gd name="T109" fmla="*/ 7 h 723"/>
                  <a:gd name="T110" fmla="*/ 708 w 934"/>
                  <a:gd name="T111" fmla="*/ 25 h 723"/>
                  <a:gd name="T112" fmla="*/ 669 w 934"/>
                  <a:gd name="T113" fmla="*/ 64 h 723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934"/>
                  <a:gd name="T172" fmla="*/ 0 h 723"/>
                  <a:gd name="T173" fmla="*/ 934 w 934"/>
                  <a:gd name="T174" fmla="*/ 723 h 723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934" h="723">
                    <a:moveTo>
                      <a:pt x="669" y="64"/>
                    </a:moveTo>
                    <a:lnTo>
                      <a:pt x="645" y="94"/>
                    </a:lnTo>
                    <a:lnTo>
                      <a:pt x="633" y="120"/>
                    </a:lnTo>
                    <a:lnTo>
                      <a:pt x="616" y="136"/>
                    </a:lnTo>
                    <a:lnTo>
                      <a:pt x="608" y="168"/>
                    </a:lnTo>
                    <a:lnTo>
                      <a:pt x="585" y="166"/>
                    </a:lnTo>
                    <a:lnTo>
                      <a:pt x="567" y="170"/>
                    </a:lnTo>
                    <a:lnTo>
                      <a:pt x="557" y="191"/>
                    </a:lnTo>
                    <a:lnTo>
                      <a:pt x="579" y="210"/>
                    </a:lnTo>
                    <a:lnTo>
                      <a:pt x="580" y="222"/>
                    </a:lnTo>
                    <a:lnTo>
                      <a:pt x="573" y="237"/>
                    </a:lnTo>
                    <a:lnTo>
                      <a:pt x="553" y="242"/>
                    </a:lnTo>
                    <a:lnTo>
                      <a:pt x="551" y="242"/>
                    </a:lnTo>
                    <a:lnTo>
                      <a:pt x="541" y="235"/>
                    </a:lnTo>
                    <a:lnTo>
                      <a:pt x="534" y="237"/>
                    </a:lnTo>
                    <a:lnTo>
                      <a:pt x="540" y="245"/>
                    </a:lnTo>
                    <a:lnTo>
                      <a:pt x="546" y="270"/>
                    </a:lnTo>
                    <a:lnTo>
                      <a:pt x="544" y="275"/>
                    </a:lnTo>
                    <a:lnTo>
                      <a:pt x="544" y="288"/>
                    </a:lnTo>
                    <a:lnTo>
                      <a:pt x="553" y="298"/>
                    </a:lnTo>
                    <a:lnTo>
                      <a:pt x="553" y="304"/>
                    </a:lnTo>
                    <a:lnTo>
                      <a:pt x="499" y="325"/>
                    </a:lnTo>
                    <a:lnTo>
                      <a:pt x="482" y="339"/>
                    </a:lnTo>
                    <a:lnTo>
                      <a:pt x="469" y="325"/>
                    </a:lnTo>
                    <a:lnTo>
                      <a:pt x="465" y="312"/>
                    </a:lnTo>
                    <a:lnTo>
                      <a:pt x="454" y="312"/>
                    </a:lnTo>
                    <a:lnTo>
                      <a:pt x="451" y="293"/>
                    </a:lnTo>
                    <a:lnTo>
                      <a:pt x="448" y="286"/>
                    </a:lnTo>
                    <a:lnTo>
                      <a:pt x="442" y="289"/>
                    </a:lnTo>
                    <a:lnTo>
                      <a:pt x="421" y="309"/>
                    </a:lnTo>
                    <a:lnTo>
                      <a:pt x="383" y="367"/>
                    </a:lnTo>
                    <a:lnTo>
                      <a:pt x="360" y="385"/>
                    </a:lnTo>
                    <a:lnTo>
                      <a:pt x="336" y="438"/>
                    </a:lnTo>
                    <a:lnTo>
                      <a:pt x="319" y="455"/>
                    </a:lnTo>
                    <a:lnTo>
                      <a:pt x="208" y="489"/>
                    </a:lnTo>
                    <a:lnTo>
                      <a:pt x="183" y="503"/>
                    </a:lnTo>
                    <a:lnTo>
                      <a:pt x="159" y="570"/>
                    </a:lnTo>
                    <a:lnTo>
                      <a:pt x="143" y="602"/>
                    </a:lnTo>
                    <a:lnTo>
                      <a:pt x="135" y="630"/>
                    </a:lnTo>
                    <a:lnTo>
                      <a:pt x="158" y="659"/>
                    </a:lnTo>
                    <a:lnTo>
                      <a:pt x="143" y="664"/>
                    </a:lnTo>
                    <a:lnTo>
                      <a:pt x="127" y="663"/>
                    </a:lnTo>
                    <a:lnTo>
                      <a:pt x="95" y="640"/>
                    </a:lnTo>
                    <a:lnTo>
                      <a:pt x="76" y="630"/>
                    </a:lnTo>
                    <a:lnTo>
                      <a:pt x="39" y="625"/>
                    </a:lnTo>
                    <a:lnTo>
                      <a:pt x="21" y="618"/>
                    </a:lnTo>
                    <a:lnTo>
                      <a:pt x="4" y="596"/>
                    </a:lnTo>
                    <a:lnTo>
                      <a:pt x="0" y="595"/>
                    </a:lnTo>
                    <a:lnTo>
                      <a:pt x="13" y="636"/>
                    </a:lnTo>
                    <a:lnTo>
                      <a:pt x="24" y="652"/>
                    </a:lnTo>
                    <a:lnTo>
                      <a:pt x="69" y="703"/>
                    </a:lnTo>
                    <a:lnTo>
                      <a:pt x="82" y="708"/>
                    </a:lnTo>
                    <a:lnTo>
                      <a:pt x="101" y="723"/>
                    </a:lnTo>
                    <a:lnTo>
                      <a:pt x="143" y="701"/>
                    </a:lnTo>
                    <a:lnTo>
                      <a:pt x="155" y="701"/>
                    </a:lnTo>
                    <a:lnTo>
                      <a:pt x="176" y="712"/>
                    </a:lnTo>
                    <a:lnTo>
                      <a:pt x="200" y="719"/>
                    </a:lnTo>
                    <a:lnTo>
                      <a:pt x="242" y="691"/>
                    </a:lnTo>
                    <a:lnTo>
                      <a:pt x="260" y="664"/>
                    </a:lnTo>
                    <a:lnTo>
                      <a:pt x="283" y="640"/>
                    </a:lnTo>
                    <a:lnTo>
                      <a:pt x="304" y="636"/>
                    </a:lnTo>
                    <a:lnTo>
                      <a:pt x="323" y="643"/>
                    </a:lnTo>
                    <a:lnTo>
                      <a:pt x="371" y="668"/>
                    </a:lnTo>
                    <a:lnTo>
                      <a:pt x="396" y="675"/>
                    </a:lnTo>
                    <a:lnTo>
                      <a:pt x="408" y="673"/>
                    </a:lnTo>
                    <a:lnTo>
                      <a:pt x="429" y="656"/>
                    </a:lnTo>
                    <a:lnTo>
                      <a:pt x="449" y="647"/>
                    </a:lnTo>
                    <a:lnTo>
                      <a:pt x="488" y="636"/>
                    </a:lnTo>
                    <a:lnTo>
                      <a:pt x="504" y="621"/>
                    </a:lnTo>
                    <a:lnTo>
                      <a:pt x="546" y="526"/>
                    </a:lnTo>
                    <a:lnTo>
                      <a:pt x="543" y="487"/>
                    </a:lnTo>
                    <a:lnTo>
                      <a:pt x="552" y="469"/>
                    </a:lnTo>
                    <a:lnTo>
                      <a:pt x="580" y="457"/>
                    </a:lnTo>
                    <a:lnTo>
                      <a:pt x="590" y="436"/>
                    </a:lnTo>
                    <a:lnTo>
                      <a:pt x="585" y="385"/>
                    </a:lnTo>
                    <a:lnTo>
                      <a:pt x="590" y="355"/>
                    </a:lnTo>
                    <a:lnTo>
                      <a:pt x="608" y="321"/>
                    </a:lnTo>
                    <a:lnTo>
                      <a:pt x="618" y="312"/>
                    </a:lnTo>
                    <a:lnTo>
                      <a:pt x="671" y="316"/>
                    </a:lnTo>
                    <a:lnTo>
                      <a:pt x="700" y="321"/>
                    </a:lnTo>
                    <a:lnTo>
                      <a:pt x="728" y="319"/>
                    </a:lnTo>
                    <a:lnTo>
                      <a:pt x="748" y="321"/>
                    </a:lnTo>
                    <a:lnTo>
                      <a:pt x="781" y="337"/>
                    </a:lnTo>
                    <a:lnTo>
                      <a:pt x="789" y="342"/>
                    </a:lnTo>
                    <a:lnTo>
                      <a:pt x="792" y="334"/>
                    </a:lnTo>
                    <a:lnTo>
                      <a:pt x="843" y="323"/>
                    </a:lnTo>
                    <a:lnTo>
                      <a:pt x="863" y="312"/>
                    </a:lnTo>
                    <a:lnTo>
                      <a:pt x="871" y="297"/>
                    </a:lnTo>
                    <a:lnTo>
                      <a:pt x="831" y="259"/>
                    </a:lnTo>
                    <a:lnTo>
                      <a:pt x="827" y="245"/>
                    </a:lnTo>
                    <a:lnTo>
                      <a:pt x="842" y="229"/>
                    </a:lnTo>
                    <a:lnTo>
                      <a:pt x="874" y="235"/>
                    </a:lnTo>
                    <a:lnTo>
                      <a:pt x="899" y="233"/>
                    </a:lnTo>
                    <a:lnTo>
                      <a:pt x="919" y="224"/>
                    </a:lnTo>
                    <a:lnTo>
                      <a:pt x="927" y="217"/>
                    </a:lnTo>
                    <a:lnTo>
                      <a:pt x="934" y="203"/>
                    </a:lnTo>
                    <a:lnTo>
                      <a:pt x="929" y="191"/>
                    </a:lnTo>
                    <a:lnTo>
                      <a:pt x="915" y="182"/>
                    </a:lnTo>
                    <a:lnTo>
                      <a:pt x="869" y="148"/>
                    </a:lnTo>
                    <a:lnTo>
                      <a:pt x="857" y="145"/>
                    </a:lnTo>
                    <a:lnTo>
                      <a:pt x="842" y="150"/>
                    </a:lnTo>
                    <a:lnTo>
                      <a:pt x="808" y="155"/>
                    </a:lnTo>
                    <a:lnTo>
                      <a:pt x="825" y="129"/>
                    </a:lnTo>
                    <a:lnTo>
                      <a:pt x="818" y="117"/>
                    </a:lnTo>
                    <a:lnTo>
                      <a:pt x="771" y="131"/>
                    </a:lnTo>
                    <a:lnTo>
                      <a:pt x="768" y="120"/>
                    </a:lnTo>
                    <a:lnTo>
                      <a:pt x="788" y="78"/>
                    </a:lnTo>
                    <a:lnTo>
                      <a:pt x="785" y="60"/>
                    </a:lnTo>
                    <a:lnTo>
                      <a:pt x="751" y="34"/>
                    </a:lnTo>
                    <a:lnTo>
                      <a:pt x="737" y="7"/>
                    </a:lnTo>
                    <a:lnTo>
                      <a:pt x="724" y="30"/>
                    </a:lnTo>
                    <a:lnTo>
                      <a:pt x="708" y="25"/>
                    </a:lnTo>
                    <a:lnTo>
                      <a:pt x="694" y="0"/>
                    </a:lnTo>
                    <a:lnTo>
                      <a:pt x="669" y="64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435" name="Freeform 199"/>
              <p:cNvSpPr>
                <a:spLocks/>
              </p:cNvSpPr>
              <p:nvPr>
                <p:custDataLst>
                  <p:tags r:id="rId260"/>
                </p:custDataLst>
              </p:nvPr>
            </p:nvSpPr>
            <p:spPr bwMode="auto">
              <a:xfrm>
                <a:off x="4171" y="2666"/>
                <a:ext cx="60" cy="87"/>
              </a:xfrm>
              <a:custGeom>
                <a:avLst/>
                <a:gdLst>
                  <a:gd name="T0" fmla="*/ 191 w 396"/>
                  <a:gd name="T1" fmla="*/ 31 h 590"/>
                  <a:gd name="T2" fmla="*/ 190 w 396"/>
                  <a:gd name="T3" fmla="*/ 31 h 590"/>
                  <a:gd name="T4" fmla="*/ 186 w 396"/>
                  <a:gd name="T5" fmla="*/ 49 h 590"/>
                  <a:gd name="T6" fmla="*/ 165 w 396"/>
                  <a:gd name="T7" fmla="*/ 67 h 590"/>
                  <a:gd name="T8" fmla="*/ 159 w 396"/>
                  <a:gd name="T9" fmla="*/ 97 h 590"/>
                  <a:gd name="T10" fmla="*/ 130 w 396"/>
                  <a:gd name="T11" fmla="*/ 102 h 590"/>
                  <a:gd name="T12" fmla="*/ 129 w 396"/>
                  <a:gd name="T13" fmla="*/ 77 h 590"/>
                  <a:gd name="T14" fmla="*/ 114 w 396"/>
                  <a:gd name="T15" fmla="*/ 68 h 590"/>
                  <a:gd name="T16" fmla="*/ 102 w 396"/>
                  <a:gd name="T17" fmla="*/ 83 h 590"/>
                  <a:gd name="T18" fmla="*/ 92 w 396"/>
                  <a:gd name="T19" fmla="*/ 104 h 590"/>
                  <a:gd name="T20" fmla="*/ 83 w 396"/>
                  <a:gd name="T21" fmla="*/ 98 h 590"/>
                  <a:gd name="T22" fmla="*/ 77 w 396"/>
                  <a:gd name="T23" fmla="*/ 86 h 590"/>
                  <a:gd name="T24" fmla="*/ 88 w 396"/>
                  <a:gd name="T25" fmla="*/ 65 h 590"/>
                  <a:gd name="T26" fmla="*/ 85 w 396"/>
                  <a:gd name="T27" fmla="*/ 54 h 590"/>
                  <a:gd name="T28" fmla="*/ 83 w 396"/>
                  <a:gd name="T29" fmla="*/ 42 h 590"/>
                  <a:gd name="T30" fmla="*/ 71 w 396"/>
                  <a:gd name="T31" fmla="*/ 30 h 590"/>
                  <a:gd name="T32" fmla="*/ 52 w 396"/>
                  <a:gd name="T33" fmla="*/ 24 h 590"/>
                  <a:gd name="T34" fmla="*/ 46 w 396"/>
                  <a:gd name="T35" fmla="*/ 0 h 590"/>
                  <a:gd name="T36" fmla="*/ 20 w 396"/>
                  <a:gd name="T37" fmla="*/ 0 h 590"/>
                  <a:gd name="T38" fmla="*/ 2 w 396"/>
                  <a:gd name="T39" fmla="*/ 8 h 590"/>
                  <a:gd name="T40" fmla="*/ 0 w 396"/>
                  <a:gd name="T41" fmla="*/ 28 h 590"/>
                  <a:gd name="T42" fmla="*/ 24 w 396"/>
                  <a:gd name="T43" fmla="*/ 164 h 590"/>
                  <a:gd name="T44" fmla="*/ 42 w 396"/>
                  <a:gd name="T45" fmla="*/ 197 h 590"/>
                  <a:gd name="T46" fmla="*/ 46 w 396"/>
                  <a:gd name="T47" fmla="*/ 218 h 590"/>
                  <a:gd name="T48" fmla="*/ 43 w 396"/>
                  <a:gd name="T49" fmla="*/ 259 h 590"/>
                  <a:gd name="T50" fmla="*/ 52 w 396"/>
                  <a:gd name="T51" fmla="*/ 294 h 590"/>
                  <a:gd name="T52" fmla="*/ 91 w 396"/>
                  <a:gd name="T53" fmla="*/ 337 h 590"/>
                  <a:gd name="T54" fmla="*/ 110 w 396"/>
                  <a:gd name="T55" fmla="*/ 374 h 590"/>
                  <a:gd name="T56" fmla="*/ 117 w 396"/>
                  <a:gd name="T57" fmla="*/ 425 h 590"/>
                  <a:gd name="T58" fmla="*/ 126 w 396"/>
                  <a:gd name="T59" fmla="*/ 439 h 590"/>
                  <a:gd name="T60" fmla="*/ 292 w 396"/>
                  <a:gd name="T61" fmla="*/ 562 h 590"/>
                  <a:gd name="T62" fmla="*/ 314 w 396"/>
                  <a:gd name="T63" fmla="*/ 586 h 590"/>
                  <a:gd name="T64" fmla="*/ 322 w 396"/>
                  <a:gd name="T65" fmla="*/ 590 h 590"/>
                  <a:gd name="T66" fmla="*/ 339 w 396"/>
                  <a:gd name="T67" fmla="*/ 583 h 590"/>
                  <a:gd name="T68" fmla="*/ 379 w 396"/>
                  <a:gd name="T69" fmla="*/ 584 h 590"/>
                  <a:gd name="T70" fmla="*/ 396 w 396"/>
                  <a:gd name="T71" fmla="*/ 588 h 590"/>
                  <a:gd name="T72" fmla="*/ 362 w 396"/>
                  <a:gd name="T73" fmla="*/ 497 h 590"/>
                  <a:gd name="T74" fmla="*/ 347 w 396"/>
                  <a:gd name="T75" fmla="*/ 469 h 590"/>
                  <a:gd name="T76" fmla="*/ 323 w 396"/>
                  <a:gd name="T77" fmla="*/ 442 h 590"/>
                  <a:gd name="T78" fmla="*/ 314 w 396"/>
                  <a:gd name="T79" fmla="*/ 423 h 590"/>
                  <a:gd name="T80" fmla="*/ 310 w 396"/>
                  <a:gd name="T81" fmla="*/ 396 h 590"/>
                  <a:gd name="T82" fmla="*/ 314 w 396"/>
                  <a:gd name="T83" fmla="*/ 363 h 590"/>
                  <a:gd name="T84" fmla="*/ 310 w 396"/>
                  <a:gd name="T85" fmla="*/ 307 h 590"/>
                  <a:gd name="T86" fmla="*/ 317 w 396"/>
                  <a:gd name="T87" fmla="*/ 218 h 590"/>
                  <a:gd name="T88" fmla="*/ 314 w 396"/>
                  <a:gd name="T89" fmla="*/ 188 h 590"/>
                  <a:gd name="T90" fmla="*/ 214 w 396"/>
                  <a:gd name="T91" fmla="*/ 37 h 590"/>
                  <a:gd name="T92" fmla="*/ 191 w 396"/>
                  <a:gd name="T93" fmla="*/ 31 h 590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396"/>
                  <a:gd name="T142" fmla="*/ 0 h 590"/>
                  <a:gd name="T143" fmla="*/ 396 w 396"/>
                  <a:gd name="T144" fmla="*/ 590 h 590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396" h="590">
                    <a:moveTo>
                      <a:pt x="191" y="31"/>
                    </a:moveTo>
                    <a:lnTo>
                      <a:pt x="190" y="31"/>
                    </a:lnTo>
                    <a:lnTo>
                      <a:pt x="186" y="49"/>
                    </a:lnTo>
                    <a:lnTo>
                      <a:pt x="165" y="67"/>
                    </a:lnTo>
                    <a:lnTo>
                      <a:pt x="159" y="97"/>
                    </a:lnTo>
                    <a:lnTo>
                      <a:pt x="130" y="102"/>
                    </a:lnTo>
                    <a:lnTo>
                      <a:pt x="129" y="77"/>
                    </a:lnTo>
                    <a:lnTo>
                      <a:pt x="114" y="68"/>
                    </a:lnTo>
                    <a:lnTo>
                      <a:pt x="102" y="83"/>
                    </a:lnTo>
                    <a:lnTo>
                      <a:pt x="92" y="104"/>
                    </a:lnTo>
                    <a:lnTo>
                      <a:pt x="83" y="98"/>
                    </a:lnTo>
                    <a:lnTo>
                      <a:pt x="77" y="86"/>
                    </a:lnTo>
                    <a:lnTo>
                      <a:pt x="88" y="65"/>
                    </a:lnTo>
                    <a:lnTo>
                      <a:pt x="85" y="54"/>
                    </a:lnTo>
                    <a:lnTo>
                      <a:pt x="83" y="42"/>
                    </a:lnTo>
                    <a:lnTo>
                      <a:pt x="71" y="30"/>
                    </a:lnTo>
                    <a:lnTo>
                      <a:pt x="52" y="24"/>
                    </a:lnTo>
                    <a:lnTo>
                      <a:pt x="46" y="0"/>
                    </a:lnTo>
                    <a:lnTo>
                      <a:pt x="20" y="0"/>
                    </a:lnTo>
                    <a:lnTo>
                      <a:pt x="2" y="8"/>
                    </a:lnTo>
                    <a:lnTo>
                      <a:pt x="0" y="28"/>
                    </a:lnTo>
                    <a:lnTo>
                      <a:pt x="24" y="164"/>
                    </a:lnTo>
                    <a:lnTo>
                      <a:pt x="42" y="197"/>
                    </a:lnTo>
                    <a:lnTo>
                      <a:pt x="46" y="218"/>
                    </a:lnTo>
                    <a:lnTo>
                      <a:pt x="43" y="259"/>
                    </a:lnTo>
                    <a:lnTo>
                      <a:pt x="52" y="294"/>
                    </a:lnTo>
                    <a:lnTo>
                      <a:pt x="91" y="337"/>
                    </a:lnTo>
                    <a:lnTo>
                      <a:pt x="110" y="374"/>
                    </a:lnTo>
                    <a:lnTo>
                      <a:pt x="117" y="425"/>
                    </a:lnTo>
                    <a:lnTo>
                      <a:pt x="126" y="439"/>
                    </a:lnTo>
                    <a:lnTo>
                      <a:pt x="292" y="562"/>
                    </a:lnTo>
                    <a:lnTo>
                      <a:pt x="314" y="586"/>
                    </a:lnTo>
                    <a:lnTo>
                      <a:pt x="322" y="590"/>
                    </a:lnTo>
                    <a:lnTo>
                      <a:pt x="339" y="583"/>
                    </a:lnTo>
                    <a:lnTo>
                      <a:pt x="379" y="584"/>
                    </a:lnTo>
                    <a:lnTo>
                      <a:pt x="396" y="588"/>
                    </a:lnTo>
                    <a:lnTo>
                      <a:pt x="362" y="497"/>
                    </a:lnTo>
                    <a:lnTo>
                      <a:pt x="347" y="469"/>
                    </a:lnTo>
                    <a:lnTo>
                      <a:pt x="323" y="442"/>
                    </a:lnTo>
                    <a:lnTo>
                      <a:pt x="314" y="423"/>
                    </a:lnTo>
                    <a:lnTo>
                      <a:pt x="310" y="396"/>
                    </a:lnTo>
                    <a:lnTo>
                      <a:pt x="314" y="363"/>
                    </a:lnTo>
                    <a:lnTo>
                      <a:pt x="310" y="307"/>
                    </a:lnTo>
                    <a:lnTo>
                      <a:pt x="317" y="218"/>
                    </a:lnTo>
                    <a:lnTo>
                      <a:pt x="314" y="188"/>
                    </a:lnTo>
                    <a:lnTo>
                      <a:pt x="214" y="37"/>
                    </a:lnTo>
                    <a:lnTo>
                      <a:pt x="191" y="31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436" name="Freeform 200"/>
              <p:cNvSpPr>
                <a:spLocks/>
              </p:cNvSpPr>
              <p:nvPr>
                <p:custDataLst>
                  <p:tags r:id="rId261"/>
                </p:custDataLst>
              </p:nvPr>
            </p:nvSpPr>
            <p:spPr bwMode="auto">
              <a:xfrm>
                <a:off x="3699" y="2136"/>
                <a:ext cx="429" cy="502"/>
              </a:xfrm>
              <a:custGeom>
                <a:avLst/>
                <a:gdLst>
                  <a:gd name="T0" fmla="*/ 798 w 2872"/>
                  <a:gd name="T1" fmla="*/ 119 h 3385"/>
                  <a:gd name="T2" fmla="*/ 564 w 2872"/>
                  <a:gd name="T3" fmla="*/ 144 h 3385"/>
                  <a:gd name="T4" fmla="*/ 606 w 2872"/>
                  <a:gd name="T5" fmla="*/ 213 h 3385"/>
                  <a:gd name="T6" fmla="*/ 617 w 2872"/>
                  <a:gd name="T7" fmla="*/ 324 h 3385"/>
                  <a:gd name="T8" fmla="*/ 717 w 2872"/>
                  <a:gd name="T9" fmla="*/ 426 h 3385"/>
                  <a:gd name="T10" fmla="*/ 568 w 2872"/>
                  <a:gd name="T11" fmla="*/ 666 h 3385"/>
                  <a:gd name="T12" fmla="*/ 425 w 2872"/>
                  <a:gd name="T13" fmla="*/ 868 h 3385"/>
                  <a:gd name="T14" fmla="*/ 274 w 2872"/>
                  <a:gd name="T15" fmla="*/ 1004 h 3385"/>
                  <a:gd name="T16" fmla="*/ 151 w 2872"/>
                  <a:gd name="T17" fmla="*/ 1069 h 3385"/>
                  <a:gd name="T18" fmla="*/ 214 w 2872"/>
                  <a:gd name="T19" fmla="*/ 1255 h 3385"/>
                  <a:gd name="T20" fmla="*/ 283 w 2872"/>
                  <a:gd name="T21" fmla="*/ 1421 h 3385"/>
                  <a:gd name="T22" fmla="*/ 163 w 2872"/>
                  <a:gd name="T23" fmla="*/ 1443 h 3385"/>
                  <a:gd name="T24" fmla="*/ 0 w 2872"/>
                  <a:gd name="T25" fmla="*/ 1497 h 3385"/>
                  <a:gd name="T26" fmla="*/ 196 w 2872"/>
                  <a:gd name="T27" fmla="*/ 1617 h 3385"/>
                  <a:gd name="T28" fmla="*/ 143 w 2872"/>
                  <a:gd name="T29" fmla="*/ 1683 h 3385"/>
                  <a:gd name="T30" fmla="*/ 292 w 2872"/>
                  <a:gd name="T31" fmla="*/ 1877 h 3385"/>
                  <a:gd name="T32" fmla="*/ 413 w 2872"/>
                  <a:gd name="T33" fmla="*/ 1758 h 3385"/>
                  <a:gd name="T34" fmla="*/ 462 w 2872"/>
                  <a:gd name="T35" fmla="*/ 1817 h 3385"/>
                  <a:gd name="T36" fmla="*/ 568 w 2872"/>
                  <a:gd name="T37" fmla="*/ 2513 h 3385"/>
                  <a:gd name="T38" fmla="*/ 845 w 2872"/>
                  <a:gd name="T39" fmla="*/ 3284 h 3385"/>
                  <a:gd name="T40" fmla="*/ 942 w 2872"/>
                  <a:gd name="T41" fmla="*/ 3371 h 3385"/>
                  <a:gd name="T42" fmla="*/ 1054 w 2872"/>
                  <a:gd name="T43" fmla="*/ 3256 h 3385"/>
                  <a:gd name="T44" fmla="*/ 1152 w 2872"/>
                  <a:gd name="T45" fmla="*/ 3124 h 3385"/>
                  <a:gd name="T46" fmla="*/ 1179 w 2872"/>
                  <a:gd name="T47" fmla="*/ 2717 h 3385"/>
                  <a:gd name="T48" fmla="*/ 1218 w 2872"/>
                  <a:gd name="T49" fmla="*/ 2467 h 3385"/>
                  <a:gd name="T50" fmla="*/ 1347 w 2872"/>
                  <a:gd name="T51" fmla="*/ 2401 h 3385"/>
                  <a:gd name="T52" fmla="*/ 1503 w 2872"/>
                  <a:gd name="T53" fmla="*/ 2234 h 3385"/>
                  <a:gd name="T54" fmla="*/ 1752 w 2872"/>
                  <a:gd name="T55" fmla="*/ 1991 h 3385"/>
                  <a:gd name="T56" fmla="*/ 1841 w 2872"/>
                  <a:gd name="T57" fmla="*/ 1813 h 3385"/>
                  <a:gd name="T58" fmla="*/ 1987 w 2872"/>
                  <a:gd name="T59" fmla="*/ 1769 h 3385"/>
                  <a:gd name="T60" fmla="*/ 2057 w 2872"/>
                  <a:gd name="T61" fmla="*/ 1769 h 3385"/>
                  <a:gd name="T62" fmla="*/ 2028 w 2872"/>
                  <a:gd name="T63" fmla="*/ 1453 h 3385"/>
                  <a:gd name="T64" fmla="*/ 2041 w 2872"/>
                  <a:gd name="T65" fmla="*/ 1320 h 3385"/>
                  <a:gd name="T66" fmla="*/ 1988 w 2872"/>
                  <a:gd name="T67" fmla="*/ 1186 h 3385"/>
                  <a:gd name="T68" fmla="*/ 2136 w 2872"/>
                  <a:gd name="T69" fmla="*/ 1308 h 3385"/>
                  <a:gd name="T70" fmla="*/ 2369 w 2872"/>
                  <a:gd name="T71" fmla="*/ 1388 h 3385"/>
                  <a:gd name="T72" fmla="*/ 2286 w 2872"/>
                  <a:gd name="T73" fmla="*/ 1573 h 3385"/>
                  <a:gd name="T74" fmla="*/ 2397 w 2872"/>
                  <a:gd name="T75" fmla="*/ 1674 h 3385"/>
                  <a:gd name="T76" fmla="*/ 2454 w 2872"/>
                  <a:gd name="T77" fmla="*/ 1600 h 3385"/>
                  <a:gd name="T78" fmla="*/ 2543 w 2872"/>
                  <a:gd name="T79" fmla="*/ 1481 h 3385"/>
                  <a:gd name="T80" fmla="*/ 2649 w 2872"/>
                  <a:gd name="T81" fmla="*/ 1232 h 3385"/>
                  <a:gd name="T82" fmla="*/ 2844 w 2872"/>
                  <a:gd name="T83" fmla="*/ 1077 h 3385"/>
                  <a:gd name="T84" fmla="*/ 2766 w 2872"/>
                  <a:gd name="T85" fmla="*/ 918 h 3385"/>
                  <a:gd name="T86" fmla="*/ 2613 w 2872"/>
                  <a:gd name="T87" fmla="*/ 824 h 3385"/>
                  <a:gd name="T88" fmla="*/ 2402 w 2872"/>
                  <a:gd name="T89" fmla="*/ 978 h 3385"/>
                  <a:gd name="T90" fmla="*/ 2323 w 2872"/>
                  <a:gd name="T91" fmla="*/ 1052 h 3385"/>
                  <a:gd name="T92" fmla="*/ 2197 w 2872"/>
                  <a:gd name="T93" fmla="*/ 1114 h 3385"/>
                  <a:gd name="T94" fmla="*/ 2041 w 2872"/>
                  <a:gd name="T95" fmla="*/ 1105 h 3385"/>
                  <a:gd name="T96" fmla="*/ 1976 w 2872"/>
                  <a:gd name="T97" fmla="*/ 983 h 3385"/>
                  <a:gd name="T98" fmla="*/ 1921 w 2872"/>
                  <a:gd name="T99" fmla="*/ 1166 h 3385"/>
                  <a:gd name="T100" fmla="*/ 1767 w 2872"/>
                  <a:gd name="T101" fmla="*/ 1131 h 3385"/>
                  <a:gd name="T102" fmla="*/ 1659 w 2872"/>
                  <a:gd name="T103" fmla="*/ 1092 h 3385"/>
                  <a:gd name="T104" fmla="*/ 1531 w 2872"/>
                  <a:gd name="T105" fmla="*/ 1031 h 3385"/>
                  <a:gd name="T106" fmla="*/ 1416 w 2872"/>
                  <a:gd name="T107" fmla="*/ 1006 h 3385"/>
                  <a:gd name="T108" fmla="*/ 1211 w 2872"/>
                  <a:gd name="T109" fmla="*/ 882 h 3385"/>
                  <a:gd name="T110" fmla="*/ 1212 w 2872"/>
                  <a:gd name="T111" fmla="*/ 741 h 3385"/>
                  <a:gd name="T112" fmla="*/ 1152 w 2872"/>
                  <a:gd name="T113" fmla="*/ 582 h 3385"/>
                  <a:gd name="T114" fmla="*/ 1060 w 2872"/>
                  <a:gd name="T115" fmla="*/ 502 h 3385"/>
                  <a:gd name="T116" fmla="*/ 1072 w 2872"/>
                  <a:gd name="T117" fmla="*/ 405 h 3385"/>
                  <a:gd name="T118" fmla="*/ 1083 w 2872"/>
                  <a:gd name="T119" fmla="*/ 278 h 3385"/>
                  <a:gd name="T120" fmla="*/ 990 w 2872"/>
                  <a:gd name="T121" fmla="*/ 123 h 3385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2872"/>
                  <a:gd name="T184" fmla="*/ 0 h 3385"/>
                  <a:gd name="T185" fmla="*/ 2872 w 2872"/>
                  <a:gd name="T186" fmla="*/ 3385 h 3385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2872" h="3385">
                    <a:moveTo>
                      <a:pt x="875" y="75"/>
                    </a:moveTo>
                    <a:lnTo>
                      <a:pt x="872" y="104"/>
                    </a:lnTo>
                    <a:lnTo>
                      <a:pt x="862" y="111"/>
                    </a:lnTo>
                    <a:lnTo>
                      <a:pt x="855" y="100"/>
                    </a:lnTo>
                    <a:lnTo>
                      <a:pt x="829" y="95"/>
                    </a:lnTo>
                    <a:lnTo>
                      <a:pt x="809" y="102"/>
                    </a:lnTo>
                    <a:lnTo>
                      <a:pt x="798" y="119"/>
                    </a:lnTo>
                    <a:lnTo>
                      <a:pt x="786" y="112"/>
                    </a:lnTo>
                    <a:lnTo>
                      <a:pt x="761" y="128"/>
                    </a:lnTo>
                    <a:lnTo>
                      <a:pt x="720" y="119"/>
                    </a:lnTo>
                    <a:lnTo>
                      <a:pt x="695" y="111"/>
                    </a:lnTo>
                    <a:lnTo>
                      <a:pt x="619" y="93"/>
                    </a:lnTo>
                    <a:lnTo>
                      <a:pt x="580" y="107"/>
                    </a:lnTo>
                    <a:lnTo>
                      <a:pt x="564" y="144"/>
                    </a:lnTo>
                    <a:lnTo>
                      <a:pt x="568" y="155"/>
                    </a:lnTo>
                    <a:lnTo>
                      <a:pt x="582" y="155"/>
                    </a:lnTo>
                    <a:lnTo>
                      <a:pt x="584" y="172"/>
                    </a:lnTo>
                    <a:lnTo>
                      <a:pt x="576" y="181"/>
                    </a:lnTo>
                    <a:lnTo>
                      <a:pt x="580" y="194"/>
                    </a:lnTo>
                    <a:lnTo>
                      <a:pt x="606" y="192"/>
                    </a:lnTo>
                    <a:lnTo>
                      <a:pt x="606" y="213"/>
                    </a:lnTo>
                    <a:lnTo>
                      <a:pt x="589" y="218"/>
                    </a:lnTo>
                    <a:lnTo>
                      <a:pt x="582" y="243"/>
                    </a:lnTo>
                    <a:lnTo>
                      <a:pt x="601" y="257"/>
                    </a:lnTo>
                    <a:lnTo>
                      <a:pt x="594" y="285"/>
                    </a:lnTo>
                    <a:lnTo>
                      <a:pt x="585" y="292"/>
                    </a:lnTo>
                    <a:lnTo>
                      <a:pt x="590" y="306"/>
                    </a:lnTo>
                    <a:lnTo>
                      <a:pt x="617" y="324"/>
                    </a:lnTo>
                    <a:lnTo>
                      <a:pt x="615" y="356"/>
                    </a:lnTo>
                    <a:lnTo>
                      <a:pt x="651" y="356"/>
                    </a:lnTo>
                    <a:lnTo>
                      <a:pt x="650" y="381"/>
                    </a:lnTo>
                    <a:lnTo>
                      <a:pt x="656" y="395"/>
                    </a:lnTo>
                    <a:lnTo>
                      <a:pt x="688" y="393"/>
                    </a:lnTo>
                    <a:lnTo>
                      <a:pt x="717" y="414"/>
                    </a:lnTo>
                    <a:lnTo>
                      <a:pt x="717" y="426"/>
                    </a:lnTo>
                    <a:lnTo>
                      <a:pt x="708" y="441"/>
                    </a:lnTo>
                    <a:lnTo>
                      <a:pt x="658" y="465"/>
                    </a:lnTo>
                    <a:lnTo>
                      <a:pt x="635" y="479"/>
                    </a:lnTo>
                    <a:lnTo>
                      <a:pt x="638" y="500"/>
                    </a:lnTo>
                    <a:lnTo>
                      <a:pt x="645" y="522"/>
                    </a:lnTo>
                    <a:lnTo>
                      <a:pt x="634" y="578"/>
                    </a:lnTo>
                    <a:lnTo>
                      <a:pt x="568" y="666"/>
                    </a:lnTo>
                    <a:lnTo>
                      <a:pt x="580" y="688"/>
                    </a:lnTo>
                    <a:lnTo>
                      <a:pt x="564" y="704"/>
                    </a:lnTo>
                    <a:lnTo>
                      <a:pt x="536" y="711"/>
                    </a:lnTo>
                    <a:lnTo>
                      <a:pt x="522" y="740"/>
                    </a:lnTo>
                    <a:lnTo>
                      <a:pt x="499" y="808"/>
                    </a:lnTo>
                    <a:lnTo>
                      <a:pt x="478" y="840"/>
                    </a:lnTo>
                    <a:lnTo>
                      <a:pt x="425" y="868"/>
                    </a:lnTo>
                    <a:lnTo>
                      <a:pt x="418" y="890"/>
                    </a:lnTo>
                    <a:lnTo>
                      <a:pt x="405" y="916"/>
                    </a:lnTo>
                    <a:lnTo>
                      <a:pt x="381" y="951"/>
                    </a:lnTo>
                    <a:lnTo>
                      <a:pt x="376" y="972"/>
                    </a:lnTo>
                    <a:lnTo>
                      <a:pt x="345" y="987"/>
                    </a:lnTo>
                    <a:lnTo>
                      <a:pt x="312" y="987"/>
                    </a:lnTo>
                    <a:lnTo>
                      <a:pt x="274" y="1004"/>
                    </a:lnTo>
                    <a:lnTo>
                      <a:pt x="258" y="999"/>
                    </a:lnTo>
                    <a:lnTo>
                      <a:pt x="250" y="971"/>
                    </a:lnTo>
                    <a:lnTo>
                      <a:pt x="242" y="962"/>
                    </a:lnTo>
                    <a:lnTo>
                      <a:pt x="224" y="967"/>
                    </a:lnTo>
                    <a:lnTo>
                      <a:pt x="200" y="994"/>
                    </a:lnTo>
                    <a:lnTo>
                      <a:pt x="194" y="1018"/>
                    </a:lnTo>
                    <a:lnTo>
                      <a:pt x="151" y="1069"/>
                    </a:lnTo>
                    <a:lnTo>
                      <a:pt x="143" y="1099"/>
                    </a:lnTo>
                    <a:lnTo>
                      <a:pt x="139" y="1115"/>
                    </a:lnTo>
                    <a:lnTo>
                      <a:pt x="144" y="1136"/>
                    </a:lnTo>
                    <a:lnTo>
                      <a:pt x="189" y="1151"/>
                    </a:lnTo>
                    <a:lnTo>
                      <a:pt x="209" y="1151"/>
                    </a:lnTo>
                    <a:lnTo>
                      <a:pt x="197" y="1232"/>
                    </a:lnTo>
                    <a:lnTo>
                      <a:pt x="214" y="1255"/>
                    </a:lnTo>
                    <a:lnTo>
                      <a:pt x="230" y="1260"/>
                    </a:lnTo>
                    <a:lnTo>
                      <a:pt x="253" y="1255"/>
                    </a:lnTo>
                    <a:lnTo>
                      <a:pt x="259" y="1279"/>
                    </a:lnTo>
                    <a:lnTo>
                      <a:pt x="296" y="1383"/>
                    </a:lnTo>
                    <a:lnTo>
                      <a:pt x="287" y="1391"/>
                    </a:lnTo>
                    <a:lnTo>
                      <a:pt x="298" y="1418"/>
                    </a:lnTo>
                    <a:lnTo>
                      <a:pt x="283" y="1421"/>
                    </a:lnTo>
                    <a:lnTo>
                      <a:pt x="277" y="1434"/>
                    </a:lnTo>
                    <a:lnTo>
                      <a:pt x="252" y="1439"/>
                    </a:lnTo>
                    <a:lnTo>
                      <a:pt x="246" y="1421"/>
                    </a:lnTo>
                    <a:lnTo>
                      <a:pt x="238" y="1418"/>
                    </a:lnTo>
                    <a:lnTo>
                      <a:pt x="203" y="1429"/>
                    </a:lnTo>
                    <a:lnTo>
                      <a:pt x="194" y="1448"/>
                    </a:lnTo>
                    <a:lnTo>
                      <a:pt x="163" y="1443"/>
                    </a:lnTo>
                    <a:lnTo>
                      <a:pt x="152" y="1434"/>
                    </a:lnTo>
                    <a:lnTo>
                      <a:pt x="78" y="1432"/>
                    </a:lnTo>
                    <a:lnTo>
                      <a:pt x="66" y="1429"/>
                    </a:lnTo>
                    <a:lnTo>
                      <a:pt x="69" y="1469"/>
                    </a:lnTo>
                    <a:lnTo>
                      <a:pt x="29" y="1471"/>
                    </a:lnTo>
                    <a:lnTo>
                      <a:pt x="16" y="1494"/>
                    </a:lnTo>
                    <a:lnTo>
                      <a:pt x="0" y="1497"/>
                    </a:lnTo>
                    <a:lnTo>
                      <a:pt x="3" y="1508"/>
                    </a:lnTo>
                    <a:lnTo>
                      <a:pt x="33" y="1550"/>
                    </a:lnTo>
                    <a:lnTo>
                      <a:pt x="73" y="1587"/>
                    </a:lnTo>
                    <a:lnTo>
                      <a:pt x="82" y="1591"/>
                    </a:lnTo>
                    <a:lnTo>
                      <a:pt x="103" y="1603"/>
                    </a:lnTo>
                    <a:lnTo>
                      <a:pt x="159" y="1617"/>
                    </a:lnTo>
                    <a:lnTo>
                      <a:pt x="196" y="1617"/>
                    </a:lnTo>
                    <a:lnTo>
                      <a:pt x="222" y="1612"/>
                    </a:lnTo>
                    <a:lnTo>
                      <a:pt x="230" y="1608"/>
                    </a:lnTo>
                    <a:lnTo>
                      <a:pt x="233" y="1621"/>
                    </a:lnTo>
                    <a:lnTo>
                      <a:pt x="209" y="1654"/>
                    </a:lnTo>
                    <a:lnTo>
                      <a:pt x="188" y="1670"/>
                    </a:lnTo>
                    <a:lnTo>
                      <a:pt x="169" y="1677"/>
                    </a:lnTo>
                    <a:lnTo>
                      <a:pt x="143" y="1683"/>
                    </a:lnTo>
                    <a:lnTo>
                      <a:pt x="95" y="1675"/>
                    </a:lnTo>
                    <a:lnTo>
                      <a:pt x="83" y="1679"/>
                    </a:lnTo>
                    <a:lnTo>
                      <a:pt x="107" y="1718"/>
                    </a:lnTo>
                    <a:lnTo>
                      <a:pt x="212" y="1841"/>
                    </a:lnTo>
                    <a:lnTo>
                      <a:pt x="237" y="1862"/>
                    </a:lnTo>
                    <a:lnTo>
                      <a:pt x="275" y="1878"/>
                    </a:lnTo>
                    <a:lnTo>
                      <a:pt x="292" y="1877"/>
                    </a:lnTo>
                    <a:lnTo>
                      <a:pt x="320" y="1862"/>
                    </a:lnTo>
                    <a:lnTo>
                      <a:pt x="343" y="1857"/>
                    </a:lnTo>
                    <a:lnTo>
                      <a:pt x="378" y="1836"/>
                    </a:lnTo>
                    <a:lnTo>
                      <a:pt x="400" y="1817"/>
                    </a:lnTo>
                    <a:lnTo>
                      <a:pt x="413" y="1792"/>
                    </a:lnTo>
                    <a:lnTo>
                      <a:pt x="417" y="1769"/>
                    </a:lnTo>
                    <a:lnTo>
                      <a:pt x="413" y="1758"/>
                    </a:lnTo>
                    <a:lnTo>
                      <a:pt x="400" y="1744"/>
                    </a:lnTo>
                    <a:lnTo>
                      <a:pt x="400" y="1734"/>
                    </a:lnTo>
                    <a:lnTo>
                      <a:pt x="410" y="1711"/>
                    </a:lnTo>
                    <a:lnTo>
                      <a:pt x="420" y="1698"/>
                    </a:lnTo>
                    <a:lnTo>
                      <a:pt x="457" y="1698"/>
                    </a:lnTo>
                    <a:lnTo>
                      <a:pt x="454" y="1732"/>
                    </a:lnTo>
                    <a:lnTo>
                      <a:pt x="462" y="1817"/>
                    </a:lnTo>
                    <a:lnTo>
                      <a:pt x="479" y="1841"/>
                    </a:lnTo>
                    <a:lnTo>
                      <a:pt x="496" y="1857"/>
                    </a:lnTo>
                    <a:lnTo>
                      <a:pt x="496" y="1873"/>
                    </a:lnTo>
                    <a:lnTo>
                      <a:pt x="473" y="1919"/>
                    </a:lnTo>
                    <a:lnTo>
                      <a:pt x="462" y="1951"/>
                    </a:lnTo>
                    <a:lnTo>
                      <a:pt x="527" y="2373"/>
                    </a:lnTo>
                    <a:lnTo>
                      <a:pt x="568" y="2513"/>
                    </a:lnTo>
                    <a:lnTo>
                      <a:pt x="625" y="2629"/>
                    </a:lnTo>
                    <a:lnTo>
                      <a:pt x="655" y="2715"/>
                    </a:lnTo>
                    <a:lnTo>
                      <a:pt x="703" y="2905"/>
                    </a:lnTo>
                    <a:lnTo>
                      <a:pt x="745" y="2984"/>
                    </a:lnTo>
                    <a:lnTo>
                      <a:pt x="818" y="3182"/>
                    </a:lnTo>
                    <a:lnTo>
                      <a:pt x="833" y="3256"/>
                    </a:lnTo>
                    <a:lnTo>
                      <a:pt x="845" y="3284"/>
                    </a:lnTo>
                    <a:lnTo>
                      <a:pt x="850" y="3306"/>
                    </a:lnTo>
                    <a:lnTo>
                      <a:pt x="912" y="3381"/>
                    </a:lnTo>
                    <a:lnTo>
                      <a:pt x="919" y="3385"/>
                    </a:lnTo>
                    <a:lnTo>
                      <a:pt x="925" y="3385"/>
                    </a:lnTo>
                    <a:lnTo>
                      <a:pt x="936" y="3376"/>
                    </a:lnTo>
                    <a:lnTo>
                      <a:pt x="938" y="3374"/>
                    </a:lnTo>
                    <a:lnTo>
                      <a:pt x="942" y="3371"/>
                    </a:lnTo>
                    <a:lnTo>
                      <a:pt x="966" y="3358"/>
                    </a:lnTo>
                    <a:lnTo>
                      <a:pt x="982" y="3343"/>
                    </a:lnTo>
                    <a:lnTo>
                      <a:pt x="990" y="3330"/>
                    </a:lnTo>
                    <a:lnTo>
                      <a:pt x="994" y="3293"/>
                    </a:lnTo>
                    <a:lnTo>
                      <a:pt x="1006" y="3270"/>
                    </a:lnTo>
                    <a:lnTo>
                      <a:pt x="1040" y="3256"/>
                    </a:lnTo>
                    <a:lnTo>
                      <a:pt x="1054" y="3256"/>
                    </a:lnTo>
                    <a:lnTo>
                      <a:pt x="1089" y="3238"/>
                    </a:lnTo>
                    <a:lnTo>
                      <a:pt x="1068" y="3219"/>
                    </a:lnTo>
                    <a:lnTo>
                      <a:pt x="1067" y="3212"/>
                    </a:lnTo>
                    <a:lnTo>
                      <a:pt x="1080" y="3182"/>
                    </a:lnTo>
                    <a:lnTo>
                      <a:pt x="1096" y="3131"/>
                    </a:lnTo>
                    <a:lnTo>
                      <a:pt x="1104" y="3122"/>
                    </a:lnTo>
                    <a:lnTo>
                      <a:pt x="1152" y="3124"/>
                    </a:lnTo>
                    <a:lnTo>
                      <a:pt x="1154" y="3111"/>
                    </a:lnTo>
                    <a:lnTo>
                      <a:pt x="1145" y="2983"/>
                    </a:lnTo>
                    <a:lnTo>
                      <a:pt x="1150" y="2949"/>
                    </a:lnTo>
                    <a:lnTo>
                      <a:pt x="1195" y="2819"/>
                    </a:lnTo>
                    <a:lnTo>
                      <a:pt x="1203" y="2785"/>
                    </a:lnTo>
                    <a:lnTo>
                      <a:pt x="1203" y="2759"/>
                    </a:lnTo>
                    <a:lnTo>
                      <a:pt x="1179" y="2717"/>
                    </a:lnTo>
                    <a:lnTo>
                      <a:pt x="1189" y="2691"/>
                    </a:lnTo>
                    <a:lnTo>
                      <a:pt x="1189" y="2648"/>
                    </a:lnTo>
                    <a:lnTo>
                      <a:pt x="1182" y="2565"/>
                    </a:lnTo>
                    <a:lnTo>
                      <a:pt x="1182" y="2539"/>
                    </a:lnTo>
                    <a:lnTo>
                      <a:pt x="1189" y="2513"/>
                    </a:lnTo>
                    <a:lnTo>
                      <a:pt x="1202" y="2483"/>
                    </a:lnTo>
                    <a:lnTo>
                      <a:pt x="1218" y="2467"/>
                    </a:lnTo>
                    <a:lnTo>
                      <a:pt x="1245" y="2460"/>
                    </a:lnTo>
                    <a:lnTo>
                      <a:pt x="1268" y="2474"/>
                    </a:lnTo>
                    <a:lnTo>
                      <a:pt x="1280" y="2461"/>
                    </a:lnTo>
                    <a:lnTo>
                      <a:pt x="1296" y="2414"/>
                    </a:lnTo>
                    <a:lnTo>
                      <a:pt x="1306" y="2398"/>
                    </a:lnTo>
                    <a:lnTo>
                      <a:pt x="1328" y="2403"/>
                    </a:lnTo>
                    <a:lnTo>
                      <a:pt x="1347" y="2401"/>
                    </a:lnTo>
                    <a:lnTo>
                      <a:pt x="1375" y="2384"/>
                    </a:lnTo>
                    <a:lnTo>
                      <a:pt x="1392" y="2363"/>
                    </a:lnTo>
                    <a:lnTo>
                      <a:pt x="1395" y="2338"/>
                    </a:lnTo>
                    <a:lnTo>
                      <a:pt x="1404" y="2310"/>
                    </a:lnTo>
                    <a:lnTo>
                      <a:pt x="1422" y="2294"/>
                    </a:lnTo>
                    <a:lnTo>
                      <a:pt x="1473" y="2260"/>
                    </a:lnTo>
                    <a:lnTo>
                      <a:pt x="1503" y="2234"/>
                    </a:lnTo>
                    <a:lnTo>
                      <a:pt x="1534" y="2190"/>
                    </a:lnTo>
                    <a:lnTo>
                      <a:pt x="1564" y="2176"/>
                    </a:lnTo>
                    <a:lnTo>
                      <a:pt x="1591" y="2146"/>
                    </a:lnTo>
                    <a:lnTo>
                      <a:pt x="1673" y="2025"/>
                    </a:lnTo>
                    <a:lnTo>
                      <a:pt x="1701" y="2005"/>
                    </a:lnTo>
                    <a:lnTo>
                      <a:pt x="1733" y="1993"/>
                    </a:lnTo>
                    <a:lnTo>
                      <a:pt x="1752" y="1991"/>
                    </a:lnTo>
                    <a:lnTo>
                      <a:pt x="1772" y="1981"/>
                    </a:lnTo>
                    <a:lnTo>
                      <a:pt x="1821" y="1933"/>
                    </a:lnTo>
                    <a:lnTo>
                      <a:pt x="1824" y="1919"/>
                    </a:lnTo>
                    <a:lnTo>
                      <a:pt x="1852" y="1873"/>
                    </a:lnTo>
                    <a:lnTo>
                      <a:pt x="1844" y="1850"/>
                    </a:lnTo>
                    <a:lnTo>
                      <a:pt x="1838" y="1818"/>
                    </a:lnTo>
                    <a:lnTo>
                      <a:pt x="1841" y="1813"/>
                    </a:lnTo>
                    <a:lnTo>
                      <a:pt x="1853" y="1801"/>
                    </a:lnTo>
                    <a:lnTo>
                      <a:pt x="1921" y="1767"/>
                    </a:lnTo>
                    <a:lnTo>
                      <a:pt x="1943" y="1750"/>
                    </a:lnTo>
                    <a:lnTo>
                      <a:pt x="1961" y="1721"/>
                    </a:lnTo>
                    <a:lnTo>
                      <a:pt x="1968" y="1730"/>
                    </a:lnTo>
                    <a:lnTo>
                      <a:pt x="1980" y="1762"/>
                    </a:lnTo>
                    <a:lnTo>
                      <a:pt x="1987" y="1769"/>
                    </a:lnTo>
                    <a:lnTo>
                      <a:pt x="1993" y="1765"/>
                    </a:lnTo>
                    <a:lnTo>
                      <a:pt x="2001" y="1746"/>
                    </a:lnTo>
                    <a:lnTo>
                      <a:pt x="2012" y="1727"/>
                    </a:lnTo>
                    <a:lnTo>
                      <a:pt x="2021" y="1730"/>
                    </a:lnTo>
                    <a:lnTo>
                      <a:pt x="2028" y="1769"/>
                    </a:lnTo>
                    <a:lnTo>
                      <a:pt x="2042" y="1772"/>
                    </a:lnTo>
                    <a:lnTo>
                      <a:pt x="2057" y="1769"/>
                    </a:lnTo>
                    <a:lnTo>
                      <a:pt x="2054" y="1758"/>
                    </a:lnTo>
                    <a:lnTo>
                      <a:pt x="2062" y="1741"/>
                    </a:lnTo>
                    <a:lnTo>
                      <a:pt x="2054" y="1711"/>
                    </a:lnTo>
                    <a:lnTo>
                      <a:pt x="2024" y="1536"/>
                    </a:lnTo>
                    <a:lnTo>
                      <a:pt x="2007" y="1511"/>
                    </a:lnTo>
                    <a:lnTo>
                      <a:pt x="2005" y="1497"/>
                    </a:lnTo>
                    <a:lnTo>
                      <a:pt x="2028" y="1453"/>
                    </a:lnTo>
                    <a:lnTo>
                      <a:pt x="2029" y="1439"/>
                    </a:lnTo>
                    <a:lnTo>
                      <a:pt x="2021" y="1427"/>
                    </a:lnTo>
                    <a:lnTo>
                      <a:pt x="1975" y="1404"/>
                    </a:lnTo>
                    <a:lnTo>
                      <a:pt x="1960" y="1386"/>
                    </a:lnTo>
                    <a:lnTo>
                      <a:pt x="1985" y="1351"/>
                    </a:lnTo>
                    <a:lnTo>
                      <a:pt x="2001" y="1335"/>
                    </a:lnTo>
                    <a:lnTo>
                      <a:pt x="2041" y="1320"/>
                    </a:lnTo>
                    <a:lnTo>
                      <a:pt x="2042" y="1313"/>
                    </a:lnTo>
                    <a:lnTo>
                      <a:pt x="2037" y="1306"/>
                    </a:lnTo>
                    <a:lnTo>
                      <a:pt x="1984" y="1253"/>
                    </a:lnTo>
                    <a:lnTo>
                      <a:pt x="1961" y="1241"/>
                    </a:lnTo>
                    <a:lnTo>
                      <a:pt x="1958" y="1232"/>
                    </a:lnTo>
                    <a:lnTo>
                      <a:pt x="1963" y="1216"/>
                    </a:lnTo>
                    <a:lnTo>
                      <a:pt x="1988" y="1186"/>
                    </a:lnTo>
                    <a:lnTo>
                      <a:pt x="1999" y="1177"/>
                    </a:lnTo>
                    <a:lnTo>
                      <a:pt x="2053" y="1193"/>
                    </a:lnTo>
                    <a:lnTo>
                      <a:pt x="2085" y="1223"/>
                    </a:lnTo>
                    <a:lnTo>
                      <a:pt x="2106" y="1219"/>
                    </a:lnTo>
                    <a:lnTo>
                      <a:pt x="2124" y="1223"/>
                    </a:lnTo>
                    <a:lnTo>
                      <a:pt x="2130" y="1241"/>
                    </a:lnTo>
                    <a:lnTo>
                      <a:pt x="2136" y="1308"/>
                    </a:lnTo>
                    <a:lnTo>
                      <a:pt x="2140" y="1313"/>
                    </a:lnTo>
                    <a:lnTo>
                      <a:pt x="2188" y="1323"/>
                    </a:lnTo>
                    <a:lnTo>
                      <a:pt x="2253" y="1320"/>
                    </a:lnTo>
                    <a:lnTo>
                      <a:pt x="2363" y="1332"/>
                    </a:lnTo>
                    <a:lnTo>
                      <a:pt x="2368" y="1337"/>
                    </a:lnTo>
                    <a:lnTo>
                      <a:pt x="2370" y="1344"/>
                    </a:lnTo>
                    <a:lnTo>
                      <a:pt x="2369" y="1388"/>
                    </a:lnTo>
                    <a:lnTo>
                      <a:pt x="2363" y="1407"/>
                    </a:lnTo>
                    <a:lnTo>
                      <a:pt x="2322" y="1450"/>
                    </a:lnTo>
                    <a:lnTo>
                      <a:pt x="2299" y="1457"/>
                    </a:lnTo>
                    <a:lnTo>
                      <a:pt x="2270" y="1476"/>
                    </a:lnTo>
                    <a:lnTo>
                      <a:pt x="2265" y="1492"/>
                    </a:lnTo>
                    <a:lnTo>
                      <a:pt x="2265" y="1543"/>
                    </a:lnTo>
                    <a:lnTo>
                      <a:pt x="2286" y="1573"/>
                    </a:lnTo>
                    <a:lnTo>
                      <a:pt x="2310" y="1598"/>
                    </a:lnTo>
                    <a:lnTo>
                      <a:pt x="2320" y="1578"/>
                    </a:lnTo>
                    <a:lnTo>
                      <a:pt x="2336" y="1513"/>
                    </a:lnTo>
                    <a:lnTo>
                      <a:pt x="2349" y="1508"/>
                    </a:lnTo>
                    <a:lnTo>
                      <a:pt x="2368" y="1504"/>
                    </a:lnTo>
                    <a:lnTo>
                      <a:pt x="2369" y="1536"/>
                    </a:lnTo>
                    <a:lnTo>
                      <a:pt x="2397" y="1674"/>
                    </a:lnTo>
                    <a:lnTo>
                      <a:pt x="2398" y="1700"/>
                    </a:lnTo>
                    <a:lnTo>
                      <a:pt x="2425" y="1709"/>
                    </a:lnTo>
                    <a:lnTo>
                      <a:pt x="2437" y="1716"/>
                    </a:lnTo>
                    <a:lnTo>
                      <a:pt x="2447" y="1709"/>
                    </a:lnTo>
                    <a:lnTo>
                      <a:pt x="2459" y="1688"/>
                    </a:lnTo>
                    <a:lnTo>
                      <a:pt x="2461" y="1651"/>
                    </a:lnTo>
                    <a:lnTo>
                      <a:pt x="2454" y="1600"/>
                    </a:lnTo>
                    <a:lnTo>
                      <a:pt x="2463" y="1589"/>
                    </a:lnTo>
                    <a:lnTo>
                      <a:pt x="2482" y="1582"/>
                    </a:lnTo>
                    <a:lnTo>
                      <a:pt x="2488" y="1563"/>
                    </a:lnTo>
                    <a:lnTo>
                      <a:pt x="2483" y="1473"/>
                    </a:lnTo>
                    <a:lnTo>
                      <a:pt x="2488" y="1459"/>
                    </a:lnTo>
                    <a:lnTo>
                      <a:pt x="2524" y="1476"/>
                    </a:lnTo>
                    <a:lnTo>
                      <a:pt x="2543" y="1481"/>
                    </a:lnTo>
                    <a:lnTo>
                      <a:pt x="2556" y="1483"/>
                    </a:lnTo>
                    <a:lnTo>
                      <a:pt x="2563" y="1474"/>
                    </a:lnTo>
                    <a:lnTo>
                      <a:pt x="2613" y="1349"/>
                    </a:lnTo>
                    <a:lnTo>
                      <a:pt x="2613" y="1332"/>
                    </a:lnTo>
                    <a:lnTo>
                      <a:pt x="2605" y="1308"/>
                    </a:lnTo>
                    <a:lnTo>
                      <a:pt x="2607" y="1295"/>
                    </a:lnTo>
                    <a:lnTo>
                      <a:pt x="2649" y="1232"/>
                    </a:lnTo>
                    <a:lnTo>
                      <a:pt x="2655" y="1211"/>
                    </a:lnTo>
                    <a:lnTo>
                      <a:pt x="2652" y="1168"/>
                    </a:lnTo>
                    <a:lnTo>
                      <a:pt x="2661" y="1149"/>
                    </a:lnTo>
                    <a:lnTo>
                      <a:pt x="2756" y="1069"/>
                    </a:lnTo>
                    <a:lnTo>
                      <a:pt x="2770" y="1062"/>
                    </a:lnTo>
                    <a:lnTo>
                      <a:pt x="2833" y="1080"/>
                    </a:lnTo>
                    <a:lnTo>
                      <a:pt x="2844" y="1077"/>
                    </a:lnTo>
                    <a:lnTo>
                      <a:pt x="2838" y="1036"/>
                    </a:lnTo>
                    <a:lnTo>
                      <a:pt x="2840" y="1020"/>
                    </a:lnTo>
                    <a:lnTo>
                      <a:pt x="2867" y="987"/>
                    </a:lnTo>
                    <a:lnTo>
                      <a:pt x="2871" y="972"/>
                    </a:lnTo>
                    <a:lnTo>
                      <a:pt x="2872" y="944"/>
                    </a:lnTo>
                    <a:lnTo>
                      <a:pt x="2770" y="921"/>
                    </a:lnTo>
                    <a:lnTo>
                      <a:pt x="2766" y="918"/>
                    </a:lnTo>
                    <a:lnTo>
                      <a:pt x="2772" y="904"/>
                    </a:lnTo>
                    <a:lnTo>
                      <a:pt x="2789" y="877"/>
                    </a:lnTo>
                    <a:lnTo>
                      <a:pt x="2785" y="856"/>
                    </a:lnTo>
                    <a:lnTo>
                      <a:pt x="2733" y="793"/>
                    </a:lnTo>
                    <a:lnTo>
                      <a:pt x="2672" y="840"/>
                    </a:lnTo>
                    <a:lnTo>
                      <a:pt x="2656" y="842"/>
                    </a:lnTo>
                    <a:lnTo>
                      <a:pt x="2613" y="824"/>
                    </a:lnTo>
                    <a:lnTo>
                      <a:pt x="2602" y="815"/>
                    </a:lnTo>
                    <a:lnTo>
                      <a:pt x="2585" y="821"/>
                    </a:lnTo>
                    <a:lnTo>
                      <a:pt x="2561" y="837"/>
                    </a:lnTo>
                    <a:lnTo>
                      <a:pt x="2512" y="879"/>
                    </a:lnTo>
                    <a:lnTo>
                      <a:pt x="2475" y="893"/>
                    </a:lnTo>
                    <a:lnTo>
                      <a:pt x="2451" y="914"/>
                    </a:lnTo>
                    <a:lnTo>
                      <a:pt x="2402" y="978"/>
                    </a:lnTo>
                    <a:lnTo>
                      <a:pt x="2385" y="992"/>
                    </a:lnTo>
                    <a:lnTo>
                      <a:pt x="2355" y="1004"/>
                    </a:lnTo>
                    <a:lnTo>
                      <a:pt x="2319" y="1006"/>
                    </a:lnTo>
                    <a:lnTo>
                      <a:pt x="2311" y="1013"/>
                    </a:lnTo>
                    <a:lnTo>
                      <a:pt x="2307" y="1022"/>
                    </a:lnTo>
                    <a:lnTo>
                      <a:pt x="2310" y="1034"/>
                    </a:lnTo>
                    <a:lnTo>
                      <a:pt x="2323" y="1052"/>
                    </a:lnTo>
                    <a:lnTo>
                      <a:pt x="2338" y="1055"/>
                    </a:lnTo>
                    <a:lnTo>
                      <a:pt x="2348" y="1069"/>
                    </a:lnTo>
                    <a:lnTo>
                      <a:pt x="2349" y="1085"/>
                    </a:lnTo>
                    <a:lnTo>
                      <a:pt x="2339" y="1117"/>
                    </a:lnTo>
                    <a:lnTo>
                      <a:pt x="2266" y="1124"/>
                    </a:lnTo>
                    <a:lnTo>
                      <a:pt x="2212" y="1121"/>
                    </a:lnTo>
                    <a:lnTo>
                      <a:pt x="2197" y="1114"/>
                    </a:lnTo>
                    <a:lnTo>
                      <a:pt x="2184" y="1110"/>
                    </a:lnTo>
                    <a:lnTo>
                      <a:pt x="2160" y="1128"/>
                    </a:lnTo>
                    <a:lnTo>
                      <a:pt x="2136" y="1133"/>
                    </a:lnTo>
                    <a:lnTo>
                      <a:pt x="2134" y="1131"/>
                    </a:lnTo>
                    <a:lnTo>
                      <a:pt x="2094" y="1119"/>
                    </a:lnTo>
                    <a:lnTo>
                      <a:pt x="2069" y="1115"/>
                    </a:lnTo>
                    <a:lnTo>
                      <a:pt x="2041" y="1105"/>
                    </a:lnTo>
                    <a:lnTo>
                      <a:pt x="2030" y="1077"/>
                    </a:lnTo>
                    <a:lnTo>
                      <a:pt x="2036" y="1069"/>
                    </a:lnTo>
                    <a:lnTo>
                      <a:pt x="2026" y="1032"/>
                    </a:lnTo>
                    <a:lnTo>
                      <a:pt x="2028" y="985"/>
                    </a:lnTo>
                    <a:lnTo>
                      <a:pt x="2022" y="974"/>
                    </a:lnTo>
                    <a:lnTo>
                      <a:pt x="2012" y="969"/>
                    </a:lnTo>
                    <a:lnTo>
                      <a:pt x="1976" y="983"/>
                    </a:lnTo>
                    <a:lnTo>
                      <a:pt x="1977" y="985"/>
                    </a:lnTo>
                    <a:lnTo>
                      <a:pt x="1964" y="1027"/>
                    </a:lnTo>
                    <a:lnTo>
                      <a:pt x="1961" y="1077"/>
                    </a:lnTo>
                    <a:lnTo>
                      <a:pt x="1979" y="1124"/>
                    </a:lnTo>
                    <a:lnTo>
                      <a:pt x="1966" y="1163"/>
                    </a:lnTo>
                    <a:lnTo>
                      <a:pt x="1951" y="1159"/>
                    </a:lnTo>
                    <a:lnTo>
                      <a:pt x="1921" y="1166"/>
                    </a:lnTo>
                    <a:lnTo>
                      <a:pt x="1910" y="1163"/>
                    </a:lnTo>
                    <a:lnTo>
                      <a:pt x="1893" y="1170"/>
                    </a:lnTo>
                    <a:lnTo>
                      <a:pt x="1875" y="1163"/>
                    </a:lnTo>
                    <a:lnTo>
                      <a:pt x="1864" y="1144"/>
                    </a:lnTo>
                    <a:lnTo>
                      <a:pt x="1837" y="1159"/>
                    </a:lnTo>
                    <a:lnTo>
                      <a:pt x="1800" y="1140"/>
                    </a:lnTo>
                    <a:lnTo>
                      <a:pt x="1767" y="1131"/>
                    </a:lnTo>
                    <a:lnTo>
                      <a:pt x="1751" y="1144"/>
                    </a:lnTo>
                    <a:lnTo>
                      <a:pt x="1738" y="1129"/>
                    </a:lnTo>
                    <a:lnTo>
                      <a:pt x="1739" y="1112"/>
                    </a:lnTo>
                    <a:lnTo>
                      <a:pt x="1723" y="1108"/>
                    </a:lnTo>
                    <a:lnTo>
                      <a:pt x="1698" y="1124"/>
                    </a:lnTo>
                    <a:lnTo>
                      <a:pt x="1672" y="1108"/>
                    </a:lnTo>
                    <a:lnTo>
                      <a:pt x="1659" y="1092"/>
                    </a:lnTo>
                    <a:lnTo>
                      <a:pt x="1629" y="1084"/>
                    </a:lnTo>
                    <a:lnTo>
                      <a:pt x="1633" y="1059"/>
                    </a:lnTo>
                    <a:lnTo>
                      <a:pt x="1628" y="1047"/>
                    </a:lnTo>
                    <a:lnTo>
                      <a:pt x="1599" y="1041"/>
                    </a:lnTo>
                    <a:lnTo>
                      <a:pt x="1578" y="1025"/>
                    </a:lnTo>
                    <a:lnTo>
                      <a:pt x="1552" y="1045"/>
                    </a:lnTo>
                    <a:lnTo>
                      <a:pt x="1531" y="1031"/>
                    </a:lnTo>
                    <a:lnTo>
                      <a:pt x="1509" y="1031"/>
                    </a:lnTo>
                    <a:lnTo>
                      <a:pt x="1505" y="1041"/>
                    </a:lnTo>
                    <a:lnTo>
                      <a:pt x="1498" y="1047"/>
                    </a:lnTo>
                    <a:lnTo>
                      <a:pt x="1485" y="1034"/>
                    </a:lnTo>
                    <a:lnTo>
                      <a:pt x="1448" y="1025"/>
                    </a:lnTo>
                    <a:lnTo>
                      <a:pt x="1439" y="1002"/>
                    </a:lnTo>
                    <a:lnTo>
                      <a:pt x="1416" y="1006"/>
                    </a:lnTo>
                    <a:lnTo>
                      <a:pt x="1371" y="972"/>
                    </a:lnTo>
                    <a:lnTo>
                      <a:pt x="1361" y="981"/>
                    </a:lnTo>
                    <a:lnTo>
                      <a:pt x="1306" y="944"/>
                    </a:lnTo>
                    <a:lnTo>
                      <a:pt x="1293" y="914"/>
                    </a:lnTo>
                    <a:lnTo>
                      <a:pt x="1261" y="905"/>
                    </a:lnTo>
                    <a:lnTo>
                      <a:pt x="1232" y="877"/>
                    </a:lnTo>
                    <a:lnTo>
                      <a:pt x="1211" y="882"/>
                    </a:lnTo>
                    <a:lnTo>
                      <a:pt x="1183" y="861"/>
                    </a:lnTo>
                    <a:lnTo>
                      <a:pt x="1182" y="847"/>
                    </a:lnTo>
                    <a:lnTo>
                      <a:pt x="1191" y="823"/>
                    </a:lnTo>
                    <a:lnTo>
                      <a:pt x="1206" y="800"/>
                    </a:lnTo>
                    <a:lnTo>
                      <a:pt x="1203" y="777"/>
                    </a:lnTo>
                    <a:lnTo>
                      <a:pt x="1212" y="761"/>
                    </a:lnTo>
                    <a:lnTo>
                      <a:pt x="1212" y="741"/>
                    </a:lnTo>
                    <a:lnTo>
                      <a:pt x="1226" y="734"/>
                    </a:lnTo>
                    <a:lnTo>
                      <a:pt x="1272" y="681"/>
                    </a:lnTo>
                    <a:lnTo>
                      <a:pt x="1235" y="648"/>
                    </a:lnTo>
                    <a:lnTo>
                      <a:pt x="1227" y="651"/>
                    </a:lnTo>
                    <a:lnTo>
                      <a:pt x="1195" y="637"/>
                    </a:lnTo>
                    <a:lnTo>
                      <a:pt x="1199" y="615"/>
                    </a:lnTo>
                    <a:lnTo>
                      <a:pt x="1152" y="582"/>
                    </a:lnTo>
                    <a:lnTo>
                      <a:pt x="1136" y="589"/>
                    </a:lnTo>
                    <a:lnTo>
                      <a:pt x="1101" y="539"/>
                    </a:lnTo>
                    <a:lnTo>
                      <a:pt x="1085" y="525"/>
                    </a:lnTo>
                    <a:lnTo>
                      <a:pt x="1064" y="543"/>
                    </a:lnTo>
                    <a:lnTo>
                      <a:pt x="1055" y="539"/>
                    </a:lnTo>
                    <a:lnTo>
                      <a:pt x="1051" y="515"/>
                    </a:lnTo>
                    <a:lnTo>
                      <a:pt x="1060" y="502"/>
                    </a:lnTo>
                    <a:lnTo>
                      <a:pt x="1048" y="481"/>
                    </a:lnTo>
                    <a:lnTo>
                      <a:pt x="1052" y="455"/>
                    </a:lnTo>
                    <a:lnTo>
                      <a:pt x="1027" y="419"/>
                    </a:lnTo>
                    <a:lnTo>
                      <a:pt x="1019" y="379"/>
                    </a:lnTo>
                    <a:lnTo>
                      <a:pt x="1055" y="368"/>
                    </a:lnTo>
                    <a:lnTo>
                      <a:pt x="1056" y="389"/>
                    </a:lnTo>
                    <a:lnTo>
                      <a:pt x="1072" y="405"/>
                    </a:lnTo>
                    <a:lnTo>
                      <a:pt x="1088" y="402"/>
                    </a:lnTo>
                    <a:lnTo>
                      <a:pt x="1129" y="365"/>
                    </a:lnTo>
                    <a:lnTo>
                      <a:pt x="1113" y="324"/>
                    </a:lnTo>
                    <a:lnTo>
                      <a:pt x="1117" y="299"/>
                    </a:lnTo>
                    <a:lnTo>
                      <a:pt x="1088" y="294"/>
                    </a:lnTo>
                    <a:lnTo>
                      <a:pt x="1087" y="282"/>
                    </a:lnTo>
                    <a:lnTo>
                      <a:pt x="1083" y="278"/>
                    </a:lnTo>
                    <a:lnTo>
                      <a:pt x="1051" y="273"/>
                    </a:lnTo>
                    <a:lnTo>
                      <a:pt x="1038" y="259"/>
                    </a:lnTo>
                    <a:lnTo>
                      <a:pt x="1034" y="192"/>
                    </a:lnTo>
                    <a:lnTo>
                      <a:pt x="1040" y="181"/>
                    </a:lnTo>
                    <a:lnTo>
                      <a:pt x="1055" y="169"/>
                    </a:lnTo>
                    <a:lnTo>
                      <a:pt x="1026" y="128"/>
                    </a:lnTo>
                    <a:lnTo>
                      <a:pt x="990" y="123"/>
                    </a:lnTo>
                    <a:lnTo>
                      <a:pt x="961" y="31"/>
                    </a:lnTo>
                    <a:lnTo>
                      <a:pt x="961" y="0"/>
                    </a:lnTo>
                    <a:lnTo>
                      <a:pt x="938" y="8"/>
                    </a:lnTo>
                    <a:lnTo>
                      <a:pt x="929" y="14"/>
                    </a:lnTo>
                    <a:lnTo>
                      <a:pt x="882" y="51"/>
                    </a:lnTo>
                    <a:lnTo>
                      <a:pt x="875" y="75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437" name="Freeform 201"/>
              <p:cNvSpPr>
                <a:spLocks/>
              </p:cNvSpPr>
              <p:nvPr>
                <p:custDataLst>
                  <p:tags r:id="rId262"/>
                </p:custDataLst>
              </p:nvPr>
            </p:nvSpPr>
            <p:spPr bwMode="auto">
              <a:xfrm>
                <a:off x="3875" y="2233"/>
                <a:ext cx="120" cy="75"/>
              </a:xfrm>
              <a:custGeom>
                <a:avLst/>
                <a:gdLst>
                  <a:gd name="T0" fmla="*/ 634 w 797"/>
                  <a:gd name="T1" fmla="*/ 314 h 515"/>
                  <a:gd name="T2" fmla="*/ 593 w 797"/>
                  <a:gd name="T3" fmla="*/ 296 h 515"/>
                  <a:gd name="T4" fmla="*/ 582 w 797"/>
                  <a:gd name="T5" fmla="*/ 323 h 515"/>
                  <a:gd name="T6" fmla="*/ 552 w 797"/>
                  <a:gd name="T7" fmla="*/ 268 h 515"/>
                  <a:gd name="T8" fmla="*/ 495 w 797"/>
                  <a:gd name="T9" fmla="*/ 268 h 515"/>
                  <a:gd name="T10" fmla="*/ 502 w 797"/>
                  <a:gd name="T11" fmla="*/ 231 h 515"/>
                  <a:gd name="T12" fmla="*/ 472 w 797"/>
                  <a:gd name="T13" fmla="*/ 245 h 515"/>
                  <a:gd name="T14" fmla="*/ 412 w 797"/>
                  <a:gd name="T15" fmla="*/ 178 h 515"/>
                  <a:gd name="T16" fmla="*/ 390 w 797"/>
                  <a:gd name="T17" fmla="*/ 146 h 515"/>
                  <a:gd name="T18" fmla="*/ 352 w 797"/>
                  <a:gd name="T19" fmla="*/ 162 h 515"/>
                  <a:gd name="T20" fmla="*/ 303 w 797"/>
                  <a:gd name="T21" fmla="*/ 100 h 515"/>
                  <a:gd name="T22" fmla="*/ 277 w 797"/>
                  <a:gd name="T23" fmla="*/ 95 h 515"/>
                  <a:gd name="T24" fmla="*/ 205 w 797"/>
                  <a:gd name="T25" fmla="*/ 46 h 515"/>
                  <a:gd name="T26" fmla="*/ 152 w 797"/>
                  <a:gd name="T27" fmla="*/ 0 h 515"/>
                  <a:gd name="T28" fmla="*/ 132 w 797"/>
                  <a:gd name="T29" fmla="*/ 7 h 515"/>
                  <a:gd name="T30" fmla="*/ 114 w 797"/>
                  <a:gd name="T31" fmla="*/ 55 h 515"/>
                  <a:gd name="T32" fmla="*/ 90 w 797"/>
                  <a:gd name="T33" fmla="*/ 26 h 515"/>
                  <a:gd name="T34" fmla="*/ 30 w 797"/>
                  <a:gd name="T35" fmla="*/ 86 h 515"/>
                  <a:gd name="T36" fmla="*/ 21 w 797"/>
                  <a:gd name="T37" fmla="*/ 122 h 515"/>
                  <a:gd name="T38" fmla="*/ 9 w 797"/>
                  <a:gd name="T39" fmla="*/ 168 h 515"/>
                  <a:gd name="T40" fmla="*/ 1 w 797"/>
                  <a:gd name="T41" fmla="*/ 206 h 515"/>
                  <a:gd name="T42" fmla="*/ 50 w 797"/>
                  <a:gd name="T43" fmla="*/ 222 h 515"/>
                  <a:gd name="T44" fmla="*/ 111 w 797"/>
                  <a:gd name="T45" fmla="*/ 259 h 515"/>
                  <a:gd name="T46" fmla="*/ 179 w 797"/>
                  <a:gd name="T47" fmla="*/ 326 h 515"/>
                  <a:gd name="T48" fmla="*/ 234 w 797"/>
                  <a:gd name="T49" fmla="*/ 351 h 515"/>
                  <a:gd name="T50" fmla="*/ 266 w 797"/>
                  <a:gd name="T51" fmla="*/ 370 h 515"/>
                  <a:gd name="T52" fmla="*/ 316 w 797"/>
                  <a:gd name="T53" fmla="*/ 392 h 515"/>
                  <a:gd name="T54" fmla="*/ 327 w 797"/>
                  <a:gd name="T55" fmla="*/ 376 h 515"/>
                  <a:gd name="T56" fmla="*/ 370 w 797"/>
                  <a:gd name="T57" fmla="*/ 390 h 515"/>
                  <a:gd name="T58" fmla="*/ 417 w 797"/>
                  <a:gd name="T59" fmla="*/ 386 h 515"/>
                  <a:gd name="T60" fmla="*/ 451 w 797"/>
                  <a:gd name="T61" fmla="*/ 404 h 515"/>
                  <a:gd name="T62" fmla="*/ 477 w 797"/>
                  <a:gd name="T63" fmla="*/ 437 h 515"/>
                  <a:gd name="T64" fmla="*/ 516 w 797"/>
                  <a:gd name="T65" fmla="*/ 469 h 515"/>
                  <a:gd name="T66" fmla="*/ 557 w 797"/>
                  <a:gd name="T67" fmla="*/ 457 h 515"/>
                  <a:gd name="T68" fmla="*/ 569 w 797"/>
                  <a:gd name="T69" fmla="*/ 489 h 515"/>
                  <a:gd name="T70" fmla="*/ 618 w 797"/>
                  <a:gd name="T71" fmla="*/ 485 h 515"/>
                  <a:gd name="T72" fmla="*/ 682 w 797"/>
                  <a:gd name="T73" fmla="*/ 489 h 515"/>
                  <a:gd name="T74" fmla="*/ 711 w 797"/>
                  <a:gd name="T75" fmla="*/ 515 h 515"/>
                  <a:gd name="T76" fmla="*/ 739 w 797"/>
                  <a:gd name="T77" fmla="*/ 511 h 515"/>
                  <a:gd name="T78" fmla="*/ 784 w 797"/>
                  <a:gd name="T79" fmla="*/ 508 h 515"/>
                  <a:gd name="T80" fmla="*/ 779 w 797"/>
                  <a:gd name="T81" fmla="*/ 422 h 515"/>
                  <a:gd name="T82" fmla="*/ 795 w 797"/>
                  <a:gd name="T83" fmla="*/ 330 h 515"/>
                  <a:gd name="T84" fmla="*/ 765 w 797"/>
                  <a:gd name="T85" fmla="*/ 319 h 515"/>
                  <a:gd name="T86" fmla="*/ 735 w 797"/>
                  <a:gd name="T87" fmla="*/ 328 h 515"/>
                  <a:gd name="T88" fmla="*/ 683 w 797"/>
                  <a:gd name="T89" fmla="*/ 310 h 515"/>
                  <a:gd name="T90" fmla="*/ 638 w 797"/>
                  <a:gd name="T91" fmla="*/ 295 h 515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797"/>
                  <a:gd name="T139" fmla="*/ 0 h 515"/>
                  <a:gd name="T140" fmla="*/ 797 w 797"/>
                  <a:gd name="T141" fmla="*/ 515 h 515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797" h="515">
                    <a:moveTo>
                      <a:pt x="638" y="295"/>
                    </a:moveTo>
                    <a:lnTo>
                      <a:pt x="634" y="314"/>
                    </a:lnTo>
                    <a:lnTo>
                      <a:pt x="622" y="319"/>
                    </a:lnTo>
                    <a:lnTo>
                      <a:pt x="593" y="296"/>
                    </a:lnTo>
                    <a:lnTo>
                      <a:pt x="593" y="317"/>
                    </a:lnTo>
                    <a:lnTo>
                      <a:pt x="582" y="323"/>
                    </a:lnTo>
                    <a:lnTo>
                      <a:pt x="576" y="296"/>
                    </a:lnTo>
                    <a:lnTo>
                      <a:pt x="552" y="268"/>
                    </a:lnTo>
                    <a:lnTo>
                      <a:pt x="536" y="273"/>
                    </a:lnTo>
                    <a:lnTo>
                      <a:pt x="495" y="268"/>
                    </a:lnTo>
                    <a:lnTo>
                      <a:pt x="495" y="254"/>
                    </a:lnTo>
                    <a:lnTo>
                      <a:pt x="502" y="231"/>
                    </a:lnTo>
                    <a:lnTo>
                      <a:pt x="487" y="231"/>
                    </a:lnTo>
                    <a:lnTo>
                      <a:pt x="472" y="245"/>
                    </a:lnTo>
                    <a:lnTo>
                      <a:pt x="409" y="194"/>
                    </a:lnTo>
                    <a:lnTo>
                      <a:pt x="412" y="178"/>
                    </a:lnTo>
                    <a:lnTo>
                      <a:pt x="404" y="155"/>
                    </a:lnTo>
                    <a:lnTo>
                      <a:pt x="390" y="146"/>
                    </a:lnTo>
                    <a:lnTo>
                      <a:pt x="360" y="153"/>
                    </a:lnTo>
                    <a:lnTo>
                      <a:pt x="352" y="162"/>
                    </a:lnTo>
                    <a:lnTo>
                      <a:pt x="324" y="116"/>
                    </a:lnTo>
                    <a:lnTo>
                      <a:pt x="303" y="100"/>
                    </a:lnTo>
                    <a:lnTo>
                      <a:pt x="298" y="108"/>
                    </a:lnTo>
                    <a:lnTo>
                      <a:pt x="277" y="95"/>
                    </a:lnTo>
                    <a:lnTo>
                      <a:pt x="244" y="62"/>
                    </a:lnTo>
                    <a:lnTo>
                      <a:pt x="205" y="46"/>
                    </a:lnTo>
                    <a:lnTo>
                      <a:pt x="200" y="11"/>
                    </a:lnTo>
                    <a:lnTo>
                      <a:pt x="152" y="0"/>
                    </a:lnTo>
                    <a:lnTo>
                      <a:pt x="144" y="11"/>
                    </a:lnTo>
                    <a:lnTo>
                      <a:pt x="132" y="7"/>
                    </a:lnTo>
                    <a:lnTo>
                      <a:pt x="127" y="37"/>
                    </a:lnTo>
                    <a:lnTo>
                      <a:pt x="114" y="55"/>
                    </a:lnTo>
                    <a:lnTo>
                      <a:pt x="102" y="51"/>
                    </a:lnTo>
                    <a:lnTo>
                      <a:pt x="90" y="26"/>
                    </a:lnTo>
                    <a:lnTo>
                      <a:pt x="44" y="79"/>
                    </a:lnTo>
                    <a:lnTo>
                      <a:pt x="30" y="86"/>
                    </a:lnTo>
                    <a:lnTo>
                      <a:pt x="30" y="106"/>
                    </a:lnTo>
                    <a:lnTo>
                      <a:pt x="21" y="122"/>
                    </a:lnTo>
                    <a:lnTo>
                      <a:pt x="24" y="145"/>
                    </a:lnTo>
                    <a:lnTo>
                      <a:pt x="9" y="168"/>
                    </a:lnTo>
                    <a:lnTo>
                      <a:pt x="0" y="192"/>
                    </a:lnTo>
                    <a:lnTo>
                      <a:pt x="1" y="206"/>
                    </a:lnTo>
                    <a:lnTo>
                      <a:pt x="29" y="227"/>
                    </a:lnTo>
                    <a:lnTo>
                      <a:pt x="50" y="222"/>
                    </a:lnTo>
                    <a:lnTo>
                      <a:pt x="79" y="250"/>
                    </a:lnTo>
                    <a:lnTo>
                      <a:pt x="111" y="259"/>
                    </a:lnTo>
                    <a:lnTo>
                      <a:pt x="124" y="289"/>
                    </a:lnTo>
                    <a:lnTo>
                      <a:pt x="179" y="326"/>
                    </a:lnTo>
                    <a:lnTo>
                      <a:pt x="189" y="317"/>
                    </a:lnTo>
                    <a:lnTo>
                      <a:pt x="234" y="351"/>
                    </a:lnTo>
                    <a:lnTo>
                      <a:pt x="257" y="347"/>
                    </a:lnTo>
                    <a:lnTo>
                      <a:pt x="266" y="370"/>
                    </a:lnTo>
                    <a:lnTo>
                      <a:pt x="303" y="379"/>
                    </a:lnTo>
                    <a:lnTo>
                      <a:pt x="316" y="392"/>
                    </a:lnTo>
                    <a:lnTo>
                      <a:pt x="323" y="386"/>
                    </a:lnTo>
                    <a:lnTo>
                      <a:pt x="327" y="376"/>
                    </a:lnTo>
                    <a:lnTo>
                      <a:pt x="349" y="376"/>
                    </a:lnTo>
                    <a:lnTo>
                      <a:pt x="370" y="390"/>
                    </a:lnTo>
                    <a:lnTo>
                      <a:pt x="396" y="370"/>
                    </a:lnTo>
                    <a:lnTo>
                      <a:pt x="417" y="386"/>
                    </a:lnTo>
                    <a:lnTo>
                      <a:pt x="446" y="392"/>
                    </a:lnTo>
                    <a:lnTo>
                      <a:pt x="451" y="404"/>
                    </a:lnTo>
                    <a:lnTo>
                      <a:pt x="447" y="429"/>
                    </a:lnTo>
                    <a:lnTo>
                      <a:pt x="477" y="437"/>
                    </a:lnTo>
                    <a:lnTo>
                      <a:pt x="490" y="453"/>
                    </a:lnTo>
                    <a:lnTo>
                      <a:pt x="516" y="469"/>
                    </a:lnTo>
                    <a:lnTo>
                      <a:pt x="541" y="453"/>
                    </a:lnTo>
                    <a:lnTo>
                      <a:pt x="557" y="457"/>
                    </a:lnTo>
                    <a:lnTo>
                      <a:pt x="556" y="474"/>
                    </a:lnTo>
                    <a:lnTo>
                      <a:pt x="569" y="489"/>
                    </a:lnTo>
                    <a:lnTo>
                      <a:pt x="585" y="476"/>
                    </a:lnTo>
                    <a:lnTo>
                      <a:pt x="618" y="485"/>
                    </a:lnTo>
                    <a:lnTo>
                      <a:pt x="655" y="504"/>
                    </a:lnTo>
                    <a:lnTo>
                      <a:pt x="682" y="489"/>
                    </a:lnTo>
                    <a:lnTo>
                      <a:pt x="693" y="508"/>
                    </a:lnTo>
                    <a:lnTo>
                      <a:pt x="711" y="515"/>
                    </a:lnTo>
                    <a:lnTo>
                      <a:pt x="728" y="508"/>
                    </a:lnTo>
                    <a:lnTo>
                      <a:pt x="739" y="511"/>
                    </a:lnTo>
                    <a:lnTo>
                      <a:pt x="769" y="504"/>
                    </a:lnTo>
                    <a:lnTo>
                      <a:pt x="784" y="508"/>
                    </a:lnTo>
                    <a:lnTo>
                      <a:pt x="797" y="469"/>
                    </a:lnTo>
                    <a:lnTo>
                      <a:pt x="779" y="422"/>
                    </a:lnTo>
                    <a:lnTo>
                      <a:pt x="782" y="372"/>
                    </a:lnTo>
                    <a:lnTo>
                      <a:pt x="795" y="330"/>
                    </a:lnTo>
                    <a:lnTo>
                      <a:pt x="794" y="328"/>
                    </a:lnTo>
                    <a:lnTo>
                      <a:pt x="765" y="319"/>
                    </a:lnTo>
                    <a:lnTo>
                      <a:pt x="749" y="335"/>
                    </a:lnTo>
                    <a:lnTo>
                      <a:pt x="735" y="328"/>
                    </a:lnTo>
                    <a:lnTo>
                      <a:pt x="698" y="332"/>
                    </a:lnTo>
                    <a:lnTo>
                      <a:pt x="683" y="310"/>
                    </a:lnTo>
                    <a:lnTo>
                      <a:pt x="656" y="295"/>
                    </a:lnTo>
                    <a:lnTo>
                      <a:pt x="638" y="295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438" name="Freeform 202"/>
              <p:cNvSpPr>
                <a:spLocks/>
              </p:cNvSpPr>
              <p:nvPr>
                <p:custDataLst>
                  <p:tags r:id="rId263"/>
                </p:custDataLst>
              </p:nvPr>
            </p:nvSpPr>
            <p:spPr bwMode="auto">
              <a:xfrm>
                <a:off x="4377" y="2689"/>
                <a:ext cx="14" cy="17"/>
              </a:xfrm>
              <a:custGeom>
                <a:avLst/>
                <a:gdLst>
                  <a:gd name="T0" fmla="*/ 72 w 105"/>
                  <a:gd name="T1" fmla="*/ 14 h 118"/>
                  <a:gd name="T2" fmla="*/ 75 w 105"/>
                  <a:gd name="T3" fmla="*/ 0 h 118"/>
                  <a:gd name="T4" fmla="*/ 66 w 105"/>
                  <a:gd name="T5" fmla="*/ 3 h 118"/>
                  <a:gd name="T6" fmla="*/ 35 w 105"/>
                  <a:gd name="T7" fmla="*/ 53 h 118"/>
                  <a:gd name="T8" fmla="*/ 9 w 105"/>
                  <a:gd name="T9" fmla="*/ 58 h 118"/>
                  <a:gd name="T10" fmla="*/ 0 w 105"/>
                  <a:gd name="T11" fmla="*/ 65 h 118"/>
                  <a:gd name="T12" fmla="*/ 3 w 105"/>
                  <a:gd name="T13" fmla="*/ 72 h 118"/>
                  <a:gd name="T14" fmla="*/ 6 w 105"/>
                  <a:gd name="T15" fmla="*/ 91 h 118"/>
                  <a:gd name="T16" fmla="*/ 17 w 105"/>
                  <a:gd name="T17" fmla="*/ 91 h 118"/>
                  <a:gd name="T18" fmla="*/ 21 w 105"/>
                  <a:gd name="T19" fmla="*/ 104 h 118"/>
                  <a:gd name="T20" fmla="*/ 34 w 105"/>
                  <a:gd name="T21" fmla="*/ 118 h 118"/>
                  <a:gd name="T22" fmla="*/ 51 w 105"/>
                  <a:gd name="T23" fmla="*/ 104 h 118"/>
                  <a:gd name="T24" fmla="*/ 105 w 105"/>
                  <a:gd name="T25" fmla="*/ 83 h 118"/>
                  <a:gd name="T26" fmla="*/ 105 w 105"/>
                  <a:gd name="T27" fmla="*/ 77 h 118"/>
                  <a:gd name="T28" fmla="*/ 96 w 105"/>
                  <a:gd name="T29" fmla="*/ 67 h 118"/>
                  <a:gd name="T30" fmla="*/ 96 w 105"/>
                  <a:gd name="T31" fmla="*/ 54 h 118"/>
                  <a:gd name="T32" fmla="*/ 98 w 105"/>
                  <a:gd name="T33" fmla="*/ 49 h 118"/>
                  <a:gd name="T34" fmla="*/ 92 w 105"/>
                  <a:gd name="T35" fmla="*/ 24 h 118"/>
                  <a:gd name="T36" fmla="*/ 86 w 105"/>
                  <a:gd name="T37" fmla="*/ 16 h 118"/>
                  <a:gd name="T38" fmla="*/ 79 w 105"/>
                  <a:gd name="T39" fmla="*/ 19 h 118"/>
                  <a:gd name="T40" fmla="*/ 72 w 105"/>
                  <a:gd name="T41" fmla="*/ 14 h 118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05"/>
                  <a:gd name="T64" fmla="*/ 0 h 118"/>
                  <a:gd name="T65" fmla="*/ 105 w 105"/>
                  <a:gd name="T66" fmla="*/ 118 h 118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05" h="118">
                    <a:moveTo>
                      <a:pt x="72" y="14"/>
                    </a:moveTo>
                    <a:lnTo>
                      <a:pt x="75" y="0"/>
                    </a:lnTo>
                    <a:lnTo>
                      <a:pt x="66" y="3"/>
                    </a:lnTo>
                    <a:lnTo>
                      <a:pt x="35" y="53"/>
                    </a:lnTo>
                    <a:lnTo>
                      <a:pt x="9" y="58"/>
                    </a:lnTo>
                    <a:lnTo>
                      <a:pt x="0" y="65"/>
                    </a:lnTo>
                    <a:lnTo>
                      <a:pt x="3" y="72"/>
                    </a:lnTo>
                    <a:lnTo>
                      <a:pt x="6" y="91"/>
                    </a:lnTo>
                    <a:lnTo>
                      <a:pt x="17" y="91"/>
                    </a:lnTo>
                    <a:lnTo>
                      <a:pt x="21" y="104"/>
                    </a:lnTo>
                    <a:lnTo>
                      <a:pt x="34" y="118"/>
                    </a:lnTo>
                    <a:lnTo>
                      <a:pt x="51" y="104"/>
                    </a:lnTo>
                    <a:lnTo>
                      <a:pt x="105" y="83"/>
                    </a:lnTo>
                    <a:lnTo>
                      <a:pt x="105" y="77"/>
                    </a:lnTo>
                    <a:lnTo>
                      <a:pt x="96" y="67"/>
                    </a:lnTo>
                    <a:lnTo>
                      <a:pt x="96" y="54"/>
                    </a:lnTo>
                    <a:lnTo>
                      <a:pt x="98" y="49"/>
                    </a:lnTo>
                    <a:lnTo>
                      <a:pt x="92" y="24"/>
                    </a:lnTo>
                    <a:lnTo>
                      <a:pt x="86" y="16"/>
                    </a:lnTo>
                    <a:lnTo>
                      <a:pt x="79" y="19"/>
                    </a:lnTo>
                    <a:lnTo>
                      <a:pt x="72" y="14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439" name="Freeform 203"/>
              <p:cNvSpPr>
                <a:spLocks/>
              </p:cNvSpPr>
              <p:nvPr>
                <p:custDataLst>
                  <p:tags r:id="rId264"/>
                </p:custDataLst>
              </p:nvPr>
            </p:nvSpPr>
            <p:spPr bwMode="auto">
              <a:xfrm>
                <a:off x="4779" y="1747"/>
                <a:ext cx="44" cy="173"/>
              </a:xfrm>
              <a:custGeom>
                <a:avLst/>
                <a:gdLst>
                  <a:gd name="T0" fmla="*/ 33 w 290"/>
                  <a:gd name="T1" fmla="*/ 40 h 1163"/>
                  <a:gd name="T2" fmla="*/ 17 w 290"/>
                  <a:gd name="T3" fmla="*/ 44 h 1163"/>
                  <a:gd name="T4" fmla="*/ 9 w 290"/>
                  <a:gd name="T5" fmla="*/ 60 h 1163"/>
                  <a:gd name="T6" fmla="*/ 24 w 290"/>
                  <a:gd name="T7" fmla="*/ 93 h 1163"/>
                  <a:gd name="T8" fmla="*/ 21 w 290"/>
                  <a:gd name="T9" fmla="*/ 145 h 1163"/>
                  <a:gd name="T10" fmla="*/ 0 w 290"/>
                  <a:gd name="T11" fmla="*/ 210 h 1163"/>
                  <a:gd name="T12" fmla="*/ 5 w 290"/>
                  <a:gd name="T13" fmla="*/ 272 h 1163"/>
                  <a:gd name="T14" fmla="*/ 42 w 290"/>
                  <a:gd name="T15" fmla="*/ 332 h 1163"/>
                  <a:gd name="T16" fmla="*/ 50 w 290"/>
                  <a:gd name="T17" fmla="*/ 365 h 1163"/>
                  <a:gd name="T18" fmla="*/ 55 w 290"/>
                  <a:gd name="T19" fmla="*/ 416 h 1163"/>
                  <a:gd name="T20" fmla="*/ 45 w 290"/>
                  <a:gd name="T21" fmla="*/ 650 h 1163"/>
                  <a:gd name="T22" fmla="*/ 32 w 290"/>
                  <a:gd name="T23" fmla="*/ 712 h 1163"/>
                  <a:gd name="T24" fmla="*/ 13 w 290"/>
                  <a:gd name="T25" fmla="*/ 733 h 1163"/>
                  <a:gd name="T26" fmla="*/ 17 w 290"/>
                  <a:gd name="T27" fmla="*/ 749 h 1163"/>
                  <a:gd name="T28" fmla="*/ 37 w 290"/>
                  <a:gd name="T29" fmla="*/ 811 h 1163"/>
                  <a:gd name="T30" fmla="*/ 44 w 290"/>
                  <a:gd name="T31" fmla="*/ 860 h 1163"/>
                  <a:gd name="T32" fmla="*/ 21 w 290"/>
                  <a:gd name="T33" fmla="*/ 903 h 1163"/>
                  <a:gd name="T34" fmla="*/ 13 w 290"/>
                  <a:gd name="T35" fmla="*/ 932 h 1163"/>
                  <a:gd name="T36" fmla="*/ 32 w 290"/>
                  <a:gd name="T37" fmla="*/ 991 h 1163"/>
                  <a:gd name="T38" fmla="*/ 3 w 290"/>
                  <a:gd name="T39" fmla="*/ 1067 h 1163"/>
                  <a:gd name="T40" fmla="*/ 11 w 290"/>
                  <a:gd name="T41" fmla="*/ 1129 h 1163"/>
                  <a:gd name="T42" fmla="*/ 30 w 290"/>
                  <a:gd name="T43" fmla="*/ 1163 h 1163"/>
                  <a:gd name="T44" fmla="*/ 71 w 290"/>
                  <a:gd name="T45" fmla="*/ 1067 h 1163"/>
                  <a:gd name="T46" fmla="*/ 91 w 290"/>
                  <a:gd name="T47" fmla="*/ 1047 h 1163"/>
                  <a:gd name="T48" fmla="*/ 99 w 290"/>
                  <a:gd name="T49" fmla="*/ 1044 h 1163"/>
                  <a:gd name="T50" fmla="*/ 138 w 290"/>
                  <a:gd name="T51" fmla="*/ 1065 h 1163"/>
                  <a:gd name="T52" fmla="*/ 168 w 290"/>
                  <a:gd name="T53" fmla="*/ 1149 h 1163"/>
                  <a:gd name="T54" fmla="*/ 181 w 290"/>
                  <a:gd name="T55" fmla="*/ 1065 h 1163"/>
                  <a:gd name="T56" fmla="*/ 160 w 290"/>
                  <a:gd name="T57" fmla="*/ 1022 h 1163"/>
                  <a:gd name="T58" fmla="*/ 136 w 290"/>
                  <a:gd name="T59" fmla="*/ 1008 h 1163"/>
                  <a:gd name="T60" fmla="*/ 108 w 290"/>
                  <a:gd name="T61" fmla="*/ 948 h 1163"/>
                  <a:gd name="T62" fmla="*/ 99 w 290"/>
                  <a:gd name="T63" fmla="*/ 934 h 1163"/>
                  <a:gd name="T64" fmla="*/ 87 w 290"/>
                  <a:gd name="T65" fmla="*/ 869 h 1163"/>
                  <a:gd name="T66" fmla="*/ 91 w 290"/>
                  <a:gd name="T67" fmla="*/ 830 h 1163"/>
                  <a:gd name="T68" fmla="*/ 102 w 290"/>
                  <a:gd name="T69" fmla="*/ 756 h 1163"/>
                  <a:gd name="T70" fmla="*/ 123 w 290"/>
                  <a:gd name="T71" fmla="*/ 685 h 1163"/>
                  <a:gd name="T72" fmla="*/ 141 w 290"/>
                  <a:gd name="T73" fmla="*/ 671 h 1163"/>
                  <a:gd name="T74" fmla="*/ 153 w 290"/>
                  <a:gd name="T75" fmla="*/ 666 h 1163"/>
                  <a:gd name="T76" fmla="*/ 196 w 290"/>
                  <a:gd name="T77" fmla="*/ 670 h 1163"/>
                  <a:gd name="T78" fmla="*/ 290 w 290"/>
                  <a:gd name="T79" fmla="*/ 742 h 1163"/>
                  <a:gd name="T80" fmla="*/ 238 w 290"/>
                  <a:gd name="T81" fmla="*/ 627 h 1163"/>
                  <a:gd name="T82" fmla="*/ 171 w 290"/>
                  <a:gd name="T83" fmla="*/ 416 h 1163"/>
                  <a:gd name="T84" fmla="*/ 146 w 290"/>
                  <a:gd name="T85" fmla="*/ 356 h 1163"/>
                  <a:gd name="T86" fmla="*/ 132 w 290"/>
                  <a:gd name="T87" fmla="*/ 303 h 1163"/>
                  <a:gd name="T88" fmla="*/ 132 w 290"/>
                  <a:gd name="T89" fmla="*/ 249 h 1163"/>
                  <a:gd name="T90" fmla="*/ 141 w 290"/>
                  <a:gd name="T91" fmla="*/ 194 h 1163"/>
                  <a:gd name="T92" fmla="*/ 151 w 290"/>
                  <a:gd name="T93" fmla="*/ 164 h 1163"/>
                  <a:gd name="T94" fmla="*/ 151 w 290"/>
                  <a:gd name="T95" fmla="*/ 109 h 1163"/>
                  <a:gd name="T96" fmla="*/ 144 w 290"/>
                  <a:gd name="T97" fmla="*/ 76 h 1163"/>
                  <a:gd name="T98" fmla="*/ 124 w 290"/>
                  <a:gd name="T99" fmla="*/ 32 h 1163"/>
                  <a:gd name="T100" fmla="*/ 106 w 290"/>
                  <a:gd name="T101" fmla="*/ 0 h 1163"/>
                  <a:gd name="T102" fmla="*/ 61 w 290"/>
                  <a:gd name="T103" fmla="*/ 39 h 1163"/>
                  <a:gd name="T104" fmla="*/ 33 w 290"/>
                  <a:gd name="T105" fmla="*/ 40 h 1163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90"/>
                  <a:gd name="T160" fmla="*/ 0 h 1163"/>
                  <a:gd name="T161" fmla="*/ 290 w 290"/>
                  <a:gd name="T162" fmla="*/ 1163 h 1163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90" h="1163">
                    <a:moveTo>
                      <a:pt x="33" y="40"/>
                    </a:moveTo>
                    <a:lnTo>
                      <a:pt x="17" y="44"/>
                    </a:lnTo>
                    <a:lnTo>
                      <a:pt x="9" y="60"/>
                    </a:lnTo>
                    <a:lnTo>
                      <a:pt x="24" y="93"/>
                    </a:lnTo>
                    <a:lnTo>
                      <a:pt x="21" y="145"/>
                    </a:lnTo>
                    <a:lnTo>
                      <a:pt x="0" y="210"/>
                    </a:lnTo>
                    <a:lnTo>
                      <a:pt x="5" y="272"/>
                    </a:lnTo>
                    <a:lnTo>
                      <a:pt x="42" y="332"/>
                    </a:lnTo>
                    <a:lnTo>
                      <a:pt x="50" y="365"/>
                    </a:lnTo>
                    <a:lnTo>
                      <a:pt x="55" y="416"/>
                    </a:lnTo>
                    <a:lnTo>
                      <a:pt x="45" y="650"/>
                    </a:lnTo>
                    <a:lnTo>
                      <a:pt x="32" y="712"/>
                    </a:lnTo>
                    <a:lnTo>
                      <a:pt x="13" y="733"/>
                    </a:lnTo>
                    <a:lnTo>
                      <a:pt x="17" y="749"/>
                    </a:lnTo>
                    <a:lnTo>
                      <a:pt x="37" y="811"/>
                    </a:lnTo>
                    <a:lnTo>
                      <a:pt x="44" y="860"/>
                    </a:lnTo>
                    <a:lnTo>
                      <a:pt x="21" y="903"/>
                    </a:lnTo>
                    <a:lnTo>
                      <a:pt x="13" y="932"/>
                    </a:lnTo>
                    <a:lnTo>
                      <a:pt x="32" y="991"/>
                    </a:lnTo>
                    <a:lnTo>
                      <a:pt x="3" y="1067"/>
                    </a:lnTo>
                    <a:lnTo>
                      <a:pt x="11" y="1129"/>
                    </a:lnTo>
                    <a:lnTo>
                      <a:pt x="30" y="1163"/>
                    </a:lnTo>
                    <a:lnTo>
                      <a:pt x="71" y="1067"/>
                    </a:lnTo>
                    <a:lnTo>
                      <a:pt x="91" y="1047"/>
                    </a:lnTo>
                    <a:lnTo>
                      <a:pt x="99" y="1044"/>
                    </a:lnTo>
                    <a:lnTo>
                      <a:pt x="138" y="1065"/>
                    </a:lnTo>
                    <a:lnTo>
                      <a:pt x="168" y="1149"/>
                    </a:lnTo>
                    <a:lnTo>
                      <a:pt x="181" y="1065"/>
                    </a:lnTo>
                    <a:lnTo>
                      <a:pt x="160" y="1022"/>
                    </a:lnTo>
                    <a:lnTo>
                      <a:pt x="136" y="1008"/>
                    </a:lnTo>
                    <a:lnTo>
                      <a:pt x="108" y="948"/>
                    </a:lnTo>
                    <a:lnTo>
                      <a:pt x="99" y="934"/>
                    </a:lnTo>
                    <a:lnTo>
                      <a:pt x="87" y="869"/>
                    </a:lnTo>
                    <a:lnTo>
                      <a:pt x="91" y="830"/>
                    </a:lnTo>
                    <a:lnTo>
                      <a:pt x="102" y="756"/>
                    </a:lnTo>
                    <a:lnTo>
                      <a:pt x="123" y="685"/>
                    </a:lnTo>
                    <a:lnTo>
                      <a:pt x="141" y="671"/>
                    </a:lnTo>
                    <a:lnTo>
                      <a:pt x="153" y="666"/>
                    </a:lnTo>
                    <a:lnTo>
                      <a:pt x="196" y="670"/>
                    </a:lnTo>
                    <a:lnTo>
                      <a:pt x="290" y="742"/>
                    </a:lnTo>
                    <a:lnTo>
                      <a:pt x="238" y="627"/>
                    </a:lnTo>
                    <a:lnTo>
                      <a:pt x="171" y="416"/>
                    </a:lnTo>
                    <a:lnTo>
                      <a:pt x="146" y="356"/>
                    </a:lnTo>
                    <a:lnTo>
                      <a:pt x="132" y="303"/>
                    </a:lnTo>
                    <a:lnTo>
                      <a:pt x="132" y="249"/>
                    </a:lnTo>
                    <a:lnTo>
                      <a:pt x="141" y="194"/>
                    </a:lnTo>
                    <a:lnTo>
                      <a:pt x="151" y="164"/>
                    </a:lnTo>
                    <a:lnTo>
                      <a:pt x="151" y="109"/>
                    </a:lnTo>
                    <a:lnTo>
                      <a:pt x="144" y="76"/>
                    </a:lnTo>
                    <a:lnTo>
                      <a:pt x="124" y="32"/>
                    </a:lnTo>
                    <a:lnTo>
                      <a:pt x="106" y="0"/>
                    </a:lnTo>
                    <a:lnTo>
                      <a:pt x="61" y="39"/>
                    </a:lnTo>
                    <a:lnTo>
                      <a:pt x="33" y="40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440" name="Freeform 204"/>
              <p:cNvSpPr>
                <a:spLocks/>
              </p:cNvSpPr>
              <p:nvPr>
                <p:custDataLst>
                  <p:tags r:id="rId265"/>
                </p:custDataLst>
              </p:nvPr>
            </p:nvSpPr>
            <p:spPr bwMode="auto">
              <a:xfrm>
                <a:off x="3692" y="2022"/>
                <a:ext cx="109" cy="88"/>
              </a:xfrm>
              <a:custGeom>
                <a:avLst/>
                <a:gdLst>
                  <a:gd name="T0" fmla="*/ 288 w 735"/>
                  <a:gd name="T1" fmla="*/ 16 h 596"/>
                  <a:gd name="T2" fmla="*/ 227 w 735"/>
                  <a:gd name="T3" fmla="*/ 58 h 596"/>
                  <a:gd name="T4" fmla="*/ 192 w 735"/>
                  <a:gd name="T5" fmla="*/ 49 h 596"/>
                  <a:gd name="T6" fmla="*/ 187 w 735"/>
                  <a:gd name="T7" fmla="*/ 109 h 596"/>
                  <a:gd name="T8" fmla="*/ 116 w 735"/>
                  <a:gd name="T9" fmla="*/ 124 h 596"/>
                  <a:gd name="T10" fmla="*/ 155 w 735"/>
                  <a:gd name="T11" fmla="*/ 136 h 596"/>
                  <a:gd name="T12" fmla="*/ 127 w 735"/>
                  <a:gd name="T13" fmla="*/ 164 h 596"/>
                  <a:gd name="T14" fmla="*/ 101 w 735"/>
                  <a:gd name="T15" fmla="*/ 212 h 596"/>
                  <a:gd name="T16" fmla="*/ 0 w 735"/>
                  <a:gd name="T17" fmla="*/ 243 h 596"/>
                  <a:gd name="T18" fmla="*/ 32 w 735"/>
                  <a:gd name="T19" fmla="*/ 282 h 596"/>
                  <a:gd name="T20" fmla="*/ 68 w 735"/>
                  <a:gd name="T21" fmla="*/ 312 h 596"/>
                  <a:gd name="T22" fmla="*/ 92 w 735"/>
                  <a:gd name="T23" fmla="*/ 385 h 596"/>
                  <a:gd name="T24" fmla="*/ 68 w 735"/>
                  <a:gd name="T25" fmla="*/ 436 h 596"/>
                  <a:gd name="T26" fmla="*/ 43 w 735"/>
                  <a:gd name="T27" fmla="*/ 513 h 596"/>
                  <a:gd name="T28" fmla="*/ 35 w 735"/>
                  <a:gd name="T29" fmla="*/ 575 h 596"/>
                  <a:gd name="T30" fmla="*/ 117 w 735"/>
                  <a:gd name="T31" fmla="*/ 531 h 596"/>
                  <a:gd name="T32" fmla="*/ 176 w 735"/>
                  <a:gd name="T33" fmla="*/ 545 h 596"/>
                  <a:gd name="T34" fmla="*/ 199 w 735"/>
                  <a:gd name="T35" fmla="*/ 499 h 596"/>
                  <a:gd name="T36" fmla="*/ 240 w 735"/>
                  <a:gd name="T37" fmla="*/ 494 h 596"/>
                  <a:gd name="T38" fmla="*/ 274 w 735"/>
                  <a:gd name="T39" fmla="*/ 471 h 596"/>
                  <a:gd name="T40" fmla="*/ 295 w 735"/>
                  <a:gd name="T41" fmla="*/ 404 h 596"/>
                  <a:gd name="T42" fmla="*/ 331 w 735"/>
                  <a:gd name="T43" fmla="*/ 370 h 596"/>
                  <a:gd name="T44" fmla="*/ 356 w 735"/>
                  <a:gd name="T45" fmla="*/ 438 h 596"/>
                  <a:gd name="T46" fmla="*/ 379 w 735"/>
                  <a:gd name="T47" fmla="*/ 506 h 596"/>
                  <a:gd name="T48" fmla="*/ 393 w 735"/>
                  <a:gd name="T49" fmla="*/ 595 h 596"/>
                  <a:gd name="T50" fmla="*/ 458 w 735"/>
                  <a:gd name="T51" fmla="*/ 565 h 596"/>
                  <a:gd name="T52" fmla="*/ 543 w 735"/>
                  <a:gd name="T53" fmla="*/ 512 h 596"/>
                  <a:gd name="T54" fmla="*/ 575 w 735"/>
                  <a:gd name="T55" fmla="*/ 526 h 596"/>
                  <a:gd name="T56" fmla="*/ 649 w 735"/>
                  <a:gd name="T57" fmla="*/ 506 h 596"/>
                  <a:gd name="T58" fmla="*/ 707 w 735"/>
                  <a:gd name="T59" fmla="*/ 527 h 596"/>
                  <a:gd name="T60" fmla="*/ 735 w 735"/>
                  <a:gd name="T61" fmla="*/ 492 h 596"/>
                  <a:gd name="T62" fmla="*/ 722 w 735"/>
                  <a:gd name="T63" fmla="*/ 446 h 596"/>
                  <a:gd name="T64" fmla="*/ 719 w 735"/>
                  <a:gd name="T65" fmla="*/ 413 h 596"/>
                  <a:gd name="T66" fmla="*/ 693 w 735"/>
                  <a:gd name="T67" fmla="*/ 341 h 596"/>
                  <a:gd name="T68" fmla="*/ 642 w 735"/>
                  <a:gd name="T69" fmla="*/ 344 h 596"/>
                  <a:gd name="T70" fmla="*/ 605 w 735"/>
                  <a:gd name="T71" fmla="*/ 305 h 596"/>
                  <a:gd name="T72" fmla="*/ 605 w 735"/>
                  <a:gd name="T73" fmla="*/ 219 h 596"/>
                  <a:gd name="T74" fmla="*/ 520 w 735"/>
                  <a:gd name="T75" fmla="*/ 231 h 596"/>
                  <a:gd name="T76" fmla="*/ 469 w 735"/>
                  <a:gd name="T77" fmla="*/ 254 h 596"/>
                  <a:gd name="T78" fmla="*/ 430 w 735"/>
                  <a:gd name="T79" fmla="*/ 245 h 596"/>
                  <a:gd name="T80" fmla="*/ 405 w 735"/>
                  <a:gd name="T81" fmla="*/ 215 h 596"/>
                  <a:gd name="T82" fmla="*/ 374 w 735"/>
                  <a:gd name="T83" fmla="*/ 214 h 596"/>
                  <a:gd name="T84" fmla="*/ 347 w 735"/>
                  <a:gd name="T85" fmla="*/ 233 h 596"/>
                  <a:gd name="T86" fmla="*/ 319 w 735"/>
                  <a:gd name="T87" fmla="*/ 208 h 596"/>
                  <a:gd name="T88" fmla="*/ 273 w 735"/>
                  <a:gd name="T89" fmla="*/ 206 h 596"/>
                  <a:gd name="T90" fmla="*/ 179 w 735"/>
                  <a:gd name="T91" fmla="*/ 178 h 596"/>
                  <a:gd name="T92" fmla="*/ 197 w 735"/>
                  <a:gd name="T93" fmla="*/ 164 h 596"/>
                  <a:gd name="T94" fmla="*/ 208 w 735"/>
                  <a:gd name="T95" fmla="*/ 131 h 596"/>
                  <a:gd name="T96" fmla="*/ 302 w 735"/>
                  <a:gd name="T97" fmla="*/ 139 h 596"/>
                  <a:gd name="T98" fmla="*/ 315 w 735"/>
                  <a:gd name="T99" fmla="*/ 136 h 596"/>
                  <a:gd name="T100" fmla="*/ 315 w 735"/>
                  <a:gd name="T101" fmla="*/ 116 h 596"/>
                  <a:gd name="T102" fmla="*/ 290 w 735"/>
                  <a:gd name="T103" fmla="*/ 83 h 596"/>
                  <a:gd name="T104" fmla="*/ 327 w 735"/>
                  <a:gd name="T105" fmla="*/ 39 h 59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735"/>
                  <a:gd name="T160" fmla="*/ 0 h 596"/>
                  <a:gd name="T161" fmla="*/ 735 w 735"/>
                  <a:gd name="T162" fmla="*/ 596 h 59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735" h="596">
                    <a:moveTo>
                      <a:pt x="317" y="23"/>
                    </a:moveTo>
                    <a:lnTo>
                      <a:pt x="298" y="0"/>
                    </a:lnTo>
                    <a:lnTo>
                      <a:pt x="288" y="16"/>
                    </a:lnTo>
                    <a:lnTo>
                      <a:pt x="266" y="37"/>
                    </a:lnTo>
                    <a:lnTo>
                      <a:pt x="237" y="49"/>
                    </a:lnTo>
                    <a:lnTo>
                      <a:pt x="227" y="58"/>
                    </a:lnTo>
                    <a:lnTo>
                      <a:pt x="206" y="35"/>
                    </a:lnTo>
                    <a:lnTo>
                      <a:pt x="191" y="35"/>
                    </a:lnTo>
                    <a:lnTo>
                      <a:pt x="192" y="49"/>
                    </a:lnTo>
                    <a:lnTo>
                      <a:pt x="179" y="69"/>
                    </a:lnTo>
                    <a:lnTo>
                      <a:pt x="188" y="88"/>
                    </a:lnTo>
                    <a:lnTo>
                      <a:pt x="187" y="109"/>
                    </a:lnTo>
                    <a:lnTo>
                      <a:pt x="184" y="118"/>
                    </a:lnTo>
                    <a:lnTo>
                      <a:pt x="163" y="111"/>
                    </a:lnTo>
                    <a:lnTo>
                      <a:pt x="116" y="124"/>
                    </a:lnTo>
                    <a:lnTo>
                      <a:pt x="127" y="131"/>
                    </a:lnTo>
                    <a:lnTo>
                      <a:pt x="151" y="129"/>
                    </a:lnTo>
                    <a:lnTo>
                      <a:pt x="155" y="136"/>
                    </a:lnTo>
                    <a:lnTo>
                      <a:pt x="137" y="143"/>
                    </a:lnTo>
                    <a:lnTo>
                      <a:pt x="135" y="164"/>
                    </a:lnTo>
                    <a:lnTo>
                      <a:pt x="127" y="164"/>
                    </a:lnTo>
                    <a:lnTo>
                      <a:pt x="116" y="175"/>
                    </a:lnTo>
                    <a:lnTo>
                      <a:pt x="113" y="199"/>
                    </a:lnTo>
                    <a:lnTo>
                      <a:pt x="101" y="212"/>
                    </a:lnTo>
                    <a:lnTo>
                      <a:pt x="25" y="198"/>
                    </a:lnTo>
                    <a:lnTo>
                      <a:pt x="4" y="215"/>
                    </a:lnTo>
                    <a:lnTo>
                      <a:pt x="0" y="243"/>
                    </a:lnTo>
                    <a:lnTo>
                      <a:pt x="11" y="261"/>
                    </a:lnTo>
                    <a:lnTo>
                      <a:pt x="25" y="273"/>
                    </a:lnTo>
                    <a:lnTo>
                      <a:pt x="32" y="282"/>
                    </a:lnTo>
                    <a:lnTo>
                      <a:pt x="68" y="284"/>
                    </a:lnTo>
                    <a:lnTo>
                      <a:pt x="73" y="298"/>
                    </a:lnTo>
                    <a:lnTo>
                      <a:pt x="68" y="312"/>
                    </a:lnTo>
                    <a:lnTo>
                      <a:pt x="67" y="341"/>
                    </a:lnTo>
                    <a:lnTo>
                      <a:pt x="72" y="365"/>
                    </a:lnTo>
                    <a:lnTo>
                      <a:pt x="92" y="385"/>
                    </a:lnTo>
                    <a:lnTo>
                      <a:pt x="98" y="402"/>
                    </a:lnTo>
                    <a:lnTo>
                      <a:pt x="90" y="415"/>
                    </a:lnTo>
                    <a:lnTo>
                      <a:pt x="68" y="436"/>
                    </a:lnTo>
                    <a:lnTo>
                      <a:pt x="56" y="468"/>
                    </a:lnTo>
                    <a:lnTo>
                      <a:pt x="40" y="490"/>
                    </a:lnTo>
                    <a:lnTo>
                      <a:pt x="43" y="513"/>
                    </a:lnTo>
                    <a:lnTo>
                      <a:pt x="27" y="563"/>
                    </a:lnTo>
                    <a:lnTo>
                      <a:pt x="28" y="566"/>
                    </a:lnTo>
                    <a:lnTo>
                      <a:pt x="35" y="575"/>
                    </a:lnTo>
                    <a:lnTo>
                      <a:pt x="44" y="579"/>
                    </a:lnTo>
                    <a:lnTo>
                      <a:pt x="65" y="570"/>
                    </a:lnTo>
                    <a:lnTo>
                      <a:pt x="117" y="531"/>
                    </a:lnTo>
                    <a:lnTo>
                      <a:pt x="131" y="531"/>
                    </a:lnTo>
                    <a:lnTo>
                      <a:pt x="159" y="545"/>
                    </a:lnTo>
                    <a:lnTo>
                      <a:pt x="176" y="545"/>
                    </a:lnTo>
                    <a:lnTo>
                      <a:pt x="186" y="536"/>
                    </a:lnTo>
                    <a:lnTo>
                      <a:pt x="199" y="517"/>
                    </a:lnTo>
                    <a:lnTo>
                      <a:pt x="199" y="499"/>
                    </a:lnTo>
                    <a:lnTo>
                      <a:pt x="202" y="487"/>
                    </a:lnTo>
                    <a:lnTo>
                      <a:pt x="213" y="483"/>
                    </a:lnTo>
                    <a:lnTo>
                      <a:pt x="240" y="494"/>
                    </a:lnTo>
                    <a:lnTo>
                      <a:pt x="246" y="494"/>
                    </a:lnTo>
                    <a:lnTo>
                      <a:pt x="265" y="485"/>
                    </a:lnTo>
                    <a:lnTo>
                      <a:pt x="274" y="471"/>
                    </a:lnTo>
                    <a:lnTo>
                      <a:pt x="274" y="455"/>
                    </a:lnTo>
                    <a:lnTo>
                      <a:pt x="277" y="429"/>
                    </a:lnTo>
                    <a:lnTo>
                      <a:pt x="295" y="404"/>
                    </a:lnTo>
                    <a:lnTo>
                      <a:pt x="301" y="381"/>
                    </a:lnTo>
                    <a:lnTo>
                      <a:pt x="314" y="372"/>
                    </a:lnTo>
                    <a:lnTo>
                      <a:pt x="331" y="370"/>
                    </a:lnTo>
                    <a:lnTo>
                      <a:pt x="338" y="374"/>
                    </a:lnTo>
                    <a:lnTo>
                      <a:pt x="363" y="400"/>
                    </a:lnTo>
                    <a:lnTo>
                      <a:pt x="356" y="438"/>
                    </a:lnTo>
                    <a:lnTo>
                      <a:pt x="378" y="432"/>
                    </a:lnTo>
                    <a:lnTo>
                      <a:pt x="385" y="443"/>
                    </a:lnTo>
                    <a:lnTo>
                      <a:pt x="379" y="506"/>
                    </a:lnTo>
                    <a:lnTo>
                      <a:pt x="372" y="533"/>
                    </a:lnTo>
                    <a:lnTo>
                      <a:pt x="387" y="589"/>
                    </a:lnTo>
                    <a:lnTo>
                      <a:pt x="393" y="595"/>
                    </a:lnTo>
                    <a:lnTo>
                      <a:pt x="409" y="596"/>
                    </a:lnTo>
                    <a:lnTo>
                      <a:pt x="425" y="593"/>
                    </a:lnTo>
                    <a:lnTo>
                      <a:pt x="458" y="565"/>
                    </a:lnTo>
                    <a:lnTo>
                      <a:pt x="483" y="559"/>
                    </a:lnTo>
                    <a:lnTo>
                      <a:pt x="510" y="531"/>
                    </a:lnTo>
                    <a:lnTo>
                      <a:pt x="543" y="512"/>
                    </a:lnTo>
                    <a:lnTo>
                      <a:pt x="572" y="510"/>
                    </a:lnTo>
                    <a:lnTo>
                      <a:pt x="581" y="515"/>
                    </a:lnTo>
                    <a:lnTo>
                      <a:pt x="575" y="526"/>
                    </a:lnTo>
                    <a:lnTo>
                      <a:pt x="581" y="529"/>
                    </a:lnTo>
                    <a:lnTo>
                      <a:pt x="624" y="519"/>
                    </a:lnTo>
                    <a:lnTo>
                      <a:pt x="649" y="506"/>
                    </a:lnTo>
                    <a:lnTo>
                      <a:pt x="661" y="515"/>
                    </a:lnTo>
                    <a:lnTo>
                      <a:pt x="683" y="519"/>
                    </a:lnTo>
                    <a:lnTo>
                      <a:pt x="707" y="527"/>
                    </a:lnTo>
                    <a:lnTo>
                      <a:pt x="723" y="519"/>
                    </a:lnTo>
                    <a:lnTo>
                      <a:pt x="727" y="505"/>
                    </a:lnTo>
                    <a:lnTo>
                      <a:pt x="735" y="492"/>
                    </a:lnTo>
                    <a:lnTo>
                      <a:pt x="727" y="483"/>
                    </a:lnTo>
                    <a:lnTo>
                      <a:pt x="732" y="460"/>
                    </a:lnTo>
                    <a:lnTo>
                      <a:pt x="722" y="446"/>
                    </a:lnTo>
                    <a:lnTo>
                      <a:pt x="728" y="422"/>
                    </a:lnTo>
                    <a:lnTo>
                      <a:pt x="724" y="413"/>
                    </a:lnTo>
                    <a:lnTo>
                      <a:pt x="719" y="413"/>
                    </a:lnTo>
                    <a:lnTo>
                      <a:pt x="718" y="381"/>
                    </a:lnTo>
                    <a:lnTo>
                      <a:pt x="704" y="351"/>
                    </a:lnTo>
                    <a:lnTo>
                      <a:pt x="693" y="341"/>
                    </a:lnTo>
                    <a:lnTo>
                      <a:pt x="662" y="339"/>
                    </a:lnTo>
                    <a:lnTo>
                      <a:pt x="653" y="335"/>
                    </a:lnTo>
                    <a:lnTo>
                      <a:pt x="642" y="344"/>
                    </a:lnTo>
                    <a:lnTo>
                      <a:pt x="622" y="348"/>
                    </a:lnTo>
                    <a:lnTo>
                      <a:pt x="608" y="323"/>
                    </a:lnTo>
                    <a:lnTo>
                      <a:pt x="605" y="305"/>
                    </a:lnTo>
                    <a:lnTo>
                      <a:pt x="613" y="291"/>
                    </a:lnTo>
                    <a:lnTo>
                      <a:pt x="612" y="224"/>
                    </a:lnTo>
                    <a:lnTo>
                      <a:pt x="605" y="219"/>
                    </a:lnTo>
                    <a:lnTo>
                      <a:pt x="588" y="224"/>
                    </a:lnTo>
                    <a:lnTo>
                      <a:pt x="574" y="235"/>
                    </a:lnTo>
                    <a:lnTo>
                      <a:pt x="520" y="231"/>
                    </a:lnTo>
                    <a:lnTo>
                      <a:pt x="483" y="245"/>
                    </a:lnTo>
                    <a:lnTo>
                      <a:pt x="476" y="254"/>
                    </a:lnTo>
                    <a:lnTo>
                      <a:pt x="469" y="254"/>
                    </a:lnTo>
                    <a:lnTo>
                      <a:pt x="460" y="235"/>
                    </a:lnTo>
                    <a:lnTo>
                      <a:pt x="444" y="235"/>
                    </a:lnTo>
                    <a:lnTo>
                      <a:pt x="430" y="245"/>
                    </a:lnTo>
                    <a:lnTo>
                      <a:pt x="424" y="222"/>
                    </a:lnTo>
                    <a:lnTo>
                      <a:pt x="420" y="224"/>
                    </a:lnTo>
                    <a:lnTo>
                      <a:pt x="405" y="215"/>
                    </a:lnTo>
                    <a:lnTo>
                      <a:pt x="403" y="206"/>
                    </a:lnTo>
                    <a:lnTo>
                      <a:pt x="393" y="205"/>
                    </a:lnTo>
                    <a:lnTo>
                      <a:pt x="374" y="214"/>
                    </a:lnTo>
                    <a:lnTo>
                      <a:pt x="359" y="215"/>
                    </a:lnTo>
                    <a:lnTo>
                      <a:pt x="360" y="229"/>
                    </a:lnTo>
                    <a:lnTo>
                      <a:pt x="347" y="233"/>
                    </a:lnTo>
                    <a:lnTo>
                      <a:pt x="329" y="228"/>
                    </a:lnTo>
                    <a:lnTo>
                      <a:pt x="326" y="215"/>
                    </a:lnTo>
                    <a:lnTo>
                      <a:pt x="319" y="208"/>
                    </a:lnTo>
                    <a:lnTo>
                      <a:pt x="304" y="203"/>
                    </a:lnTo>
                    <a:lnTo>
                      <a:pt x="282" y="212"/>
                    </a:lnTo>
                    <a:lnTo>
                      <a:pt x="273" y="206"/>
                    </a:lnTo>
                    <a:lnTo>
                      <a:pt x="191" y="210"/>
                    </a:lnTo>
                    <a:lnTo>
                      <a:pt x="187" y="203"/>
                    </a:lnTo>
                    <a:lnTo>
                      <a:pt x="179" y="178"/>
                    </a:lnTo>
                    <a:lnTo>
                      <a:pt x="184" y="162"/>
                    </a:lnTo>
                    <a:lnTo>
                      <a:pt x="192" y="150"/>
                    </a:lnTo>
                    <a:lnTo>
                      <a:pt x="197" y="164"/>
                    </a:lnTo>
                    <a:lnTo>
                      <a:pt x="206" y="159"/>
                    </a:lnTo>
                    <a:lnTo>
                      <a:pt x="203" y="148"/>
                    </a:lnTo>
                    <a:lnTo>
                      <a:pt x="208" y="131"/>
                    </a:lnTo>
                    <a:lnTo>
                      <a:pt x="213" y="131"/>
                    </a:lnTo>
                    <a:lnTo>
                      <a:pt x="257" y="118"/>
                    </a:lnTo>
                    <a:lnTo>
                      <a:pt x="302" y="139"/>
                    </a:lnTo>
                    <a:lnTo>
                      <a:pt x="307" y="150"/>
                    </a:lnTo>
                    <a:lnTo>
                      <a:pt x="315" y="150"/>
                    </a:lnTo>
                    <a:lnTo>
                      <a:pt x="315" y="136"/>
                    </a:lnTo>
                    <a:lnTo>
                      <a:pt x="348" y="115"/>
                    </a:lnTo>
                    <a:lnTo>
                      <a:pt x="334" y="113"/>
                    </a:lnTo>
                    <a:lnTo>
                      <a:pt x="315" y="116"/>
                    </a:lnTo>
                    <a:lnTo>
                      <a:pt x="307" y="99"/>
                    </a:lnTo>
                    <a:lnTo>
                      <a:pt x="297" y="94"/>
                    </a:lnTo>
                    <a:lnTo>
                      <a:pt x="290" y="83"/>
                    </a:lnTo>
                    <a:lnTo>
                      <a:pt x="302" y="74"/>
                    </a:lnTo>
                    <a:lnTo>
                      <a:pt x="321" y="53"/>
                    </a:lnTo>
                    <a:lnTo>
                      <a:pt x="327" y="39"/>
                    </a:lnTo>
                    <a:lnTo>
                      <a:pt x="317" y="23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</p:grpSp>
        <p:sp>
          <p:nvSpPr>
            <p:cNvPr id="5316" name="Freeform 205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3587" y="2078"/>
              <a:ext cx="211" cy="176"/>
            </a:xfrm>
            <a:custGeom>
              <a:avLst/>
              <a:gdLst>
                <a:gd name="T0" fmla="*/ 37 w 1404"/>
                <a:gd name="T1" fmla="*/ 534 h 1186"/>
                <a:gd name="T2" fmla="*/ 0 w 1404"/>
                <a:gd name="T3" fmla="*/ 582 h 1186"/>
                <a:gd name="T4" fmla="*/ 43 w 1404"/>
                <a:gd name="T5" fmla="*/ 642 h 1186"/>
                <a:gd name="T6" fmla="*/ 13 w 1404"/>
                <a:gd name="T7" fmla="*/ 716 h 1186"/>
                <a:gd name="T8" fmla="*/ 55 w 1404"/>
                <a:gd name="T9" fmla="*/ 913 h 1186"/>
                <a:gd name="T10" fmla="*/ 132 w 1404"/>
                <a:gd name="T11" fmla="*/ 961 h 1186"/>
                <a:gd name="T12" fmla="*/ 193 w 1404"/>
                <a:gd name="T13" fmla="*/ 1181 h 1186"/>
                <a:gd name="T14" fmla="*/ 317 w 1404"/>
                <a:gd name="T15" fmla="*/ 1172 h 1186"/>
                <a:gd name="T16" fmla="*/ 557 w 1404"/>
                <a:gd name="T17" fmla="*/ 1137 h 1186"/>
                <a:gd name="T18" fmla="*/ 576 w 1404"/>
                <a:gd name="T19" fmla="*/ 1066 h 1186"/>
                <a:gd name="T20" fmla="*/ 639 w 1404"/>
                <a:gd name="T21" fmla="*/ 947 h 1186"/>
                <a:gd name="T22" fmla="*/ 703 w 1404"/>
                <a:gd name="T23" fmla="*/ 950 h 1186"/>
                <a:gd name="T24" fmla="*/ 745 w 1404"/>
                <a:gd name="T25" fmla="*/ 889 h 1186"/>
                <a:gd name="T26" fmla="*/ 838 w 1404"/>
                <a:gd name="T27" fmla="*/ 898 h 1186"/>
                <a:gd name="T28" fmla="*/ 864 w 1404"/>
                <a:gd name="T29" fmla="*/ 866 h 1186"/>
                <a:gd name="T30" fmla="*/ 893 w 1404"/>
                <a:gd name="T31" fmla="*/ 721 h 1186"/>
                <a:gd name="T32" fmla="*/ 946 w 1404"/>
                <a:gd name="T33" fmla="*/ 700 h 1186"/>
                <a:gd name="T34" fmla="*/ 965 w 1404"/>
                <a:gd name="T35" fmla="*/ 652 h 1186"/>
                <a:gd name="T36" fmla="*/ 943 w 1404"/>
                <a:gd name="T37" fmla="*/ 585 h 1186"/>
                <a:gd name="T38" fmla="*/ 1055 w 1404"/>
                <a:gd name="T39" fmla="*/ 566 h 1186"/>
                <a:gd name="T40" fmla="*/ 1048 w 1404"/>
                <a:gd name="T41" fmla="*/ 502 h 1186"/>
                <a:gd name="T42" fmla="*/ 1094 w 1404"/>
                <a:gd name="T43" fmla="*/ 407 h 1186"/>
                <a:gd name="T44" fmla="*/ 1090 w 1404"/>
                <a:gd name="T45" fmla="*/ 349 h 1186"/>
                <a:gd name="T46" fmla="*/ 1104 w 1404"/>
                <a:gd name="T47" fmla="*/ 274 h 1186"/>
                <a:gd name="T48" fmla="*/ 1224 w 1404"/>
                <a:gd name="T49" fmla="*/ 214 h 1186"/>
                <a:gd name="T50" fmla="*/ 1327 w 1404"/>
                <a:gd name="T51" fmla="*/ 212 h 1186"/>
                <a:gd name="T52" fmla="*/ 1378 w 1404"/>
                <a:gd name="T53" fmla="*/ 193 h 1186"/>
                <a:gd name="T54" fmla="*/ 1371 w 1404"/>
                <a:gd name="T55" fmla="*/ 179 h 1186"/>
                <a:gd name="T56" fmla="*/ 1404 w 1404"/>
                <a:gd name="T57" fmla="*/ 157 h 1186"/>
                <a:gd name="T58" fmla="*/ 1346 w 1404"/>
                <a:gd name="T59" fmla="*/ 136 h 1186"/>
                <a:gd name="T60" fmla="*/ 1272 w 1404"/>
                <a:gd name="T61" fmla="*/ 156 h 1186"/>
                <a:gd name="T62" fmla="*/ 1240 w 1404"/>
                <a:gd name="T63" fmla="*/ 142 h 1186"/>
                <a:gd name="T64" fmla="*/ 1155 w 1404"/>
                <a:gd name="T65" fmla="*/ 195 h 1186"/>
                <a:gd name="T66" fmla="*/ 1090 w 1404"/>
                <a:gd name="T67" fmla="*/ 225 h 1186"/>
                <a:gd name="T68" fmla="*/ 1076 w 1404"/>
                <a:gd name="T69" fmla="*/ 136 h 1186"/>
                <a:gd name="T70" fmla="*/ 1053 w 1404"/>
                <a:gd name="T71" fmla="*/ 68 h 1186"/>
                <a:gd name="T72" fmla="*/ 1028 w 1404"/>
                <a:gd name="T73" fmla="*/ 0 h 1186"/>
                <a:gd name="T74" fmla="*/ 992 w 1404"/>
                <a:gd name="T75" fmla="*/ 34 h 1186"/>
                <a:gd name="T76" fmla="*/ 971 w 1404"/>
                <a:gd name="T77" fmla="*/ 101 h 1186"/>
                <a:gd name="T78" fmla="*/ 937 w 1404"/>
                <a:gd name="T79" fmla="*/ 124 h 1186"/>
                <a:gd name="T80" fmla="*/ 896 w 1404"/>
                <a:gd name="T81" fmla="*/ 129 h 1186"/>
                <a:gd name="T82" fmla="*/ 873 w 1404"/>
                <a:gd name="T83" fmla="*/ 175 h 1186"/>
                <a:gd name="T84" fmla="*/ 814 w 1404"/>
                <a:gd name="T85" fmla="*/ 161 h 1186"/>
                <a:gd name="T86" fmla="*/ 732 w 1404"/>
                <a:gd name="T87" fmla="*/ 205 h 1186"/>
                <a:gd name="T88" fmla="*/ 708 w 1404"/>
                <a:gd name="T89" fmla="*/ 165 h 1186"/>
                <a:gd name="T90" fmla="*/ 611 w 1404"/>
                <a:gd name="T91" fmla="*/ 152 h 1186"/>
                <a:gd name="T92" fmla="*/ 501 w 1404"/>
                <a:gd name="T93" fmla="*/ 142 h 1186"/>
                <a:gd name="T94" fmla="*/ 414 w 1404"/>
                <a:gd name="T95" fmla="*/ 214 h 1186"/>
                <a:gd name="T96" fmla="*/ 378 w 1404"/>
                <a:gd name="T97" fmla="*/ 297 h 1186"/>
                <a:gd name="T98" fmla="*/ 262 w 1404"/>
                <a:gd name="T99" fmla="*/ 388 h 1186"/>
                <a:gd name="T100" fmla="*/ 198 w 1404"/>
                <a:gd name="T101" fmla="*/ 420 h 1186"/>
                <a:gd name="T102" fmla="*/ 80 w 1404"/>
                <a:gd name="T103" fmla="*/ 375 h 118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404"/>
                <a:gd name="T157" fmla="*/ 0 h 1186"/>
                <a:gd name="T158" fmla="*/ 1404 w 1404"/>
                <a:gd name="T159" fmla="*/ 1186 h 118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404" h="1186">
                  <a:moveTo>
                    <a:pt x="80" y="375"/>
                  </a:moveTo>
                  <a:lnTo>
                    <a:pt x="73" y="390"/>
                  </a:lnTo>
                  <a:lnTo>
                    <a:pt x="37" y="534"/>
                  </a:lnTo>
                  <a:lnTo>
                    <a:pt x="26" y="552"/>
                  </a:lnTo>
                  <a:lnTo>
                    <a:pt x="1" y="575"/>
                  </a:lnTo>
                  <a:lnTo>
                    <a:pt x="0" y="582"/>
                  </a:lnTo>
                  <a:lnTo>
                    <a:pt x="6" y="622"/>
                  </a:lnTo>
                  <a:lnTo>
                    <a:pt x="10" y="628"/>
                  </a:lnTo>
                  <a:lnTo>
                    <a:pt x="43" y="642"/>
                  </a:lnTo>
                  <a:lnTo>
                    <a:pt x="43" y="652"/>
                  </a:lnTo>
                  <a:lnTo>
                    <a:pt x="16" y="707"/>
                  </a:lnTo>
                  <a:lnTo>
                    <a:pt x="13" y="716"/>
                  </a:lnTo>
                  <a:lnTo>
                    <a:pt x="37" y="899"/>
                  </a:lnTo>
                  <a:lnTo>
                    <a:pt x="46" y="912"/>
                  </a:lnTo>
                  <a:lnTo>
                    <a:pt x="55" y="913"/>
                  </a:lnTo>
                  <a:lnTo>
                    <a:pt x="108" y="929"/>
                  </a:lnTo>
                  <a:lnTo>
                    <a:pt x="127" y="940"/>
                  </a:lnTo>
                  <a:lnTo>
                    <a:pt x="132" y="961"/>
                  </a:lnTo>
                  <a:lnTo>
                    <a:pt x="135" y="986"/>
                  </a:lnTo>
                  <a:lnTo>
                    <a:pt x="41" y="1124"/>
                  </a:lnTo>
                  <a:lnTo>
                    <a:pt x="193" y="1181"/>
                  </a:lnTo>
                  <a:lnTo>
                    <a:pt x="250" y="1186"/>
                  </a:lnTo>
                  <a:lnTo>
                    <a:pt x="301" y="1172"/>
                  </a:lnTo>
                  <a:lnTo>
                    <a:pt x="317" y="1172"/>
                  </a:lnTo>
                  <a:lnTo>
                    <a:pt x="361" y="1181"/>
                  </a:lnTo>
                  <a:lnTo>
                    <a:pt x="511" y="1153"/>
                  </a:lnTo>
                  <a:lnTo>
                    <a:pt x="557" y="1137"/>
                  </a:lnTo>
                  <a:lnTo>
                    <a:pt x="568" y="1128"/>
                  </a:lnTo>
                  <a:lnTo>
                    <a:pt x="571" y="1117"/>
                  </a:lnTo>
                  <a:lnTo>
                    <a:pt x="576" y="1066"/>
                  </a:lnTo>
                  <a:lnTo>
                    <a:pt x="586" y="1014"/>
                  </a:lnTo>
                  <a:lnTo>
                    <a:pt x="594" y="995"/>
                  </a:lnTo>
                  <a:lnTo>
                    <a:pt x="639" y="947"/>
                  </a:lnTo>
                  <a:lnTo>
                    <a:pt x="651" y="943"/>
                  </a:lnTo>
                  <a:lnTo>
                    <a:pt x="679" y="945"/>
                  </a:lnTo>
                  <a:lnTo>
                    <a:pt x="703" y="950"/>
                  </a:lnTo>
                  <a:lnTo>
                    <a:pt x="713" y="945"/>
                  </a:lnTo>
                  <a:lnTo>
                    <a:pt x="728" y="905"/>
                  </a:lnTo>
                  <a:lnTo>
                    <a:pt x="745" y="889"/>
                  </a:lnTo>
                  <a:lnTo>
                    <a:pt x="769" y="875"/>
                  </a:lnTo>
                  <a:lnTo>
                    <a:pt x="794" y="876"/>
                  </a:lnTo>
                  <a:lnTo>
                    <a:pt x="838" y="898"/>
                  </a:lnTo>
                  <a:lnTo>
                    <a:pt x="848" y="894"/>
                  </a:lnTo>
                  <a:lnTo>
                    <a:pt x="863" y="871"/>
                  </a:lnTo>
                  <a:lnTo>
                    <a:pt x="864" y="866"/>
                  </a:lnTo>
                  <a:lnTo>
                    <a:pt x="871" y="795"/>
                  </a:lnTo>
                  <a:lnTo>
                    <a:pt x="883" y="748"/>
                  </a:lnTo>
                  <a:lnTo>
                    <a:pt x="893" y="721"/>
                  </a:lnTo>
                  <a:lnTo>
                    <a:pt x="906" y="709"/>
                  </a:lnTo>
                  <a:lnTo>
                    <a:pt x="924" y="702"/>
                  </a:lnTo>
                  <a:lnTo>
                    <a:pt x="946" y="700"/>
                  </a:lnTo>
                  <a:lnTo>
                    <a:pt x="961" y="693"/>
                  </a:lnTo>
                  <a:lnTo>
                    <a:pt x="970" y="679"/>
                  </a:lnTo>
                  <a:lnTo>
                    <a:pt x="965" y="652"/>
                  </a:lnTo>
                  <a:lnTo>
                    <a:pt x="959" y="636"/>
                  </a:lnTo>
                  <a:lnTo>
                    <a:pt x="929" y="592"/>
                  </a:lnTo>
                  <a:lnTo>
                    <a:pt x="943" y="585"/>
                  </a:lnTo>
                  <a:lnTo>
                    <a:pt x="1019" y="594"/>
                  </a:lnTo>
                  <a:lnTo>
                    <a:pt x="1041" y="582"/>
                  </a:lnTo>
                  <a:lnTo>
                    <a:pt x="1055" y="566"/>
                  </a:lnTo>
                  <a:lnTo>
                    <a:pt x="1053" y="548"/>
                  </a:lnTo>
                  <a:lnTo>
                    <a:pt x="1043" y="520"/>
                  </a:lnTo>
                  <a:lnTo>
                    <a:pt x="1048" y="502"/>
                  </a:lnTo>
                  <a:lnTo>
                    <a:pt x="1088" y="462"/>
                  </a:lnTo>
                  <a:lnTo>
                    <a:pt x="1104" y="437"/>
                  </a:lnTo>
                  <a:lnTo>
                    <a:pt x="1094" y="407"/>
                  </a:lnTo>
                  <a:lnTo>
                    <a:pt x="1100" y="379"/>
                  </a:lnTo>
                  <a:lnTo>
                    <a:pt x="1090" y="368"/>
                  </a:lnTo>
                  <a:lnTo>
                    <a:pt x="1090" y="349"/>
                  </a:lnTo>
                  <a:lnTo>
                    <a:pt x="1071" y="333"/>
                  </a:lnTo>
                  <a:lnTo>
                    <a:pt x="1071" y="314"/>
                  </a:lnTo>
                  <a:lnTo>
                    <a:pt x="1104" y="274"/>
                  </a:lnTo>
                  <a:lnTo>
                    <a:pt x="1113" y="276"/>
                  </a:lnTo>
                  <a:lnTo>
                    <a:pt x="1173" y="223"/>
                  </a:lnTo>
                  <a:lnTo>
                    <a:pt x="1224" y="214"/>
                  </a:lnTo>
                  <a:lnTo>
                    <a:pt x="1284" y="214"/>
                  </a:lnTo>
                  <a:lnTo>
                    <a:pt x="1313" y="223"/>
                  </a:lnTo>
                  <a:lnTo>
                    <a:pt x="1327" y="212"/>
                  </a:lnTo>
                  <a:lnTo>
                    <a:pt x="1342" y="212"/>
                  </a:lnTo>
                  <a:lnTo>
                    <a:pt x="1362" y="195"/>
                  </a:lnTo>
                  <a:lnTo>
                    <a:pt x="1378" y="193"/>
                  </a:lnTo>
                  <a:lnTo>
                    <a:pt x="1383" y="186"/>
                  </a:lnTo>
                  <a:lnTo>
                    <a:pt x="1382" y="180"/>
                  </a:lnTo>
                  <a:lnTo>
                    <a:pt x="1371" y="179"/>
                  </a:lnTo>
                  <a:lnTo>
                    <a:pt x="1371" y="163"/>
                  </a:lnTo>
                  <a:lnTo>
                    <a:pt x="1396" y="166"/>
                  </a:lnTo>
                  <a:lnTo>
                    <a:pt x="1404" y="157"/>
                  </a:lnTo>
                  <a:lnTo>
                    <a:pt x="1380" y="149"/>
                  </a:lnTo>
                  <a:lnTo>
                    <a:pt x="1358" y="145"/>
                  </a:lnTo>
                  <a:lnTo>
                    <a:pt x="1346" y="136"/>
                  </a:lnTo>
                  <a:lnTo>
                    <a:pt x="1321" y="149"/>
                  </a:lnTo>
                  <a:lnTo>
                    <a:pt x="1278" y="159"/>
                  </a:lnTo>
                  <a:lnTo>
                    <a:pt x="1272" y="156"/>
                  </a:lnTo>
                  <a:lnTo>
                    <a:pt x="1278" y="145"/>
                  </a:lnTo>
                  <a:lnTo>
                    <a:pt x="1269" y="140"/>
                  </a:lnTo>
                  <a:lnTo>
                    <a:pt x="1240" y="142"/>
                  </a:lnTo>
                  <a:lnTo>
                    <a:pt x="1207" y="161"/>
                  </a:lnTo>
                  <a:lnTo>
                    <a:pt x="1180" y="189"/>
                  </a:lnTo>
                  <a:lnTo>
                    <a:pt x="1155" y="195"/>
                  </a:lnTo>
                  <a:lnTo>
                    <a:pt x="1122" y="223"/>
                  </a:lnTo>
                  <a:lnTo>
                    <a:pt x="1106" y="226"/>
                  </a:lnTo>
                  <a:lnTo>
                    <a:pt x="1090" y="225"/>
                  </a:lnTo>
                  <a:lnTo>
                    <a:pt x="1084" y="219"/>
                  </a:lnTo>
                  <a:lnTo>
                    <a:pt x="1069" y="163"/>
                  </a:lnTo>
                  <a:lnTo>
                    <a:pt x="1076" y="136"/>
                  </a:lnTo>
                  <a:lnTo>
                    <a:pt x="1082" y="73"/>
                  </a:lnTo>
                  <a:lnTo>
                    <a:pt x="1075" y="62"/>
                  </a:lnTo>
                  <a:lnTo>
                    <a:pt x="1053" y="68"/>
                  </a:lnTo>
                  <a:lnTo>
                    <a:pt x="1060" y="30"/>
                  </a:lnTo>
                  <a:lnTo>
                    <a:pt x="1035" y="4"/>
                  </a:lnTo>
                  <a:lnTo>
                    <a:pt x="1028" y="0"/>
                  </a:lnTo>
                  <a:lnTo>
                    <a:pt x="1011" y="2"/>
                  </a:lnTo>
                  <a:lnTo>
                    <a:pt x="998" y="11"/>
                  </a:lnTo>
                  <a:lnTo>
                    <a:pt x="992" y="34"/>
                  </a:lnTo>
                  <a:lnTo>
                    <a:pt x="974" y="59"/>
                  </a:lnTo>
                  <a:lnTo>
                    <a:pt x="971" y="85"/>
                  </a:lnTo>
                  <a:lnTo>
                    <a:pt x="971" y="101"/>
                  </a:lnTo>
                  <a:lnTo>
                    <a:pt x="962" y="115"/>
                  </a:lnTo>
                  <a:lnTo>
                    <a:pt x="943" y="124"/>
                  </a:lnTo>
                  <a:lnTo>
                    <a:pt x="937" y="124"/>
                  </a:lnTo>
                  <a:lnTo>
                    <a:pt x="910" y="113"/>
                  </a:lnTo>
                  <a:lnTo>
                    <a:pt x="899" y="117"/>
                  </a:lnTo>
                  <a:lnTo>
                    <a:pt x="896" y="129"/>
                  </a:lnTo>
                  <a:lnTo>
                    <a:pt x="896" y="147"/>
                  </a:lnTo>
                  <a:lnTo>
                    <a:pt x="883" y="166"/>
                  </a:lnTo>
                  <a:lnTo>
                    <a:pt x="873" y="175"/>
                  </a:lnTo>
                  <a:lnTo>
                    <a:pt x="856" y="175"/>
                  </a:lnTo>
                  <a:lnTo>
                    <a:pt x="828" y="161"/>
                  </a:lnTo>
                  <a:lnTo>
                    <a:pt x="814" y="161"/>
                  </a:lnTo>
                  <a:lnTo>
                    <a:pt x="762" y="200"/>
                  </a:lnTo>
                  <a:lnTo>
                    <a:pt x="741" y="209"/>
                  </a:lnTo>
                  <a:lnTo>
                    <a:pt x="732" y="205"/>
                  </a:lnTo>
                  <a:lnTo>
                    <a:pt x="725" y="196"/>
                  </a:lnTo>
                  <a:lnTo>
                    <a:pt x="724" y="193"/>
                  </a:lnTo>
                  <a:lnTo>
                    <a:pt x="708" y="165"/>
                  </a:lnTo>
                  <a:lnTo>
                    <a:pt x="697" y="157"/>
                  </a:lnTo>
                  <a:lnTo>
                    <a:pt x="615" y="154"/>
                  </a:lnTo>
                  <a:lnTo>
                    <a:pt x="611" y="152"/>
                  </a:lnTo>
                  <a:lnTo>
                    <a:pt x="546" y="138"/>
                  </a:lnTo>
                  <a:lnTo>
                    <a:pt x="522" y="120"/>
                  </a:lnTo>
                  <a:lnTo>
                    <a:pt x="501" y="142"/>
                  </a:lnTo>
                  <a:lnTo>
                    <a:pt x="483" y="154"/>
                  </a:lnTo>
                  <a:lnTo>
                    <a:pt x="433" y="166"/>
                  </a:lnTo>
                  <a:lnTo>
                    <a:pt x="414" y="214"/>
                  </a:lnTo>
                  <a:lnTo>
                    <a:pt x="405" y="274"/>
                  </a:lnTo>
                  <a:lnTo>
                    <a:pt x="401" y="281"/>
                  </a:lnTo>
                  <a:lnTo>
                    <a:pt x="378" y="297"/>
                  </a:lnTo>
                  <a:lnTo>
                    <a:pt x="266" y="349"/>
                  </a:lnTo>
                  <a:lnTo>
                    <a:pt x="262" y="360"/>
                  </a:lnTo>
                  <a:lnTo>
                    <a:pt x="262" y="388"/>
                  </a:lnTo>
                  <a:lnTo>
                    <a:pt x="251" y="400"/>
                  </a:lnTo>
                  <a:lnTo>
                    <a:pt x="222" y="418"/>
                  </a:lnTo>
                  <a:lnTo>
                    <a:pt x="198" y="420"/>
                  </a:lnTo>
                  <a:lnTo>
                    <a:pt x="173" y="414"/>
                  </a:lnTo>
                  <a:lnTo>
                    <a:pt x="90" y="382"/>
                  </a:lnTo>
                  <a:lnTo>
                    <a:pt x="80" y="375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317" name="Freeform 206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3592" y="2105"/>
              <a:ext cx="248" cy="253"/>
            </a:xfrm>
            <a:custGeom>
              <a:avLst/>
              <a:gdLst>
                <a:gd name="T0" fmla="*/ 553 w 1646"/>
                <a:gd name="T1" fmla="*/ 809 h 1701"/>
                <a:gd name="T2" fmla="*/ 527 w 1646"/>
                <a:gd name="T3" fmla="*/ 942 h 1701"/>
                <a:gd name="T4" fmla="*/ 276 w 1646"/>
                <a:gd name="T5" fmla="*/ 986 h 1701"/>
                <a:gd name="T6" fmla="*/ 0 w 1646"/>
                <a:gd name="T7" fmla="*/ 938 h 1701"/>
                <a:gd name="T8" fmla="*/ 181 w 1646"/>
                <a:gd name="T9" fmla="*/ 1145 h 1701"/>
                <a:gd name="T10" fmla="*/ 230 w 1646"/>
                <a:gd name="T11" fmla="*/ 1268 h 1701"/>
                <a:gd name="T12" fmla="*/ 221 w 1646"/>
                <a:gd name="T13" fmla="*/ 1356 h 1701"/>
                <a:gd name="T14" fmla="*/ 98 w 1646"/>
                <a:gd name="T15" fmla="*/ 1423 h 1701"/>
                <a:gd name="T16" fmla="*/ 160 w 1646"/>
                <a:gd name="T17" fmla="*/ 1526 h 1701"/>
                <a:gd name="T18" fmla="*/ 323 w 1646"/>
                <a:gd name="T19" fmla="*/ 1508 h 1701"/>
                <a:gd name="T20" fmla="*/ 537 w 1646"/>
                <a:gd name="T21" fmla="*/ 1485 h 1701"/>
                <a:gd name="T22" fmla="*/ 572 w 1646"/>
                <a:gd name="T23" fmla="*/ 1560 h 1701"/>
                <a:gd name="T24" fmla="*/ 621 w 1646"/>
                <a:gd name="T25" fmla="*/ 1590 h 1701"/>
                <a:gd name="T26" fmla="*/ 674 w 1646"/>
                <a:gd name="T27" fmla="*/ 1694 h 1701"/>
                <a:gd name="T28" fmla="*/ 777 w 1646"/>
                <a:gd name="T29" fmla="*/ 1673 h 1701"/>
                <a:gd name="T30" fmla="*/ 871 w 1646"/>
                <a:gd name="T31" fmla="*/ 1647 h 1701"/>
                <a:gd name="T32" fmla="*/ 954 w 1646"/>
                <a:gd name="T33" fmla="*/ 1625 h 1701"/>
                <a:gd name="T34" fmla="*/ 1006 w 1646"/>
                <a:gd name="T35" fmla="*/ 1622 h 1701"/>
                <a:gd name="T36" fmla="*/ 961 w 1646"/>
                <a:gd name="T37" fmla="*/ 1459 h 1701"/>
                <a:gd name="T38" fmla="*/ 917 w 1646"/>
                <a:gd name="T39" fmla="*/ 1355 h 1701"/>
                <a:gd name="T40" fmla="*/ 851 w 1646"/>
                <a:gd name="T41" fmla="*/ 1303 h 1701"/>
                <a:gd name="T42" fmla="*/ 932 w 1646"/>
                <a:gd name="T43" fmla="*/ 1171 h 1701"/>
                <a:gd name="T44" fmla="*/ 982 w 1646"/>
                <a:gd name="T45" fmla="*/ 1208 h 1701"/>
                <a:gd name="T46" fmla="*/ 1089 w 1646"/>
                <a:gd name="T47" fmla="*/ 1155 h 1701"/>
                <a:gd name="T48" fmla="*/ 1186 w 1646"/>
                <a:gd name="T49" fmla="*/ 1044 h 1701"/>
                <a:gd name="T50" fmla="*/ 1272 w 1646"/>
                <a:gd name="T51" fmla="*/ 908 h 1701"/>
                <a:gd name="T52" fmla="*/ 1353 w 1646"/>
                <a:gd name="T53" fmla="*/ 726 h 1701"/>
                <a:gd name="T54" fmla="*/ 1416 w 1646"/>
                <a:gd name="T55" fmla="*/ 645 h 1701"/>
                <a:gd name="T56" fmla="*/ 1364 w 1646"/>
                <a:gd name="T57" fmla="*/ 599 h 1701"/>
                <a:gd name="T58" fmla="*/ 1325 w 1646"/>
                <a:gd name="T59" fmla="*/ 528 h 1701"/>
                <a:gd name="T60" fmla="*/ 1309 w 1646"/>
                <a:gd name="T61" fmla="*/ 461 h 1701"/>
                <a:gd name="T62" fmla="*/ 1314 w 1646"/>
                <a:gd name="T63" fmla="*/ 396 h 1701"/>
                <a:gd name="T64" fmla="*/ 1290 w 1646"/>
                <a:gd name="T65" fmla="*/ 359 h 1701"/>
                <a:gd name="T66" fmla="*/ 1327 w 1646"/>
                <a:gd name="T67" fmla="*/ 297 h 1701"/>
                <a:gd name="T68" fmla="*/ 1494 w 1646"/>
                <a:gd name="T69" fmla="*/ 316 h 1701"/>
                <a:gd name="T70" fmla="*/ 1563 w 1646"/>
                <a:gd name="T71" fmla="*/ 304 h 1701"/>
                <a:gd name="T72" fmla="*/ 1590 w 1646"/>
                <a:gd name="T73" fmla="*/ 255 h 1701"/>
                <a:gd name="T74" fmla="*/ 1627 w 1646"/>
                <a:gd name="T75" fmla="*/ 198 h 1701"/>
                <a:gd name="T76" fmla="*/ 1531 w 1646"/>
                <a:gd name="T77" fmla="*/ 149 h 1701"/>
                <a:gd name="T78" fmla="*/ 1464 w 1646"/>
                <a:gd name="T79" fmla="*/ 128 h 1701"/>
                <a:gd name="T80" fmla="*/ 1424 w 1646"/>
                <a:gd name="T81" fmla="*/ 31 h 1701"/>
                <a:gd name="T82" fmla="*/ 1362 w 1646"/>
                <a:gd name="T83" fmla="*/ 14 h 1701"/>
                <a:gd name="T84" fmla="*/ 1321 w 1646"/>
                <a:gd name="T85" fmla="*/ 9 h 1701"/>
                <a:gd name="T86" fmla="*/ 1243 w 1646"/>
                <a:gd name="T87" fmla="*/ 28 h 1701"/>
                <a:gd name="T88" fmla="*/ 1063 w 1646"/>
                <a:gd name="T89" fmla="*/ 88 h 1701"/>
                <a:gd name="T90" fmla="*/ 1049 w 1646"/>
                <a:gd name="T91" fmla="*/ 182 h 1701"/>
                <a:gd name="T92" fmla="*/ 1047 w 1646"/>
                <a:gd name="T93" fmla="*/ 276 h 1701"/>
                <a:gd name="T94" fmla="*/ 1014 w 1646"/>
                <a:gd name="T95" fmla="*/ 380 h 1701"/>
                <a:gd name="T96" fmla="*/ 888 w 1646"/>
                <a:gd name="T97" fmla="*/ 406 h 1701"/>
                <a:gd name="T98" fmla="*/ 920 w 1646"/>
                <a:gd name="T99" fmla="*/ 507 h 1701"/>
                <a:gd name="T100" fmla="*/ 852 w 1646"/>
                <a:gd name="T101" fmla="*/ 535 h 1701"/>
                <a:gd name="T102" fmla="*/ 822 w 1646"/>
                <a:gd name="T103" fmla="*/ 685 h 1701"/>
                <a:gd name="T104" fmla="*/ 728 w 1646"/>
                <a:gd name="T105" fmla="*/ 689 h 1701"/>
                <a:gd name="T106" fmla="*/ 662 w 1646"/>
                <a:gd name="T107" fmla="*/ 764 h 170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646"/>
                <a:gd name="T163" fmla="*/ 0 h 1701"/>
                <a:gd name="T164" fmla="*/ 1646 w 1646"/>
                <a:gd name="T165" fmla="*/ 1701 h 1701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646" h="1701">
                  <a:moveTo>
                    <a:pt x="638" y="759"/>
                  </a:moveTo>
                  <a:lnTo>
                    <a:pt x="610" y="757"/>
                  </a:lnTo>
                  <a:lnTo>
                    <a:pt x="598" y="761"/>
                  </a:lnTo>
                  <a:lnTo>
                    <a:pt x="553" y="809"/>
                  </a:lnTo>
                  <a:lnTo>
                    <a:pt x="545" y="828"/>
                  </a:lnTo>
                  <a:lnTo>
                    <a:pt x="535" y="880"/>
                  </a:lnTo>
                  <a:lnTo>
                    <a:pt x="530" y="931"/>
                  </a:lnTo>
                  <a:lnTo>
                    <a:pt x="527" y="942"/>
                  </a:lnTo>
                  <a:lnTo>
                    <a:pt x="516" y="951"/>
                  </a:lnTo>
                  <a:lnTo>
                    <a:pt x="470" y="967"/>
                  </a:lnTo>
                  <a:lnTo>
                    <a:pt x="320" y="995"/>
                  </a:lnTo>
                  <a:lnTo>
                    <a:pt x="276" y="986"/>
                  </a:lnTo>
                  <a:lnTo>
                    <a:pt x="260" y="986"/>
                  </a:lnTo>
                  <a:lnTo>
                    <a:pt x="209" y="1000"/>
                  </a:lnTo>
                  <a:lnTo>
                    <a:pt x="152" y="995"/>
                  </a:lnTo>
                  <a:lnTo>
                    <a:pt x="0" y="938"/>
                  </a:lnTo>
                  <a:lnTo>
                    <a:pt x="82" y="1088"/>
                  </a:lnTo>
                  <a:lnTo>
                    <a:pt x="112" y="1109"/>
                  </a:lnTo>
                  <a:lnTo>
                    <a:pt x="163" y="1132"/>
                  </a:lnTo>
                  <a:lnTo>
                    <a:pt x="181" y="1145"/>
                  </a:lnTo>
                  <a:lnTo>
                    <a:pt x="189" y="1166"/>
                  </a:lnTo>
                  <a:lnTo>
                    <a:pt x="193" y="1243"/>
                  </a:lnTo>
                  <a:lnTo>
                    <a:pt x="201" y="1265"/>
                  </a:lnTo>
                  <a:lnTo>
                    <a:pt x="230" y="1268"/>
                  </a:lnTo>
                  <a:lnTo>
                    <a:pt x="238" y="1284"/>
                  </a:lnTo>
                  <a:lnTo>
                    <a:pt x="237" y="1339"/>
                  </a:lnTo>
                  <a:lnTo>
                    <a:pt x="229" y="1353"/>
                  </a:lnTo>
                  <a:lnTo>
                    <a:pt x="221" y="1356"/>
                  </a:lnTo>
                  <a:lnTo>
                    <a:pt x="176" y="1362"/>
                  </a:lnTo>
                  <a:lnTo>
                    <a:pt x="144" y="1376"/>
                  </a:lnTo>
                  <a:lnTo>
                    <a:pt x="108" y="1402"/>
                  </a:lnTo>
                  <a:lnTo>
                    <a:pt x="98" y="1423"/>
                  </a:lnTo>
                  <a:lnTo>
                    <a:pt x="83" y="1469"/>
                  </a:lnTo>
                  <a:lnTo>
                    <a:pt x="74" y="1543"/>
                  </a:lnTo>
                  <a:lnTo>
                    <a:pt x="98" y="1541"/>
                  </a:lnTo>
                  <a:lnTo>
                    <a:pt x="160" y="1526"/>
                  </a:lnTo>
                  <a:lnTo>
                    <a:pt x="253" y="1526"/>
                  </a:lnTo>
                  <a:lnTo>
                    <a:pt x="276" y="1505"/>
                  </a:lnTo>
                  <a:lnTo>
                    <a:pt x="316" y="1497"/>
                  </a:lnTo>
                  <a:lnTo>
                    <a:pt x="323" y="1508"/>
                  </a:lnTo>
                  <a:lnTo>
                    <a:pt x="335" y="1520"/>
                  </a:lnTo>
                  <a:lnTo>
                    <a:pt x="353" y="1526"/>
                  </a:lnTo>
                  <a:lnTo>
                    <a:pt x="486" y="1508"/>
                  </a:lnTo>
                  <a:lnTo>
                    <a:pt x="537" y="1485"/>
                  </a:lnTo>
                  <a:lnTo>
                    <a:pt x="549" y="1485"/>
                  </a:lnTo>
                  <a:lnTo>
                    <a:pt x="569" y="1506"/>
                  </a:lnTo>
                  <a:lnTo>
                    <a:pt x="576" y="1533"/>
                  </a:lnTo>
                  <a:lnTo>
                    <a:pt x="572" y="1560"/>
                  </a:lnTo>
                  <a:lnTo>
                    <a:pt x="572" y="1574"/>
                  </a:lnTo>
                  <a:lnTo>
                    <a:pt x="576" y="1578"/>
                  </a:lnTo>
                  <a:lnTo>
                    <a:pt x="606" y="1583"/>
                  </a:lnTo>
                  <a:lnTo>
                    <a:pt x="621" y="1590"/>
                  </a:lnTo>
                  <a:lnTo>
                    <a:pt x="625" y="1599"/>
                  </a:lnTo>
                  <a:lnTo>
                    <a:pt x="637" y="1661"/>
                  </a:lnTo>
                  <a:lnTo>
                    <a:pt x="654" y="1680"/>
                  </a:lnTo>
                  <a:lnTo>
                    <a:pt x="674" y="1694"/>
                  </a:lnTo>
                  <a:lnTo>
                    <a:pt x="708" y="1701"/>
                  </a:lnTo>
                  <a:lnTo>
                    <a:pt x="724" y="1698"/>
                  </a:lnTo>
                  <a:lnTo>
                    <a:pt x="737" y="1675"/>
                  </a:lnTo>
                  <a:lnTo>
                    <a:pt x="777" y="1673"/>
                  </a:lnTo>
                  <a:lnTo>
                    <a:pt x="774" y="1633"/>
                  </a:lnTo>
                  <a:lnTo>
                    <a:pt x="786" y="1636"/>
                  </a:lnTo>
                  <a:lnTo>
                    <a:pt x="860" y="1638"/>
                  </a:lnTo>
                  <a:lnTo>
                    <a:pt x="871" y="1647"/>
                  </a:lnTo>
                  <a:lnTo>
                    <a:pt x="902" y="1652"/>
                  </a:lnTo>
                  <a:lnTo>
                    <a:pt x="911" y="1633"/>
                  </a:lnTo>
                  <a:lnTo>
                    <a:pt x="946" y="1622"/>
                  </a:lnTo>
                  <a:lnTo>
                    <a:pt x="954" y="1625"/>
                  </a:lnTo>
                  <a:lnTo>
                    <a:pt x="960" y="1643"/>
                  </a:lnTo>
                  <a:lnTo>
                    <a:pt x="985" y="1638"/>
                  </a:lnTo>
                  <a:lnTo>
                    <a:pt x="991" y="1625"/>
                  </a:lnTo>
                  <a:lnTo>
                    <a:pt x="1006" y="1622"/>
                  </a:lnTo>
                  <a:lnTo>
                    <a:pt x="995" y="1595"/>
                  </a:lnTo>
                  <a:lnTo>
                    <a:pt x="1004" y="1587"/>
                  </a:lnTo>
                  <a:lnTo>
                    <a:pt x="967" y="1483"/>
                  </a:lnTo>
                  <a:lnTo>
                    <a:pt x="961" y="1459"/>
                  </a:lnTo>
                  <a:lnTo>
                    <a:pt x="938" y="1464"/>
                  </a:lnTo>
                  <a:lnTo>
                    <a:pt x="922" y="1459"/>
                  </a:lnTo>
                  <a:lnTo>
                    <a:pt x="905" y="1436"/>
                  </a:lnTo>
                  <a:lnTo>
                    <a:pt x="917" y="1355"/>
                  </a:lnTo>
                  <a:lnTo>
                    <a:pt x="897" y="1355"/>
                  </a:lnTo>
                  <a:lnTo>
                    <a:pt x="852" y="1340"/>
                  </a:lnTo>
                  <a:lnTo>
                    <a:pt x="847" y="1319"/>
                  </a:lnTo>
                  <a:lnTo>
                    <a:pt x="851" y="1303"/>
                  </a:lnTo>
                  <a:lnTo>
                    <a:pt x="859" y="1273"/>
                  </a:lnTo>
                  <a:lnTo>
                    <a:pt x="902" y="1222"/>
                  </a:lnTo>
                  <a:lnTo>
                    <a:pt x="908" y="1198"/>
                  </a:lnTo>
                  <a:lnTo>
                    <a:pt x="932" y="1171"/>
                  </a:lnTo>
                  <a:lnTo>
                    <a:pt x="950" y="1166"/>
                  </a:lnTo>
                  <a:lnTo>
                    <a:pt x="958" y="1175"/>
                  </a:lnTo>
                  <a:lnTo>
                    <a:pt x="966" y="1203"/>
                  </a:lnTo>
                  <a:lnTo>
                    <a:pt x="982" y="1208"/>
                  </a:lnTo>
                  <a:lnTo>
                    <a:pt x="1020" y="1191"/>
                  </a:lnTo>
                  <a:lnTo>
                    <a:pt x="1053" y="1191"/>
                  </a:lnTo>
                  <a:lnTo>
                    <a:pt x="1084" y="1176"/>
                  </a:lnTo>
                  <a:lnTo>
                    <a:pt x="1089" y="1155"/>
                  </a:lnTo>
                  <a:lnTo>
                    <a:pt x="1113" y="1120"/>
                  </a:lnTo>
                  <a:lnTo>
                    <a:pt x="1126" y="1094"/>
                  </a:lnTo>
                  <a:lnTo>
                    <a:pt x="1133" y="1072"/>
                  </a:lnTo>
                  <a:lnTo>
                    <a:pt x="1186" y="1044"/>
                  </a:lnTo>
                  <a:lnTo>
                    <a:pt x="1207" y="1012"/>
                  </a:lnTo>
                  <a:lnTo>
                    <a:pt x="1230" y="944"/>
                  </a:lnTo>
                  <a:lnTo>
                    <a:pt x="1244" y="915"/>
                  </a:lnTo>
                  <a:lnTo>
                    <a:pt x="1272" y="908"/>
                  </a:lnTo>
                  <a:lnTo>
                    <a:pt x="1288" y="892"/>
                  </a:lnTo>
                  <a:lnTo>
                    <a:pt x="1276" y="870"/>
                  </a:lnTo>
                  <a:lnTo>
                    <a:pt x="1342" y="782"/>
                  </a:lnTo>
                  <a:lnTo>
                    <a:pt x="1353" y="726"/>
                  </a:lnTo>
                  <a:lnTo>
                    <a:pt x="1346" y="704"/>
                  </a:lnTo>
                  <a:lnTo>
                    <a:pt x="1343" y="683"/>
                  </a:lnTo>
                  <a:lnTo>
                    <a:pt x="1366" y="669"/>
                  </a:lnTo>
                  <a:lnTo>
                    <a:pt x="1416" y="645"/>
                  </a:lnTo>
                  <a:lnTo>
                    <a:pt x="1425" y="630"/>
                  </a:lnTo>
                  <a:lnTo>
                    <a:pt x="1425" y="618"/>
                  </a:lnTo>
                  <a:lnTo>
                    <a:pt x="1396" y="597"/>
                  </a:lnTo>
                  <a:lnTo>
                    <a:pt x="1364" y="599"/>
                  </a:lnTo>
                  <a:lnTo>
                    <a:pt x="1358" y="585"/>
                  </a:lnTo>
                  <a:lnTo>
                    <a:pt x="1359" y="560"/>
                  </a:lnTo>
                  <a:lnTo>
                    <a:pt x="1323" y="560"/>
                  </a:lnTo>
                  <a:lnTo>
                    <a:pt x="1325" y="528"/>
                  </a:lnTo>
                  <a:lnTo>
                    <a:pt x="1298" y="510"/>
                  </a:lnTo>
                  <a:lnTo>
                    <a:pt x="1293" y="496"/>
                  </a:lnTo>
                  <a:lnTo>
                    <a:pt x="1302" y="489"/>
                  </a:lnTo>
                  <a:lnTo>
                    <a:pt x="1309" y="461"/>
                  </a:lnTo>
                  <a:lnTo>
                    <a:pt x="1290" y="447"/>
                  </a:lnTo>
                  <a:lnTo>
                    <a:pt x="1297" y="422"/>
                  </a:lnTo>
                  <a:lnTo>
                    <a:pt x="1314" y="417"/>
                  </a:lnTo>
                  <a:lnTo>
                    <a:pt x="1314" y="396"/>
                  </a:lnTo>
                  <a:lnTo>
                    <a:pt x="1288" y="398"/>
                  </a:lnTo>
                  <a:lnTo>
                    <a:pt x="1284" y="385"/>
                  </a:lnTo>
                  <a:lnTo>
                    <a:pt x="1292" y="376"/>
                  </a:lnTo>
                  <a:lnTo>
                    <a:pt x="1290" y="359"/>
                  </a:lnTo>
                  <a:lnTo>
                    <a:pt x="1276" y="359"/>
                  </a:lnTo>
                  <a:lnTo>
                    <a:pt x="1272" y="348"/>
                  </a:lnTo>
                  <a:lnTo>
                    <a:pt x="1288" y="311"/>
                  </a:lnTo>
                  <a:lnTo>
                    <a:pt x="1327" y="297"/>
                  </a:lnTo>
                  <a:lnTo>
                    <a:pt x="1403" y="315"/>
                  </a:lnTo>
                  <a:lnTo>
                    <a:pt x="1428" y="323"/>
                  </a:lnTo>
                  <a:lnTo>
                    <a:pt x="1469" y="332"/>
                  </a:lnTo>
                  <a:lnTo>
                    <a:pt x="1494" y="316"/>
                  </a:lnTo>
                  <a:lnTo>
                    <a:pt x="1506" y="323"/>
                  </a:lnTo>
                  <a:lnTo>
                    <a:pt x="1517" y="306"/>
                  </a:lnTo>
                  <a:lnTo>
                    <a:pt x="1537" y="299"/>
                  </a:lnTo>
                  <a:lnTo>
                    <a:pt x="1563" y="304"/>
                  </a:lnTo>
                  <a:lnTo>
                    <a:pt x="1570" y="315"/>
                  </a:lnTo>
                  <a:lnTo>
                    <a:pt x="1580" y="308"/>
                  </a:lnTo>
                  <a:lnTo>
                    <a:pt x="1583" y="279"/>
                  </a:lnTo>
                  <a:lnTo>
                    <a:pt x="1590" y="255"/>
                  </a:lnTo>
                  <a:lnTo>
                    <a:pt x="1637" y="218"/>
                  </a:lnTo>
                  <a:lnTo>
                    <a:pt x="1646" y="212"/>
                  </a:lnTo>
                  <a:lnTo>
                    <a:pt x="1640" y="205"/>
                  </a:lnTo>
                  <a:lnTo>
                    <a:pt x="1627" y="198"/>
                  </a:lnTo>
                  <a:lnTo>
                    <a:pt x="1568" y="193"/>
                  </a:lnTo>
                  <a:lnTo>
                    <a:pt x="1543" y="167"/>
                  </a:lnTo>
                  <a:lnTo>
                    <a:pt x="1535" y="161"/>
                  </a:lnTo>
                  <a:lnTo>
                    <a:pt x="1531" y="149"/>
                  </a:lnTo>
                  <a:lnTo>
                    <a:pt x="1521" y="149"/>
                  </a:lnTo>
                  <a:lnTo>
                    <a:pt x="1497" y="161"/>
                  </a:lnTo>
                  <a:lnTo>
                    <a:pt x="1477" y="131"/>
                  </a:lnTo>
                  <a:lnTo>
                    <a:pt x="1464" y="128"/>
                  </a:lnTo>
                  <a:lnTo>
                    <a:pt x="1477" y="95"/>
                  </a:lnTo>
                  <a:lnTo>
                    <a:pt x="1477" y="65"/>
                  </a:lnTo>
                  <a:lnTo>
                    <a:pt x="1452" y="30"/>
                  </a:lnTo>
                  <a:lnTo>
                    <a:pt x="1424" y="31"/>
                  </a:lnTo>
                  <a:lnTo>
                    <a:pt x="1412" y="39"/>
                  </a:lnTo>
                  <a:lnTo>
                    <a:pt x="1412" y="12"/>
                  </a:lnTo>
                  <a:lnTo>
                    <a:pt x="1374" y="1"/>
                  </a:lnTo>
                  <a:lnTo>
                    <a:pt x="1362" y="14"/>
                  </a:lnTo>
                  <a:lnTo>
                    <a:pt x="1358" y="7"/>
                  </a:lnTo>
                  <a:lnTo>
                    <a:pt x="1342" y="0"/>
                  </a:lnTo>
                  <a:lnTo>
                    <a:pt x="1337" y="7"/>
                  </a:lnTo>
                  <a:lnTo>
                    <a:pt x="1321" y="9"/>
                  </a:lnTo>
                  <a:lnTo>
                    <a:pt x="1301" y="26"/>
                  </a:lnTo>
                  <a:lnTo>
                    <a:pt x="1286" y="26"/>
                  </a:lnTo>
                  <a:lnTo>
                    <a:pt x="1272" y="37"/>
                  </a:lnTo>
                  <a:lnTo>
                    <a:pt x="1243" y="28"/>
                  </a:lnTo>
                  <a:lnTo>
                    <a:pt x="1183" y="28"/>
                  </a:lnTo>
                  <a:lnTo>
                    <a:pt x="1132" y="37"/>
                  </a:lnTo>
                  <a:lnTo>
                    <a:pt x="1072" y="90"/>
                  </a:lnTo>
                  <a:lnTo>
                    <a:pt x="1063" y="88"/>
                  </a:lnTo>
                  <a:lnTo>
                    <a:pt x="1030" y="128"/>
                  </a:lnTo>
                  <a:lnTo>
                    <a:pt x="1030" y="147"/>
                  </a:lnTo>
                  <a:lnTo>
                    <a:pt x="1049" y="163"/>
                  </a:lnTo>
                  <a:lnTo>
                    <a:pt x="1049" y="182"/>
                  </a:lnTo>
                  <a:lnTo>
                    <a:pt x="1059" y="193"/>
                  </a:lnTo>
                  <a:lnTo>
                    <a:pt x="1053" y="221"/>
                  </a:lnTo>
                  <a:lnTo>
                    <a:pt x="1063" y="251"/>
                  </a:lnTo>
                  <a:lnTo>
                    <a:pt x="1047" y="276"/>
                  </a:lnTo>
                  <a:lnTo>
                    <a:pt x="1007" y="316"/>
                  </a:lnTo>
                  <a:lnTo>
                    <a:pt x="1002" y="334"/>
                  </a:lnTo>
                  <a:lnTo>
                    <a:pt x="1012" y="362"/>
                  </a:lnTo>
                  <a:lnTo>
                    <a:pt x="1014" y="380"/>
                  </a:lnTo>
                  <a:lnTo>
                    <a:pt x="1000" y="396"/>
                  </a:lnTo>
                  <a:lnTo>
                    <a:pt x="978" y="408"/>
                  </a:lnTo>
                  <a:lnTo>
                    <a:pt x="902" y="399"/>
                  </a:lnTo>
                  <a:lnTo>
                    <a:pt x="888" y="406"/>
                  </a:lnTo>
                  <a:lnTo>
                    <a:pt x="918" y="450"/>
                  </a:lnTo>
                  <a:lnTo>
                    <a:pt x="924" y="466"/>
                  </a:lnTo>
                  <a:lnTo>
                    <a:pt x="929" y="493"/>
                  </a:lnTo>
                  <a:lnTo>
                    <a:pt x="920" y="507"/>
                  </a:lnTo>
                  <a:lnTo>
                    <a:pt x="905" y="514"/>
                  </a:lnTo>
                  <a:lnTo>
                    <a:pt x="883" y="516"/>
                  </a:lnTo>
                  <a:lnTo>
                    <a:pt x="865" y="523"/>
                  </a:lnTo>
                  <a:lnTo>
                    <a:pt x="852" y="535"/>
                  </a:lnTo>
                  <a:lnTo>
                    <a:pt x="842" y="562"/>
                  </a:lnTo>
                  <a:lnTo>
                    <a:pt x="830" y="609"/>
                  </a:lnTo>
                  <a:lnTo>
                    <a:pt x="823" y="680"/>
                  </a:lnTo>
                  <a:lnTo>
                    <a:pt x="822" y="685"/>
                  </a:lnTo>
                  <a:lnTo>
                    <a:pt x="807" y="708"/>
                  </a:lnTo>
                  <a:lnTo>
                    <a:pt x="797" y="712"/>
                  </a:lnTo>
                  <a:lnTo>
                    <a:pt x="753" y="690"/>
                  </a:lnTo>
                  <a:lnTo>
                    <a:pt x="728" y="689"/>
                  </a:lnTo>
                  <a:lnTo>
                    <a:pt x="704" y="703"/>
                  </a:lnTo>
                  <a:lnTo>
                    <a:pt x="687" y="719"/>
                  </a:lnTo>
                  <a:lnTo>
                    <a:pt x="672" y="759"/>
                  </a:lnTo>
                  <a:lnTo>
                    <a:pt x="662" y="764"/>
                  </a:lnTo>
                  <a:lnTo>
                    <a:pt x="638" y="759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318" name="Freeform 207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3212" y="2180"/>
              <a:ext cx="63" cy="79"/>
            </a:xfrm>
            <a:custGeom>
              <a:avLst/>
              <a:gdLst>
                <a:gd name="T0" fmla="*/ 68 w 427"/>
                <a:gd name="T1" fmla="*/ 98 h 533"/>
                <a:gd name="T2" fmla="*/ 67 w 427"/>
                <a:gd name="T3" fmla="*/ 114 h 533"/>
                <a:gd name="T4" fmla="*/ 64 w 427"/>
                <a:gd name="T5" fmla="*/ 125 h 533"/>
                <a:gd name="T6" fmla="*/ 59 w 427"/>
                <a:gd name="T7" fmla="*/ 218 h 533"/>
                <a:gd name="T8" fmla="*/ 53 w 427"/>
                <a:gd name="T9" fmla="*/ 234 h 533"/>
                <a:gd name="T10" fmla="*/ 53 w 427"/>
                <a:gd name="T11" fmla="*/ 257 h 533"/>
                <a:gd name="T12" fmla="*/ 18 w 427"/>
                <a:gd name="T13" fmla="*/ 373 h 533"/>
                <a:gd name="T14" fmla="*/ 18 w 427"/>
                <a:gd name="T15" fmla="*/ 420 h 533"/>
                <a:gd name="T16" fmla="*/ 6 w 427"/>
                <a:gd name="T17" fmla="*/ 473 h 533"/>
                <a:gd name="T18" fmla="*/ 0 w 427"/>
                <a:gd name="T19" fmla="*/ 484 h 533"/>
                <a:gd name="T20" fmla="*/ 8 w 427"/>
                <a:gd name="T21" fmla="*/ 489 h 533"/>
                <a:gd name="T22" fmla="*/ 12 w 427"/>
                <a:gd name="T23" fmla="*/ 498 h 533"/>
                <a:gd name="T24" fmla="*/ 8 w 427"/>
                <a:gd name="T25" fmla="*/ 516 h 533"/>
                <a:gd name="T26" fmla="*/ 108 w 427"/>
                <a:gd name="T27" fmla="*/ 533 h 533"/>
                <a:gd name="T28" fmla="*/ 151 w 427"/>
                <a:gd name="T29" fmla="*/ 489 h 533"/>
                <a:gd name="T30" fmla="*/ 170 w 427"/>
                <a:gd name="T31" fmla="*/ 454 h 533"/>
                <a:gd name="T32" fmla="*/ 237 w 427"/>
                <a:gd name="T33" fmla="*/ 431 h 533"/>
                <a:gd name="T34" fmla="*/ 290 w 427"/>
                <a:gd name="T35" fmla="*/ 368 h 533"/>
                <a:gd name="T36" fmla="*/ 208 w 427"/>
                <a:gd name="T37" fmla="*/ 240 h 533"/>
                <a:gd name="T38" fmla="*/ 237 w 427"/>
                <a:gd name="T39" fmla="*/ 225 h 533"/>
                <a:gd name="T40" fmla="*/ 395 w 427"/>
                <a:gd name="T41" fmla="*/ 174 h 533"/>
                <a:gd name="T42" fmla="*/ 406 w 427"/>
                <a:gd name="T43" fmla="*/ 165 h 533"/>
                <a:gd name="T44" fmla="*/ 427 w 427"/>
                <a:gd name="T45" fmla="*/ 139 h 533"/>
                <a:gd name="T46" fmla="*/ 423 w 427"/>
                <a:gd name="T47" fmla="*/ 135 h 533"/>
                <a:gd name="T48" fmla="*/ 371 w 427"/>
                <a:gd name="T49" fmla="*/ 0 h 533"/>
                <a:gd name="T50" fmla="*/ 182 w 427"/>
                <a:gd name="T51" fmla="*/ 134 h 533"/>
                <a:gd name="T52" fmla="*/ 170 w 427"/>
                <a:gd name="T53" fmla="*/ 134 h 533"/>
                <a:gd name="T54" fmla="*/ 155 w 427"/>
                <a:gd name="T55" fmla="*/ 125 h 533"/>
                <a:gd name="T56" fmla="*/ 71 w 427"/>
                <a:gd name="T57" fmla="*/ 63 h 533"/>
                <a:gd name="T58" fmla="*/ 67 w 427"/>
                <a:gd name="T59" fmla="*/ 67 h 533"/>
                <a:gd name="T60" fmla="*/ 65 w 427"/>
                <a:gd name="T61" fmla="*/ 74 h 533"/>
                <a:gd name="T62" fmla="*/ 68 w 427"/>
                <a:gd name="T63" fmla="*/ 98 h 53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27"/>
                <a:gd name="T97" fmla="*/ 0 h 533"/>
                <a:gd name="T98" fmla="*/ 427 w 427"/>
                <a:gd name="T99" fmla="*/ 533 h 533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27" h="533">
                  <a:moveTo>
                    <a:pt x="68" y="98"/>
                  </a:moveTo>
                  <a:lnTo>
                    <a:pt x="67" y="114"/>
                  </a:lnTo>
                  <a:lnTo>
                    <a:pt x="64" y="125"/>
                  </a:lnTo>
                  <a:lnTo>
                    <a:pt x="59" y="218"/>
                  </a:lnTo>
                  <a:lnTo>
                    <a:pt x="53" y="234"/>
                  </a:lnTo>
                  <a:lnTo>
                    <a:pt x="53" y="257"/>
                  </a:lnTo>
                  <a:lnTo>
                    <a:pt x="18" y="373"/>
                  </a:lnTo>
                  <a:lnTo>
                    <a:pt x="18" y="420"/>
                  </a:lnTo>
                  <a:lnTo>
                    <a:pt x="6" y="473"/>
                  </a:lnTo>
                  <a:lnTo>
                    <a:pt x="0" y="484"/>
                  </a:lnTo>
                  <a:lnTo>
                    <a:pt x="8" y="489"/>
                  </a:lnTo>
                  <a:lnTo>
                    <a:pt x="12" y="498"/>
                  </a:lnTo>
                  <a:lnTo>
                    <a:pt x="8" y="516"/>
                  </a:lnTo>
                  <a:lnTo>
                    <a:pt x="108" y="533"/>
                  </a:lnTo>
                  <a:lnTo>
                    <a:pt x="151" y="489"/>
                  </a:lnTo>
                  <a:lnTo>
                    <a:pt x="170" y="454"/>
                  </a:lnTo>
                  <a:lnTo>
                    <a:pt x="237" y="431"/>
                  </a:lnTo>
                  <a:lnTo>
                    <a:pt x="290" y="368"/>
                  </a:lnTo>
                  <a:lnTo>
                    <a:pt x="208" y="240"/>
                  </a:lnTo>
                  <a:lnTo>
                    <a:pt x="237" y="225"/>
                  </a:lnTo>
                  <a:lnTo>
                    <a:pt x="395" y="174"/>
                  </a:lnTo>
                  <a:lnTo>
                    <a:pt x="406" y="165"/>
                  </a:lnTo>
                  <a:lnTo>
                    <a:pt x="427" y="139"/>
                  </a:lnTo>
                  <a:lnTo>
                    <a:pt x="423" y="135"/>
                  </a:lnTo>
                  <a:lnTo>
                    <a:pt x="371" y="0"/>
                  </a:lnTo>
                  <a:lnTo>
                    <a:pt x="182" y="134"/>
                  </a:lnTo>
                  <a:lnTo>
                    <a:pt x="170" y="134"/>
                  </a:lnTo>
                  <a:lnTo>
                    <a:pt x="155" y="125"/>
                  </a:lnTo>
                  <a:lnTo>
                    <a:pt x="71" y="63"/>
                  </a:lnTo>
                  <a:lnTo>
                    <a:pt x="67" y="67"/>
                  </a:lnTo>
                  <a:lnTo>
                    <a:pt x="65" y="74"/>
                  </a:lnTo>
                  <a:lnTo>
                    <a:pt x="68" y="98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319" name="Freeform 208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3199" y="2181"/>
              <a:ext cx="23" cy="70"/>
            </a:xfrm>
            <a:custGeom>
              <a:avLst/>
              <a:gdLst>
                <a:gd name="T0" fmla="*/ 141 w 153"/>
                <a:gd name="T1" fmla="*/ 21 h 477"/>
                <a:gd name="T2" fmla="*/ 134 w 153"/>
                <a:gd name="T3" fmla="*/ 2 h 477"/>
                <a:gd name="T4" fmla="*/ 131 w 153"/>
                <a:gd name="T5" fmla="*/ 0 h 477"/>
                <a:gd name="T6" fmla="*/ 126 w 153"/>
                <a:gd name="T7" fmla="*/ 2 h 477"/>
                <a:gd name="T8" fmla="*/ 123 w 153"/>
                <a:gd name="T9" fmla="*/ 14 h 477"/>
                <a:gd name="T10" fmla="*/ 123 w 153"/>
                <a:gd name="T11" fmla="*/ 23 h 477"/>
                <a:gd name="T12" fmla="*/ 107 w 153"/>
                <a:gd name="T13" fmla="*/ 28 h 477"/>
                <a:gd name="T14" fmla="*/ 104 w 153"/>
                <a:gd name="T15" fmla="*/ 21 h 477"/>
                <a:gd name="T16" fmla="*/ 98 w 153"/>
                <a:gd name="T17" fmla="*/ 19 h 477"/>
                <a:gd name="T18" fmla="*/ 82 w 153"/>
                <a:gd name="T19" fmla="*/ 23 h 477"/>
                <a:gd name="T20" fmla="*/ 80 w 153"/>
                <a:gd name="T21" fmla="*/ 53 h 477"/>
                <a:gd name="T22" fmla="*/ 73 w 153"/>
                <a:gd name="T23" fmla="*/ 60 h 477"/>
                <a:gd name="T24" fmla="*/ 68 w 153"/>
                <a:gd name="T25" fmla="*/ 58 h 477"/>
                <a:gd name="T26" fmla="*/ 45 w 153"/>
                <a:gd name="T27" fmla="*/ 169 h 477"/>
                <a:gd name="T28" fmla="*/ 35 w 153"/>
                <a:gd name="T29" fmla="*/ 194 h 477"/>
                <a:gd name="T30" fmla="*/ 4 w 153"/>
                <a:gd name="T31" fmla="*/ 243 h 477"/>
                <a:gd name="T32" fmla="*/ 0 w 153"/>
                <a:gd name="T33" fmla="*/ 247 h 477"/>
                <a:gd name="T34" fmla="*/ 77 w 153"/>
                <a:gd name="T35" fmla="*/ 477 h 477"/>
                <a:gd name="T36" fmla="*/ 82 w 153"/>
                <a:gd name="T37" fmla="*/ 472 h 477"/>
                <a:gd name="T38" fmla="*/ 88 w 153"/>
                <a:gd name="T39" fmla="*/ 461 h 477"/>
                <a:gd name="T40" fmla="*/ 100 w 153"/>
                <a:gd name="T41" fmla="*/ 408 h 477"/>
                <a:gd name="T42" fmla="*/ 100 w 153"/>
                <a:gd name="T43" fmla="*/ 361 h 477"/>
                <a:gd name="T44" fmla="*/ 135 w 153"/>
                <a:gd name="T45" fmla="*/ 245 h 477"/>
                <a:gd name="T46" fmla="*/ 135 w 153"/>
                <a:gd name="T47" fmla="*/ 222 h 477"/>
                <a:gd name="T48" fmla="*/ 141 w 153"/>
                <a:gd name="T49" fmla="*/ 206 h 477"/>
                <a:gd name="T50" fmla="*/ 146 w 153"/>
                <a:gd name="T51" fmla="*/ 113 h 477"/>
                <a:gd name="T52" fmla="*/ 149 w 153"/>
                <a:gd name="T53" fmla="*/ 102 h 477"/>
                <a:gd name="T54" fmla="*/ 150 w 153"/>
                <a:gd name="T55" fmla="*/ 86 h 477"/>
                <a:gd name="T56" fmla="*/ 147 w 153"/>
                <a:gd name="T57" fmla="*/ 62 h 477"/>
                <a:gd name="T58" fmla="*/ 149 w 153"/>
                <a:gd name="T59" fmla="*/ 55 h 477"/>
                <a:gd name="T60" fmla="*/ 153 w 153"/>
                <a:gd name="T61" fmla="*/ 51 h 477"/>
                <a:gd name="T62" fmla="*/ 149 w 153"/>
                <a:gd name="T63" fmla="*/ 48 h 477"/>
                <a:gd name="T64" fmla="*/ 151 w 153"/>
                <a:gd name="T65" fmla="*/ 39 h 477"/>
                <a:gd name="T66" fmla="*/ 150 w 153"/>
                <a:gd name="T67" fmla="*/ 28 h 477"/>
                <a:gd name="T68" fmla="*/ 141 w 153"/>
                <a:gd name="T69" fmla="*/ 21 h 47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53"/>
                <a:gd name="T106" fmla="*/ 0 h 477"/>
                <a:gd name="T107" fmla="*/ 153 w 153"/>
                <a:gd name="T108" fmla="*/ 477 h 477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53" h="477">
                  <a:moveTo>
                    <a:pt x="141" y="21"/>
                  </a:moveTo>
                  <a:lnTo>
                    <a:pt x="134" y="2"/>
                  </a:lnTo>
                  <a:lnTo>
                    <a:pt x="131" y="0"/>
                  </a:lnTo>
                  <a:lnTo>
                    <a:pt x="126" y="2"/>
                  </a:lnTo>
                  <a:lnTo>
                    <a:pt x="123" y="14"/>
                  </a:lnTo>
                  <a:lnTo>
                    <a:pt x="123" y="23"/>
                  </a:lnTo>
                  <a:lnTo>
                    <a:pt x="107" y="28"/>
                  </a:lnTo>
                  <a:lnTo>
                    <a:pt x="104" y="21"/>
                  </a:lnTo>
                  <a:lnTo>
                    <a:pt x="98" y="19"/>
                  </a:lnTo>
                  <a:lnTo>
                    <a:pt x="82" y="23"/>
                  </a:lnTo>
                  <a:lnTo>
                    <a:pt x="80" y="53"/>
                  </a:lnTo>
                  <a:lnTo>
                    <a:pt x="73" y="60"/>
                  </a:lnTo>
                  <a:lnTo>
                    <a:pt x="68" y="58"/>
                  </a:lnTo>
                  <a:lnTo>
                    <a:pt x="45" y="169"/>
                  </a:lnTo>
                  <a:lnTo>
                    <a:pt x="35" y="194"/>
                  </a:lnTo>
                  <a:lnTo>
                    <a:pt x="4" y="243"/>
                  </a:lnTo>
                  <a:lnTo>
                    <a:pt x="0" y="247"/>
                  </a:lnTo>
                  <a:lnTo>
                    <a:pt x="77" y="477"/>
                  </a:lnTo>
                  <a:lnTo>
                    <a:pt x="82" y="472"/>
                  </a:lnTo>
                  <a:lnTo>
                    <a:pt x="88" y="461"/>
                  </a:lnTo>
                  <a:lnTo>
                    <a:pt x="100" y="408"/>
                  </a:lnTo>
                  <a:lnTo>
                    <a:pt x="100" y="361"/>
                  </a:lnTo>
                  <a:lnTo>
                    <a:pt x="135" y="245"/>
                  </a:lnTo>
                  <a:lnTo>
                    <a:pt x="135" y="222"/>
                  </a:lnTo>
                  <a:lnTo>
                    <a:pt x="141" y="206"/>
                  </a:lnTo>
                  <a:lnTo>
                    <a:pt x="146" y="113"/>
                  </a:lnTo>
                  <a:lnTo>
                    <a:pt x="149" y="102"/>
                  </a:lnTo>
                  <a:lnTo>
                    <a:pt x="150" y="86"/>
                  </a:lnTo>
                  <a:lnTo>
                    <a:pt x="147" y="62"/>
                  </a:lnTo>
                  <a:lnTo>
                    <a:pt x="149" y="55"/>
                  </a:lnTo>
                  <a:lnTo>
                    <a:pt x="153" y="51"/>
                  </a:lnTo>
                  <a:lnTo>
                    <a:pt x="149" y="48"/>
                  </a:lnTo>
                  <a:lnTo>
                    <a:pt x="151" y="39"/>
                  </a:lnTo>
                  <a:lnTo>
                    <a:pt x="150" y="28"/>
                  </a:lnTo>
                  <a:lnTo>
                    <a:pt x="141" y="21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320" name="Freeform 209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3198" y="2205"/>
              <a:ext cx="313" cy="315"/>
            </a:xfrm>
            <a:custGeom>
              <a:avLst/>
              <a:gdLst>
                <a:gd name="T0" fmla="*/ 450 w 2085"/>
                <a:gd name="T1" fmla="*/ 4 h 2116"/>
                <a:gd name="T2" fmla="*/ 427 w 2085"/>
                <a:gd name="T3" fmla="*/ 26 h 2116"/>
                <a:gd name="T4" fmla="*/ 258 w 2085"/>
                <a:gd name="T5" fmla="*/ 86 h 2116"/>
                <a:gd name="T6" fmla="*/ 311 w 2085"/>
                <a:gd name="T7" fmla="*/ 229 h 2116"/>
                <a:gd name="T8" fmla="*/ 191 w 2085"/>
                <a:gd name="T9" fmla="*/ 315 h 2116"/>
                <a:gd name="T10" fmla="*/ 129 w 2085"/>
                <a:gd name="T11" fmla="*/ 394 h 2116"/>
                <a:gd name="T12" fmla="*/ 12 w 2085"/>
                <a:gd name="T13" fmla="*/ 484 h 2116"/>
                <a:gd name="T14" fmla="*/ 0 w 2085"/>
                <a:gd name="T15" fmla="*/ 518 h 2116"/>
                <a:gd name="T16" fmla="*/ 34 w 2085"/>
                <a:gd name="T17" fmla="*/ 521 h 2116"/>
                <a:gd name="T18" fmla="*/ 81 w 2085"/>
                <a:gd name="T19" fmla="*/ 592 h 2116"/>
                <a:gd name="T20" fmla="*/ 220 w 2085"/>
                <a:gd name="T21" fmla="*/ 839 h 2116"/>
                <a:gd name="T22" fmla="*/ 245 w 2085"/>
                <a:gd name="T23" fmla="*/ 910 h 2116"/>
                <a:gd name="T24" fmla="*/ 260 w 2085"/>
                <a:gd name="T25" fmla="*/ 981 h 2116"/>
                <a:gd name="T26" fmla="*/ 295 w 2085"/>
                <a:gd name="T27" fmla="*/ 1004 h 2116"/>
                <a:gd name="T28" fmla="*/ 350 w 2085"/>
                <a:gd name="T29" fmla="*/ 1051 h 2116"/>
                <a:gd name="T30" fmla="*/ 421 w 2085"/>
                <a:gd name="T31" fmla="*/ 1207 h 2116"/>
                <a:gd name="T32" fmla="*/ 432 w 2085"/>
                <a:gd name="T33" fmla="*/ 1373 h 2116"/>
                <a:gd name="T34" fmla="*/ 581 w 2085"/>
                <a:gd name="T35" fmla="*/ 1537 h 2116"/>
                <a:gd name="T36" fmla="*/ 673 w 2085"/>
                <a:gd name="T37" fmla="*/ 1758 h 2116"/>
                <a:gd name="T38" fmla="*/ 762 w 2085"/>
                <a:gd name="T39" fmla="*/ 1874 h 2116"/>
                <a:gd name="T40" fmla="*/ 790 w 2085"/>
                <a:gd name="T41" fmla="*/ 1964 h 2116"/>
                <a:gd name="T42" fmla="*/ 826 w 2085"/>
                <a:gd name="T43" fmla="*/ 1904 h 2116"/>
                <a:gd name="T44" fmla="*/ 829 w 2085"/>
                <a:gd name="T45" fmla="*/ 1841 h 2116"/>
                <a:gd name="T46" fmla="*/ 846 w 2085"/>
                <a:gd name="T47" fmla="*/ 1825 h 2116"/>
                <a:gd name="T48" fmla="*/ 948 w 2085"/>
                <a:gd name="T49" fmla="*/ 1837 h 2116"/>
                <a:gd name="T50" fmla="*/ 1232 w 2085"/>
                <a:gd name="T51" fmla="*/ 1850 h 2116"/>
                <a:gd name="T52" fmla="*/ 1251 w 2085"/>
                <a:gd name="T53" fmla="*/ 1822 h 2116"/>
                <a:gd name="T54" fmla="*/ 1664 w 2085"/>
                <a:gd name="T55" fmla="*/ 1649 h 2116"/>
                <a:gd name="T56" fmla="*/ 2078 w 2085"/>
                <a:gd name="T57" fmla="*/ 1290 h 2116"/>
                <a:gd name="T58" fmla="*/ 2045 w 2085"/>
                <a:gd name="T59" fmla="*/ 1242 h 2116"/>
                <a:gd name="T60" fmla="*/ 1685 w 2085"/>
                <a:gd name="T61" fmla="*/ 1217 h 2116"/>
                <a:gd name="T62" fmla="*/ 1604 w 2085"/>
                <a:gd name="T63" fmla="*/ 981 h 2116"/>
                <a:gd name="T64" fmla="*/ 1583 w 2085"/>
                <a:gd name="T65" fmla="*/ 977 h 2116"/>
                <a:gd name="T66" fmla="*/ 1562 w 2085"/>
                <a:gd name="T67" fmla="*/ 962 h 2116"/>
                <a:gd name="T68" fmla="*/ 1555 w 2085"/>
                <a:gd name="T69" fmla="*/ 923 h 2116"/>
                <a:gd name="T70" fmla="*/ 1532 w 2085"/>
                <a:gd name="T71" fmla="*/ 848 h 2116"/>
                <a:gd name="T72" fmla="*/ 1508 w 2085"/>
                <a:gd name="T73" fmla="*/ 839 h 2116"/>
                <a:gd name="T74" fmla="*/ 1487 w 2085"/>
                <a:gd name="T75" fmla="*/ 786 h 2116"/>
                <a:gd name="T76" fmla="*/ 1501 w 2085"/>
                <a:gd name="T77" fmla="*/ 742 h 2116"/>
                <a:gd name="T78" fmla="*/ 1493 w 2085"/>
                <a:gd name="T79" fmla="*/ 707 h 2116"/>
                <a:gd name="T80" fmla="*/ 1506 w 2085"/>
                <a:gd name="T81" fmla="*/ 689 h 2116"/>
                <a:gd name="T82" fmla="*/ 1448 w 2085"/>
                <a:gd name="T83" fmla="*/ 655 h 2116"/>
                <a:gd name="T84" fmla="*/ 1427 w 2085"/>
                <a:gd name="T85" fmla="*/ 636 h 2116"/>
                <a:gd name="T86" fmla="*/ 1410 w 2085"/>
                <a:gd name="T87" fmla="*/ 610 h 2116"/>
                <a:gd name="T88" fmla="*/ 1408 w 2085"/>
                <a:gd name="T89" fmla="*/ 588 h 2116"/>
                <a:gd name="T90" fmla="*/ 1378 w 2085"/>
                <a:gd name="T91" fmla="*/ 583 h 2116"/>
                <a:gd name="T92" fmla="*/ 1355 w 2085"/>
                <a:gd name="T93" fmla="*/ 518 h 2116"/>
                <a:gd name="T94" fmla="*/ 1341 w 2085"/>
                <a:gd name="T95" fmla="*/ 474 h 2116"/>
                <a:gd name="T96" fmla="*/ 1266 w 2085"/>
                <a:gd name="T97" fmla="*/ 474 h 2116"/>
                <a:gd name="T98" fmla="*/ 1242 w 2085"/>
                <a:gd name="T99" fmla="*/ 424 h 2116"/>
                <a:gd name="T100" fmla="*/ 1152 w 2085"/>
                <a:gd name="T101" fmla="*/ 407 h 2116"/>
                <a:gd name="T102" fmla="*/ 904 w 2085"/>
                <a:gd name="T103" fmla="*/ 359 h 2116"/>
                <a:gd name="T104" fmla="*/ 863 w 2085"/>
                <a:gd name="T105" fmla="*/ 329 h 2116"/>
                <a:gd name="T106" fmla="*/ 866 w 2085"/>
                <a:gd name="T107" fmla="*/ 260 h 2116"/>
                <a:gd name="T108" fmla="*/ 817 w 2085"/>
                <a:gd name="T109" fmla="*/ 241 h 2116"/>
                <a:gd name="T110" fmla="*/ 793 w 2085"/>
                <a:gd name="T111" fmla="*/ 200 h 211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085"/>
                <a:gd name="T169" fmla="*/ 0 h 2116"/>
                <a:gd name="T170" fmla="*/ 2085 w 2085"/>
                <a:gd name="T171" fmla="*/ 2116 h 211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085" h="2116">
                  <a:moveTo>
                    <a:pt x="783" y="190"/>
                  </a:moveTo>
                  <a:lnTo>
                    <a:pt x="450" y="4"/>
                  </a:lnTo>
                  <a:lnTo>
                    <a:pt x="448" y="0"/>
                  </a:lnTo>
                  <a:lnTo>
                    <a:pt x="427" y="26"/>
                  </a:lnTo>
                  <a:lnTo>
                    <a:pt x="416" y="35"/>
                  </a:lnTo>
                  <a:lnTo>
                    <a:pt x="258" y="86"/>
                  </a:lnTo>
                  <a:lnTo>
                    <a:pt x="229" y="101"/>
                  </a:lnTo>
                  <a:lnTo>
                    <a:pt x="311" y="229"/>
                  </a:lnTo>
                  <a:lnTo>
                    <a:pt x="258" y="292"/>
                  </a:lnTo>
                  <a:lnTo>
                    <a:pt x="191" y="315"/>
                  </a:lnTo>
                  <a:lnTo>
                    <a:pt x="172" y="350"/>
                  </a:lnTo>
                  <a:lnTo>
                    <a:pt x="129" y="394"/>
                  </a:lnTo>
                  <a:lnTo>
                    <a:pt x="29" y="377"/>
                  </a:lnTo>
                  <a:lnTo>
                    <a:pt x="12" y="484"/>
                  </a:lnTo>
                  <a:lnTo>
                    <a:pt x="3" y="500"/>
                  </a:lnTo>
                  <a:lnTo>
                    <a:pt x="0" y="518"/>
                  </a:lnTo>
                  <a:lnTo>
                    <a:pt x="11" y="518"/>
                  </a:lnTo>
                  <a:lnTo>
                    <a:pt x="34" y="521"/>
                  </a:lnTo>
                  <a:lnTo>
                    <a:pt x="65" y="564"/>
                  </a:lnTo>
                  <a:lnTo>
                    <a:pt x="81" y="592"/>
                  </a:lnTo>
                  <a:lnTo>
                    <a:pt x="104" y="645"/>
                  </a:lnTo>
                  <a:lnTo>
                    <a:pt x="220" y="839"/>
                  </a:lnTo>
                  <a:lnTo>
                    <a:pt x="240" y="885"/>
                  </a:lnTo>
                  <a:lnTo>
                    <a:pt x="245" y="910"/>
                  </a:lnTo>
                  <a:lnTo>
                    <a:pt x="239" y="949"/>
                  </a:lnTo>
                  <a:lnTo>
                    <a:pt x="260" y="981"/>
                  </a:lnTo>
                  <a:lnTo>
                    <a:pt x="274" y="997"/>
                  </a:lnTo>
                  <a:lnTo>
                    <a:pt x="295" y="1004"/>
                  </a:lnTo>
                  <a:lnTo>
                    <a:pt x="315" y="1016"/>
                  </a:lnTo>
                  <a:lnTo>
                    <a:pt x="350" y="1051"/>
                  </a:lnTo>
                  <a:lnTo>
                    <a:pt x="364" y="1078"/>
                  </a:lnTo>
                  <a:lnTo>
                    <a:pt x="421" y="1207"/>
                  </a:lnTo>
                  <a:lnTo>
                    <a:pt x="425" y="1228"/>
                  </a:lnTo>
                  <a:lnTo>
                    <a:pt x="432" y="1373"/>
                  </a:lnTo>
                  <a:lnTo>
                    <a:pt x="491" y="1471"/>
                  </a:lnTo>
                  <a:lnTo>
                    <a:pt x="581" y="1537"/>
                  </a:lnTo>
                  <a:lnTo>
                    <a:pt x="593" y="1558"/>
                  </a:lnTo>
                  <a:lnTo>
                    <a:pt x="673" y="1758"/>
                  </a:lnTo>
                  <a:lnTo>
                    <a:pt x="710" y="1795"/>
                  </a:lnTo>
                  <a:lnTo>
                    <a:pt x="762" y="1874"/>
                  </a:lnTo>
                  <a:lnTo>
                    <a:pt x="784" y="1926"/>
                  </a:lnTo>
                  <a:lnTo>
                    <a:pt x="790" y="1964"/>
                  </a:lnTo>
                  <a:lnTo>
                    <a:pt x="821" y="1934"/>
                  </a:lnTo>
                  <a:lnTo>
                    <a:pt x="826" y="1904"/>
                  </a:lnTo>
                  <a:lnTo>
                    <a:pt x="825" y="1867"/>
                  </a:lnTo>
                  <a:lnTo>
                    <a:pt x="829" y="1841"/>
                  </a:lnTo>
                  <a:lnTo>
                    <a:pt x="837" y="1830"/>
                  </a:lnTo>
                  <a:lnTo>
                    <a:pt x="846" y="1825"/>
                  </a:lnTo>
                  <a:lnTo>
                    <a:pt x="895" y="1839"/>
                  </a:lnTo>
                  <a:lnTo>
                    <a:pt x="948" y="1837"/>
                  </a:lnTo>
                  <a:lnTo>
                    <a:pt x="1059" y="2116"/>
                  </a:lnTo>
                  <a:lnTo>
                    <a:pt x="1232" y="1850"/>
                  </a:lnTo>
                  <a:lnTo>
                    <a:pt x="1250" y="1829"/>
                  </a:lnTo>
                  <a:lnTo>
                    <a:pt x="1251" y="1822"/>
                  </a:lnTo>
                  <a:lnTo>
                    <a:pt x="1272" y="1809"/>
                  </a:lnTo>
                  <a:lnTo>
                    <a:pt x="1664" y="1649"/>
                  </a:lnTo>
                  <a:lnTo>
                    <a:pt x="2085" y="1369"/>
                  </a:lnTo>
                  <a:lnTo>
                    <a:pt x="2078" y="1290"/>
                  </a:lnTo>
                  <a:lnTo>
                    <a:pt x="2052" y="1238"/>
                  </a:lnTo>
                  <a:lnTo>
                    <a:pt x="2045" y="1242"/>
                  </a:lnTo>
                  <a:lnTo>
                    <a:pt x="2020" y="1268"/>
                  </a:lnTo>
                  <a:lnTo>
                    <a:pt x="1685" y="1217"/>
                  </a:lnTo>
                  <a:lnTo>
                    <a:pt x="1673" y="1168"/>
                  </a:lnTo>
                  <a:lnTo>
                    <a:pt x="1604" y="981"/>
                  </a:lnTo>
                  <a:lnTo>
                    <a:pt x="1590" y="976"/>
                  </a:lnTo>
                  <a:lnTo>
                    <a:pt x="1583" y="977"/>
                  </a:lnTo>
                  <a:lnTo>
                    <a:pt x="1570" y="972"/>
                  </a:lnTo>
                  <a:lnTo>
                    <a:pt x="1562" y="962"/>
                  </a:lnTo>
                  <a:lnTo>
                    <a:pt x="1554" y="946"/>
                  </a:lnTo>
                  <a:lnTo>
                    <a:pt x="1555" y="923"/>
                  </a:lnTo>
                  <a:lnTo>
                    <a:pt x="1536" y="883"/>
                  </a:lnTo>
                  <a:lnTo>
                    <a:pt x="1532" y="848"/>
                  </a:lnTo>
                  <a:lnTo>
                    <a:pt x="1516" y="832"/>
                  </a:lnTo>
                  <a:lnTo>
                    <a:pt x="1508" y="839"/>
                  </a:lnTo>
                  <a:lnTo>
                    <a:pt x="1495" y="802"/>
                  </a:lnTo>
                  <a:lnTo>
                    <a:pt x="1487" y="786"/>
                  </a:lnTo>
                  <a:lnTo>
                    <a:pt x="1493" y="775"/>
                  </a:lnTo>
                  <a:lnTo>
                    <a:pt x="1501" y="742"/>
                  </a:lnTo>
                  <a:lnTo>
                    <a:pt x="1487" y="721"/>
                  </a:lnTo>
                  <a:lnTo>
                    <a:pt x="1493" y="707"/>
                  </a:lnTo>
                  <a:lnTo>
                    <a:pt x="1504" y="705"/>
                  </a:lnTo>
                  <a:lnTo>
                    <a:pt x="1506" y="689"/>
                  </a:lnTo>
                  <a:lnTo>
                    <a:pt x="1487" y="664"/>
                  </a:lnTo>
                  <a:lnTo>
                    <a:pt x="1448" y="655"/>
                  </a:lnTo>
                  <a:lnTo>
                    <a:pt x="1438" y="640"/>
                  </a:lnTo>
                  <a:lnTo>
                    <a:pt x="1427" y="636"/>
                  </a:lnTo>
                  <a:lnTo>
                    <a:pt x="1419" y="620"/>
                  </a:lnTo>
                  <a:lnTo>
                    <a:pt x="1410" y="610"/>
                  </a:lnTo>
                  <a:lnTo>
                    <a:pt x="1420" y="595"/>
                  </a:lnTo>
                  <a:lnTo>
                    <a:pt x="1408" y="588"/>
                  </a:lnTo>
                  <a:lnTo>
                    <a:pt x="1382" y="590"/>
                  </a:lnTo>
                  <a:lnTo>
                    <a:pt x="1378" y="583"/>
                  </a:lnTo>
                  <a:lnTo>
                    <a:pt x="1371" y="546"/>
                  </a:lnTo>
                  <a:lnTo>
                    <a:pt x="1355" y="518"/>
                  </a:lnTo>
                  <a:lnTo>
                    <a:pt x="1344" y="481"/>
                  </a:lnTo>
                  <a:lnTo>
                    <a:pt x="1341" y="474"/>
                  </a:lnTo>
                  <a:lnTo>
                    <a:pt x="1312" y="477"/>
                  </a:lnTo>
                  <a:lnTo>
                    <a:pt x="1266" y="474"/>
                  </a:lnTo>
                  <a:lnTo>
                    <a:pt x="1258" y="460"/>
                  </a:lnTo>
                  <a:lnTo>
                    <a:pt x="1242" y="424"/>
                  </a:lnTo>
                  <a:lnTo>
                    <a:pt x="1225" y="423"/>
                  </a:lnTo>
                  <a:lnTo>
                    <a:pt x="1152" y="407"/>
                  </a:lnTo>
                  <a:lnTo>
                    <a:pt x="973" y="400"/>
                  </a:lnTo>
                  <a:lnTo>
                    <a:pt x="904" y="359"/>
                  </a:lnTo>
                  <a:lnTo>
                    <a:pt x="869" y="343"/>
                  </a:lnTo>
                  <a:lnTo>
                    <a:pt x="863" y="329"/>
                  </a:lnTo>
                  <a:lnTo>
                    <a:pt x="862" y="283"/>
                  </a:lnTo>
                  <a:lnTo>
                    <a:pt x="866" y="260"/>
                  </a:lnTo>
                  <a:lnTo>
                    <a:pt x="859" y="239"/>
                  </a:lnTo>
                  <a:lnTo>
                    <a:pt x="817" y="241"/>
                  </a:lnTo>
                  <a:lnTo>
                    <a:pt x="810" y="237"/>
                  </a:lnTo>
                  <a:lnTo>
                    <a:pt x="793" y="200"/>
                  </a:lnTo>
                  <a:lnTo>
                    <a:pt x="783" y="190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321" name="Freeform 210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3327" y="2444"/>
              <a:ext cx="150" cy="112"/>
            </a:xfrm>
            <a:custGeom>
              <a:avLst/>
              <a:gdLst>
                <a:gd name="T0" fmla="*/ 900 w 1006"/>
                <a:gd name="T1" fmla="*/ 71 h 763"/>
                <a:gd name="T2" fmla="*/ 891 w 1006"/>
                <a:gd name="T3" fmla="*/ 37 h 763"/>
                <a:gd name="T4" fmla="*/ 887 w 1006"/>
                <a:gd name="T5" fmla="*/ 0 h 763"/>
                <a:gd name="T6" fmla="*/ 880 w 1006"/>
                <a:gd name="T7" fmla="*/ 6 h 763"/>
                <a:gd name="T8" fmla="*/ 488 w 1006"/>
                <a:gd name="T9" fmla="*/ 166 h 763"/>
                <a:gd name="T10" fmla="*/ 467 w 1006"/>
                <a:gd name="T11" fmla="*/ 179 h 763"/>
                <a:gd name="T12" fmla="*/ 466 w 1006"/>
                <a:gd name="T13" fmla="*/ 186 h 763"/>
                <a:gd name="T14" fmla="*/ 448 w 1006"/>
                <a:gd name="T15" fmla="*/ 207 h 763"/>
                <a:gd name="T16" fmla="*/ 275 w 1006"/>
                <a:gd name="T17" fmla="*/ 473 h 763"/>
                <a:gd name="T18" fmla="*/ 164 w 1006"/>
                <a:gd name="T19" fmla="*/ 194 h 763"/>
                <a:gd name="T20" fmla="*/ 111 w 1006"/>
                <a:gd name="T21" fmla="*/ 196 h 763"/>
                <a:gd name="T22" fmla="*/ 62 w 1006"/>
                <a:gd name="T23" fmla="*/ 182 h 763"/>
                <a:gd name="T24" fmla="*/ 53 w 1006"/>
                <a:gd name="T25" fmla="*/ 187 h 763"/>
                <a:gd name="T26" fmla="*/ 45 w 1006"/>
                <a:gd name="T27" fmla="*/ 198 h 763"/>
                <a:gd name="T28" fmla="*/ 41 w 1006"/>
                <a:gd name="T29" fmla="*/ 224 h 763"/>
                <a:gd name="T30" fmla="*/ 42 w 1006"/>
                <a:gd name="T31" fmla="*/ 261 h 763"/>
                <a:gd name="T32" fmla="*/ 37 w 1006"/>
                <a:gd name="T33" fmla="*/ 291 h 763"/>
                <a:gd name="T34" fmla="*/ 6 w 1006"/>
                <a:gd name="T35" fmla="*/ 321 h 763"/>
                <a:gd name="T36" fmla="*/ 12 w 1006"/>
                <a:gd name="T37" fmla="*/ 362 h 763"/>
                <a:gd name="T38" fmla="*/ 0 w 1006"/>
                <a:gd name="T39" fmla="*/ 399 h 763"/>
                <a:gd name="T40" fmla="*/ 4 w 1006"/>
                <a:gd name="T41" fmla="*/ 424 h 763"/>
                <a:gd name="T42" fmla="*/ 43 w 1006"/>
                <a:gd name="T43" fmla="*/ 590 h 763"/>
                <a:gd name="T44" fmla="*/ 58 w 1006"/>
                <a:gd name="T45" fmla="*/ 616 h 763"/>
                <a:gd name="T46" fmla="*/ 61 w 1006"/>
                <a:gd name="T47" fmla="*/ 649 h 763"/>
                <a:gd name="T48" fmla="*/ 54 w 1006"/>
                <a:gd name="T49" fmla="*/ 689 h 763"/>
                <a:gd name="T50" fmla="*/ 57 w 1006"/>
                <a:gd name="T51" fmla="*/ 703 h 763"/>
                <a:gd name="T52" fmla="*/ 71 w 1006"/>
                <a:gd name="T53" fmla="*/ 726 h 763"/>
                <a:gd name="T54" fmla="*/ 79 w 1006"/>
                <a:gd name="T55" fmla="*/ 735 h 763"/>
                <a:gd name="T56" fmla="*/ 106 w 1006"/>
                <a:gd name="T57" fmla="*/ 758 h 763"/>
                <a:gd name="T58" fmla="*/ 128 w 1006"/>
                <a:gd name="T59" fmla="*/ 763 h 763"/>
                <a:gd name="T60" fmla="*/ 165 w 1006"/>
                <a:gd name="T61" fmla="*/ 762 h 763"/>
                <a:gd name="T62" fmla="*/ 189 w 1006"/>
                <a:gd name="T63" fmla="*/ 739 h 763"/>
                <a:gd name="T64" fmla="*/ 198 w 1006"/>
                <a:gd name="T65" fmla="*/ 742 h 763"/>
                <a:gd name="T66" fmla="*/ 215 w 1006"/>
                <a:gd name="T67" fmla="*/ 739 h 763"/>
                <a:gd name="T68" fmla="*/ 239 w 1006"/>
                <a:gd name="T69" fmla="*/ 726 h 763"/>
                <a:gd name="T70" fmla="*/ 258 w 1006"/>
                <a:gd name="T71" fmla="*/ 709 h 763"/>
                <a:gd name="T72" fmla="*/ 270 w 1006"/>
                <a:gd name="T73" fmla="*/ 693 h 763"/>
                <a:gd name="T74" fmla="*/ 288 w 1006"/>
                <a:gd name="T75" fmla="*/ 677 h 763"/>
                <a:gd name="T76" fmla="*/ 300 w 1006"/>
                <a:gd name="T77" fmla="*/ 670 h 763"/>
                <a:gd name="T78" fmla="*/ 377 w 1006"/>
                <a:gd name="T79" fmla="*/ 670 h 763"/>
                <a:gd name="T80" fmla="*/ 409 w 1006"/>
                <a:gd name="T81" fmla="*/ 658 h 763"/>
                <a:gd name="T82" fmla="*/ 452 w 1006"/>
                <a:gd name="T83" fmla="*/ 637 h 763"/>
                <a:gd name="T84" fmla="*/ 517 w 1006"/>
                <a:gd name="T85" fmla="*/ 593 h 763"/>
                <a:gd name="T86" fmla="*/ 540 w 1006"/>
                <a:gd name="T87" fmla="*/ 590 h 763"/>
                <a:gd name="T88" fmla="*/ 566 w 1006"/>
                <a:gd name="T89" fmla="*/ 593 h 763"/>
                <a:gd name="T90" fmla="*/ 589 w 1006"/>
                <a:gd name="T91" fmla="*/ 588 h 763"/>
                <a:gd name="T92" fmla="*/ 609 w 1006"/>
                <a:gd name="T93" fmla="*/ 572 h 763"/>
                <a:gd name="T94" fmla="*/ 629 w 1006"/>
                <a:gd name="T95" fmla="*/ 538 h 763"/>
                <a:gd name="T96" fmla="*/ 646 w 1006"/>
                <a:gd name="T97" fmla="*/ 522 h 763"/>
                <a:gd name="T98" fmla="*/ 838 w 1006"/>
                <a:gd name="T99" fmla="*/ 450 h 763"/>
                <a:gd name="T100" fmla="*/ 901 w 1006"/>
                <a:gd name="T101" fmla="*/ 415 h 763"/>
                <a:gd name="T102" fmla="*/ 920 w 1006"/>
                <a:gd name="T103" fmla="*/ 397 h 763"/>
                <a:gd name="T104" fmla="*/ 922 w 1006"/>
                <a:gd name="T105" fmla="*/ 376 h 763"/>
                <a:gd name="T106" fmla="*/ 930 w 1006"/>
                <a:gd name="T107" fmla="*/ 348 h 763"/>
                <a:gd name="T108" fmla="*/ 940 w 1006"/>
                <a:gd name="T109" fmla="*/ 332 h 763"/>
                <a:gd name="T110" fmla="*/ 970 w 1006"/>
                <a:gd name="T111" fmla="*/ 302 h 763"/>
                <a:gd name="T112" fmla="*/ 994 w 1006"/>
                <a:gd name="T113" fmla="*/ 286 h 763"/>
                <a:gd name="T114" fmla="*/ 1006 w 1006"/>
                <a:gd name="T115" fmla="*/ 281 h 763"/>
                <a:gd name="T116" fmla="*/ 974 w 1006"/>
                <a:gd name="T117" fmla="*/ 228 h 763"/>
                <a:gd name="T118" fmla="*/ 974 w 1006"/>
                <a:gd name="T119" fmla="*/ 212 h 763"/>
                <a:gd name="T120" fmla="*/ 969 w 1006"/>
                <a:gd name="T121" fmla="*/ 198 h 763"/>
                <a:gd name="T122" fmla="*/ 900 w 1006"/>
                <a:gd name="T123" fmla="*/ 71 h 76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06"/>
                <a:gd name="T187" fmla="*/ 0 h 763"/>
                <a:gd name="T188" fmla="*/ 1006 w 1006"/>
                <a:gd name="T189" fmla="*/ 763 h 763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06" h="763">
                  <a:moveTo>
                    <a:pt x="900" y="71"/>
                  </a:moveTo>
                  <a:lnTo>
                    <a:pt x="891" y="37"/>
                  </a:lnTo>
                  <a:lnTo>
                    <a:pt x="887" y="0"/>
                  </a:lnTo>
                  <a:lnTo>
                    <a:pt x="880" y="6"/>
                  </a:lnTo>
                  <a:lnTo>
                    <a:pt x="488" y="166"/>
                  </a:lnTo>
                  <a:lnTo>
                    <a:pt x="467" y="179"/>
                  </a:lnTo>
                  <a:lnTo>
                    <a:pt x="466" y="186"/>
                  </a:lnTo>
                  <a:lnTo>
                    <a:pt x="448" y="207"/>
                  </a:lnTo>
                  <a:lnTo>
                    <a:pt x="275" y="473"/>
                  </a:lnTo>
                  <a:lnTo>
                    <a:pt x="164" y="194"/>
                  </a:lnTo>
                  <a:lnTo>
                    <a:pt x="111" y="196"/>
                  </a:lnTo>
                  <a:lnTo>
                    <a:pt x="62" y="182"/>
                  </a:lnTo>
                  <a:lnTo>
                    <a:pt x="53" y="187"/>
                  </a:lnTo>
                  <a:lnTo>
                    <a:pt x="45" y="198"/>
                  </a:lnTo>
                  <a:lnTo>
                    <a:pt x="41" y="224"/>
                  </a:lnTo>
                  <a:lnTo>
                    <a:pt x="42" y="261"/>
                  </a:lnTo>
                  <a:lnTo>
                    <a:pt x="37" y="291"/>
                  </a:lnTo>
                  <a:lnTo>
                    <a:pt x="6" y="321"/>
                  </a:lnTo>
                  <a:lnTo>
                    <a:pt x="12" y="362"/>
                  </a:lnTo>
                  <a:lnTo>
                    <a:pt x="0" y="399"/>
                  </a:lnTo>
                  <a:lnTo>
                    <a:pt x="4" y="424"/>
                  </a:lnTo>
                  <a:lnTo>
                    <a:pt x="43" y="590"/>
                  </a:lnTo>
                  <a:lnTo>
                    <a:pt x="58" y="616"/>
                  </a:lnTo>
                  <a:lnTo>
                    <a:pt x="61" y="649"/>
                  </a:lnTo>
                  <a:lnTo>
                    <a:pt x="54" y="689"/>
                  </a:lnTo>
                  <a:lnTo>
                    <a:pt x="57" y="703"/>
                  </a:lnTo>
                  <a:lnTo>
                    <a:pt x="71" y="726"/>
                  </a:lnTo>
                  <a:lnTo>
                    <a:pt x="79" y="735"/>
                  </a:lnTo>
                  <a:lnTo>
                    <a:pt x="106" y="758"/>
                  </a:lnTo>
                  <a:lnTo>
                    <a:pt x="128" y="763"/>
                  </a:lnTo>
                  <a:lnTo>
                    <a:pt x="165" y="762"/>
                  </a:lnTo>
                  <a:lnTo>
                    <a:pt x="189" y="739"/>
                  </a:lnTo>
                  <a:lnTo>
                    <a:pt x="198" y="742"/>
                  </a:lnTo>
                  <a:lnTo>
                    <a:pt x="215" y="739"/>
                  </a:lnTo>
                  <a:lnTo>
                    <a:pt x="239" y="726"/>
                  </a:lnTo>
                  <a:lnTo>
                    <a:pt x="258" y="709"/>
                  </a:lnTo>
                  <a:lnTo>
                    <a:pt x="270" y="693"/>
                  </a:lnTo>
                  <a:lnTo>
                    <a:pt x="288" y="677"/>
                  </a:lnTo>
                  <a:lnTo>
                    <a:pt x="300" y="670"/>
                  </a:lnTo>
                  <a:lnTo>
                    <a:pt x="377" y="670"/>
                  </a:lnTo>
                  <a:lnTo>
                    <a:pt x="409" y="658"/>
                  </a:lnTo>
                  <a:lnTo>
                    <a:pt x="452" y="637"/>
                  </a:lnTo>
                  <a:lnTo>
                    <a:pt x="517" y="593"/>
                  </a:lnTo>
                  <a:lnTo>
                    <a:pt x="540" y="590"/>
                  </a:lnTo>
                  <a:lnTo>
                    <a:pt x="566" y="593"/>
                  </a:lnTo>
                  <a:lnTo>
                    <a:pt x="589" y="588"/>
                  </a:lnTo>
                  <a:lnTo>
                    <a:pt x="609" y="572"/>
                  </a:lnTo>
                  <a:lnTo>
                    <a:pt x="629" y="538"/>
                  </a:lnTo>
                  <a:lnTo>
                    <a:pt x="646" y="522"/>
                  </a:lnTo>
                  <a:lnTo>
                    <a:pt x="838" y="450"/>
                  </a:lnTo>
                  <a:lnTo>
                    <a:pt x="901" y="415"/>
                  </a:lnTo>
                  <a:lnTo>
                    <a:pt x="920" y="397"/>
                  </a:lnTo>
                  <a:lnTo>
                    <a:pt x="922" y="376"/>
                  </a:lnTo>
                  <a:lnTo>
                    <a:pt x="930" y="348"/>
                  </a:lnTo>
                  <a:lnTo>
                    <a:pt x="940" y="332"/>
                  </a:lnTo>
                  <a:lnTo>
                    <a:pt x="970" y="302"/>
                  </a:lnTo>
                  <a:lnTo>
                    <a:pt x="994" y="286"/>
                  </a:lnTo>
                  <a:lnTo>
                    <a:pt x="1006" y="281"/>
                  </a:lnTo>
                  <a:lnTo>
                    <a:pt x="974" y="228"/>
                  </a:lnTo>
                  <a:lnTo>
                    <a:pt x="974" y="212"/>
                  </a:lnTo>
                  <a:lnTo>
                    <a:pt x="969" y="198"/>
                  </a:lnTo>
                  <a:lnTo>
                    <a:pt x="900" y="71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sp>
          <p:nvSpPr>
            <p:cNvPr id="5322" name="Freeform 211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3312" y="2556"/>
              <a:ext cx="24" cy="33"/>
            </a:xfrm>
            <a:custGeom>
              <a:avLst/>
              <a:gdLst>
                <a:gd name="T0" fmla="*/ 159 w 166"/>
                <a:gd name="T1" fmla="*/ 77 h 219"/>
                <a:gd name="T2" fmla="*/ 166 w 166"/>
                <a:gd name="T3" fmla="*/ 72 h 219"/>
                <a:gd name="T4" fmla="*/ 165 w 166"/>
                <a:gd name="T5" fmla="*/ 58 h 219"/>
                <a:gd name="T6" fmla="*/ 151 w 166"/>
                <a:gd name="T7" fmla="*/ 32 h 219"/>
                <a:gd name="T8" fmla="*/ 125 w 166"/>
                <a:gd name="T9" fmla="*/ 0 h 219"/>
                <a:gd name="T10" fmla="*/ 97 w 166"/>
                <a:gd name="T11" fmla="*/ 47 h 219"/>
                <a:gd name="T12" fmla="*/ 83 w 166"/>
                <a:gd name="T13" fmla="*/ 37 h 219"/>
                <a:gd name="T14" fmla="*/ 65 w 166"/>
                <a:gd name="T15" fmla="*/ 32 h 219"/>
                <a:gd name="T16" fmla="*/ 56 w 166"/>
                <a:gd name="T17" fmla="*/ 37 h 219"/>
                <a:gd name="T18" fmla="*/ 6 w 166"/>
                <a:gd name="T19" fmla="*/ 123 h 219"/>
                <a:gd name="T20" fmla="*/ 2 w 166"/>
                <a:gd name="T21" fmla="*/ 137 h 219"/>
                <a:gd name="T22" fmla="*/ 0 w 166"/>
                <a:gd name="T23" fmla="*/ 157 h 219"/>
                <a:gd name="T24" fmla="*/ 9 w 166"/>
                <a:gd name="T25" fmla="*/ 219 h 219"/>
                <a:gd name="T26" fmla="*/ 31 w 166"/>
                <a:gd name="T27" fmla="*/ 215 h 219"/>
                <a:gd name="T28" fmla="*/ 69 w 166"/>
                <a:gd name="T29" fmla="*/ 203 h 219"/>
                <a:gd name="T30" fmla="*/ 88 w 166"/>
                <a:gd name="T31" fmla="*/ 204 h 219"/>
                <a:gd name="T32" fmla="*/ 113 w 166"/>
                <a:gd name="T33" fmla="*/ 215 h 219"/>
                <a:gd name="T34" fmla="*/ 128 w 166"/>
                <a:gd name="T35" fmla="*/ 185 h 219"/>
                <a:gd name="T36" fmla="*/ 143 w 166"/>
                <a:gd name="T37" fmla="*/ 160 h 219"/>
                <a:gd name="T38" fmla="*/ 149 w 166"/>
                <a:gd name="T39" fmla="*/ 146 h 219"/>
                <a:gd name="T40" fmla="*/ 129 w 166"/>
                <a:gd name="T41" fmla="*/ 139 h 219"/>
                <a:gd name="T42" fmla="*/ 88 w 166"/>
                <a:gd name="T43" fmla="*/ 141 h 219"/>
                <a:gd name="T44" fmla="*/ 76 w 166"/>
                <a:gd name="T45" fmla="*/ 136 h 219"/>
                <a:gd name="T46" fmla="*/ 101 w 166"/>
                <a:gd name="T47" fmla="*/ 109 h 219"/>
                <a:gd name="T48" fmla="*/ 126 w 166"/>
                <a:gd name="T49" fmla="*/ 93 h 219"/>
                <a:gd name="T50" fmla="*/ 145 w 166"/>
                <a:gd name="T51" fmla="*/ 88 h 219"/>
                <a:gd name="T52" fmla="*/ 159 w 166"/>
                <a:gd name="T53" fmla="*/ 77 h 21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66"/>
                <a:gd name="T82" fmla="*/ 0 h 219"/>
                <a:gd name="T83" fmla="*/ 166 w 166"/>
                <a:gd name="T84" fmla="*/ 219 h 219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66" h="219">
                  <a:moveTo>
                    <a:pt x="159" y="77"/>
                  </a:moveTo>
                  <a:lnTo>
                    <a:pt x="166" y="72"/>
                  </a:lnTo>
                  <a:lnTo>
                    <a:pt x="165" y="58"/>
                  </a:lnTo>
                  <a:lnTo>
                    <a:pt x="151" y="32"/>
                  </a:lnTo>
                  <a:lnTo>
                    <a:pt x="125" y="0"/>
                  </a:lnTo>
                  <a:lnTo>
                    <a:pt x="97" y="47"/>
                  </a:lnTo>
                  <a:lnTo>
                    <a:pt x="83" y="37"/>
                  </a:lnTo>
                  <a:lnTo>
                    <a:pt x="65" y="32"/>
                  </a:lnTo>
                  <a:lnTo>
                    <a:pt x="56" y="37"/>
                  </a:lnTo>
                  <a:lnTo>
                    <a:pt x="6" y="123"/>
                  </a:lnTo>
                  <a:lnTo>
                    <a:pt x="2" y="137"/>
                  </a:lnTo>
                  <a:lnTo>
                    <a:pt x="0" y="157"/>
                  </a:lnTo>
                  <a:lnTo>
                    <a:pt x="9" y="219"/>
                  </a:lnTo>
                  <a:lnTo>
                    <a:pt x="31" y="215"/>
                  </a:lnTo>
                  <a:lnTo>
                    <a:pt x="69" y="203"/>
                  </a:lnTo>
                  <a:lnTo>
                    <a:pt x="88" y="204"/>
                  </a:lnTo>
                  <a:lnTo>
                    <a:pt x="113" y="215"/>
                  </a:lnTo>
                  <a:lnTo>
                    <a:pt x="128" y="185"/>
                  </a:lnTo>
                  <a:lnTo>
                    <a:pt x="143" y="160"/>
                  </a:lnTo>
                  <a:lnTo>
                    <a:pt x="149" y="146"/>
                  </a:lnTo>
                  <a:lnTo>
                    <a:pt x="129" y="139"/>
                  </a:lnTo>
                  <a:lnTo>
                    <a:pt x="88" y="141"/>
                  </a:lnTo>
                  <a:lnTo>
                    <a:pt x="76" y="136"/>
                  </a:lnTo>
                  <a:lnTo>
                    <a:pt x="101" y="109"/>
                  </a:lnTo>
                  <a:lnTo>
                    <a:pt x="126" y="93"/>
                  </a:lnTo>
                  <a:lnTo>
                    <a:pt x="145" y="88"/>
                  </a:lnTo>
                  <a:lnTo>
                    <a:pt x="159" y="77"/>
                  </a:lnTo>
                  <a:close/>
                </a:path>
              </a:pathLst>
            </a:custGeom>
            <a:solidFill>
              <a:srgbClr val="8E8E95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  <p:grpSp>
          <p:nvGrpSpPr>
            <p:cNvPr id="4" name="Group 212"/>
            <p:cNvGrpSpPr>
              <a:grpSpLocks/>
            </p:cNvGrpSpPr>
            <p:nvPr/>
          </p:nvGrpSpPr>
          <p:grpSpPr bwMode="auto">
            <a:xfrm>
              <a:off x="2341" y="1275"/>
              <a:ext cx="1016" cy="891"/>
              <a:chOff x="2341" y="1275"/>
              <a:chExt cx="1016" cy="891"/>
            </a:xfrm>
          </p:grpSpPr>
          <p:sp>
            <p:nvSpPr>
              <p:cNvPr id="5325" name="Freeform 213"/>
              <p:cNvSpPr>
                <a:spLocks/>
              </p:cNvSpPr>
              <p:nvPr>
                <p:custDataLst>
                  <p:tags r:id="rId150"/>
                </p:custDataLst>
              </p:nvPr>
            </p:nvSpPr>
            <p:spPr bwMode="auto">
              <a:xfrm>
                <a:off x="2780" y="1828"/>
                <a:ext cx="13" cy="16"/>
              </a:xfrm>
              <a:custGeom>
                <a:avLst/>
                <a:gdLst>
                  <a:gd name="T0" fmla="*/ 26 w 76"/>
                  <a:gd name="T1" fmla="*/ 0 h 108"/>
                  <a:gd name="T2" fmla="*/ 9 w 76"/>
                  <a:gd name="T3" fmla="*/ 16 h 108"/>
                  <a:gd name="T4" fmla="*/ 0 w 76"/>
                  <a:gd name="T5" fmla="*/ 37 h 108"/>
                  <a:gd name="T6" fmla="*/ 0 w 76"/>
                  <a:gd name="T7" fmla="*/ 60 h 108"/>
                  <a:gd name="T8" fmla="*/ 14 w 76"/>
                  <a:gd name="T9" fmla="*/ 74 h 108"/>
                  <a:gd name="T10" fmla="*/ 9 w 76"/>
                  <a:gd name="T11" fmla="*/ 97 h 108"/>
                  <a:gd name="T12" fmla="*/ 37 w 76"/>
                  <a:gd name="T13" fmla="*/ 103 h 108"/>
                  <a:gd name="T14" fmla="*/ 62 w 76"/>
                  <a:gd name="T15" fmla="*/ 103 h 108"/>
                  <a:gd name="T16" fmla="*/ 68 w 76"/>
                  <a:gd name="T17" fmla="*/ 108 h 108"/>
                  <a:gd name="T18" fmla="*/ 65 w 76"/>
                  <a:gd name="T19" fmla="*/ 83 h 108"/>
                  <a:gd name="T20" fmla="*/ 75 w 76"/>
                  <a:gd name="T21" fmla="*/ 73 h 108"/>
                  <a:gd name="T22" fmla="*/ 76 w 76"/>
                  <a:gd name="T23" fmla="*/ 53 h 108"/>
                  <a:gd name="T24" fmla="*/ 58 w 76"/>
                  <a:gd name="T25" fmla="*/ 46 h 108"/>
                  <a:gd name="T26" fmla="*/ 38 w 76"/>
                  <a:gd name="T27" fmla="*/ 25 h 108"/>
                  <a:gd name="T28" fmla="*/ 37 w 76"/>
                  <a:gd name="T29" fmla="*/ 5 h 108"/>
                  <a:gd name="T30" fmla="*/ 26 w 76"/>
                  <a:gd name="T31" fmla="*/ 0 h 108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76"/>
                  <a:gd name="T49" fmla="*/ 0 h 108"/>
                  <a:gd name="T50" fmla="*/ 76 w 76"/>
                  <a:gd name="T51" fmla="*/ 108 h 108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76" h="108">
                    <a:moveTo>
                      <a:pt x="26" y="0"/>
                    </a:moveTo>
                    <a:lnTo>
                      <a:pt x="9" y="16"/>
                    </a:lnTo>
                    <a:lnTo>
                      <a:pt x="0" y="37"/>
                    </a:lnTo>
                    <a:lnTo>
                      <a:pt x="0" y="60"/>
                    </a:lnTo>
                    <a:lnTo>
                      <a:pt x="14" y="74"/>
                    </a:lnTo>
                    <a:lnTo>
                      <a:pt x="9" y="97"/>
                    </a:lnTo>
                    <a:lnTo>
                      <a:pt x="37" y="103"/>
                    </a:lnTo>
                    <a:lnTo>
                      <a:pt x="62" y="103"/>
                    </a:lnTo>
                    <a:lnTo>
                      <a:pt x="68" y="108"/>
                    </a:lnTo>
                    <a:lnTo>
                      <a:pt x="65" y="83"/>
                    </a:lnTo>
                    <a:lnTo>
                      <a:pt x="75" y="73"/>
                    </a:lnTo>
                    <a:lnTo>
                      <a:pt x="76" y="53"/>
                    </a:lnTo>
                    <a:lnTo>
                      <a:pt x="58" y="46"/>
                    </a:lnTo>
                    <a:lnTo>
                      <a:pt x="38" y="25"/>
                    </a:lnTo>
                    <a:lnTo>
                      <a:pt x="37" y="5"/>
                    </a:lnTo>
                    <a:lnTo>
                      <a:pt x="26" y="0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26" name="Freeform 214"/>
              <p:cNvSpPr>
                <a:spLocks/>
              </p:cNvSpPr>
              <p:nvPr>
                <p:custDataLst>
                  <p:tags r:id="rId151"/>
                </p:custDataLst>
              </p:nvPr>
            </p:nvSpPr>
            <p:spPr bwMode="auto">
              <a:xfrm>
                <a:off x="2780" y="1828"/>
                <a:ext cx="13" cy="16"/>
              </a:xfrm>
              <a:custGeom>
                <a:avLst/>
                <a:gdLst>
                  <a:gd name="T0" fmla="*/ 9 w 76"/>
                  <a:gd name="T1" fmla="*/ 16 h 108"/>
                  <a:gd name="T2" fmla="*/ 0 w 76"/>
                  <a:gd name="T3" fmla="*/ 37 h 108"/>
                  <a:gd name="T4" fmla="*/ 0 w 76"/>
                  <a:gd name="T5" fmla="*/ 60 h 108"/>
                  <a:gd name="T6" fmla="*/ 14 w 76"/>
                  <a:gd name="T7" fmla="*/ 74 h 108"/>
                  <a:gd name="T8" fmla="*/ 9 w 76"/>
                  <a:gd name="T9" fmla="*/ 97 h 108"/>
                  <a:gd name="T10" fmla="*/ 37 w 76"/>
                  <a:gd name="T11" fmla="*/ 103 h 108"/>
                  <a:gd name="T12" fmla="*/ 62 w 76"/>
                  <a:gd name="T13" fmla="*/ 103 h 108"/>
                  <a:gd name="T14" fmla="*/ 68 w 76"/>
                  <a:gd name="T15" fmla="*/ 108 h 108"/>
                  <a:gd name="T16" fmla="*/ 65 w 76"/>
                  <a:gd name="T17" fmla="*/ 83 h 108"/>
                  <a:gd name="T18" fmla="*/ 75 w 76"/>
                  <a:gd name="T19" fmla="*/ 73 h 108"/>
                  <a:gd name="T20" fmla="*/ 76 w 76"/>
                  <a:gd name="T21" fmla="*/ 53 h 108"/>
                  <a:gd name="T22" fmla="*/ 58 w 76"/>
                  <a:gd name="T23" fmla="*/ 46 h 108"/>
                  <a:gd name="T24" fmla="*/ 38 w 76"/>
                  <a:gd name="T25" fmla="*/ 25 h 108"/>
                  <a:gd name="T26" fmla="*/ 37 w 76"/>
                  <a:gd name="T27" fmla="*/ 5 h 108"/>
                  <a:gd name="T28" fmla="*/ 26 w 76"/>
                  <a:gd name="T29" fmla="*/ 0 h 108"/>
                  <a:gd name="T30" fmla="*/ 9 w 76"/>
                  <a:gd name="T31" fmla="*/ 16 h 108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76"/>
                  <a:gd name="T49" fmla="*/ 0 h 108"/>
                  <a:gd name="T50" fmla="*/ 76 w 76"/>
                  <a:gd name="T51" fmla="*/ 108 h 108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76" h="108">
                    <a:moveTo>
                      <a:pt x="9" y="16"/>
                    </a:moveTo>
                    <a:lnTo>
                      <a:pt x="0" y="37"/>
                    </a:lnTo>
                    <a:lnTo>
                      <a:pt x="0" y="60"/>
                    </a:lnTo>
                    <a:lnTo>
                      <a:pt x="14" y="74"/>
                    </a:lnTo>
                    <a:lnTo>
                      <a:pt x="9" y="97"/>
                    </a:lnTo>
                    <a:lnTo>
                      <a:pt x="37" y="103"/>
                    </a:lnTo>
                    <a:lnTo>
                      <a:pt x="62" y="103"/>
                    </a:lnTo>
                    <a:lnTo>
                      <a:pt x="68" y="108"/>
                    </a:lnTo>
                    <a:lnTo>
                      <a:pt x="65" y="83"/>
                    </a:lnTo>
                    <a:lnTo>
                      <a:pt x="75" y="73"/>
                    </a:lnTo>
                    <a:lnTo>
                      <a:pt x="76" y="53"/>
                    </a:lnTo>
                    <a:lnTo>
                      <a:pt x="58" y="46"/>
                    </a:lnTo>
                    <a:lnTo>
                      <a:pt x="38" y="25"/>
                    </a:lnTo>
                    <a:lnTo>
                      <a:pt x="37" y="5"/>
                    </a:lnTo>
                    <a:lnTo>
                      <a:pt x="26" y="0"/>
                    </a:lnTo>
                    <a:lnTo>
                      <a:pt x="9" y="16"/>
                    </a:lnTo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27" name="Freeform 215"/>
              <p:cNvSpPr>
                <a:spLocks/>
              </p:cNvSpPr>
              <p:nvPr>
                <p:custDataLst>
                  <p:tags r:id="rId152"/>
                </p:custDataLst>
              </p:nvPr>
            </p:nvSpPr>
            <p:spPr bwMode="auto">
              <a:xfrm>
                <a:off x="2784" y="1881"/>
                <a:ext cx="66" cy="43"/>
              </a:xfrm>
              <a:custGeom>
                <a:avLst/>
                <a:gdLst>
                  <a:gd name="T0" fmla="*/ 116 w 439"/>
                  <a:gd name="T1" fmla="*/ 46 h 283"/>
                  <a:gd name="T2" fmla="*/ 96 w 439"/>
                  <a:gd name="T3" fmla="*/ 39 h 283"/>
                  <a:gd name="T4" fmla="*/ 93 w 439"/>
                  <a:gd name="T5" fmla="*/ 62 h 283"/>
                  <a:gd name="T6" fmla="*/ 92 w 439"/>
                  <a:gd name="T7" fmla="*/ 70 h 283"/>
                  <a:gd name="T8" fmla="*/ 68 w 439"/>
                  <a:gd name="T9" fmla="*/ 107 h 283"/>
                  <a:gd name="T10" fmla="*/ 44 w 439"/>
                  <a:gd name="T11" fmla="*/ 145 h 283"/>
                  <a:gd name="T12" fmla="*/ 9 w 439"/>
                  <a:gd name="T13" fmla="*/ 190 h 283"/>
                  <a:gd name="T14" fmla="*/ 12 w 439"/>
                  <a:gd name="T15" fmla="*/ 222 h 283"/>
                  <a:gd name="T16" fmla="*/ 16 w 439"/>
                  <a:gd name="T17" fmla="*/ 244 h 283"/>
                  <a:gd name="T18" fmla="*/ 81 w 439"/>
                  <a:gd name="T19" fmla="*/ 190 h 283"/>
                  <a:gd name="T20" fmla="*/ 101 w 439"/>
                  <a:gd name="T21" fmla="*/ 273 h 283"/>
                  <a:gd name="T22" fmla="*/ 154 w 439"/>
                  <a:gd name="T23" fmla="*/ 262 h 283"/>
                  <a:gd name="T24" fmla="*/ 194 w 439"/>
                  <a:gd name="T25" fmla="*/ 264 h 283"/>
                  <a:gd name="T26" fmla="*/ 204 w 439"/>
                  <a:gd name="T27" fmla="*/ 220 h 283"/>
                  <a:gd name="T28" fmla="*/ 240 w 439"/>
                  <a:gd name="T29" fmla="*/ 220 h 283"/>
                  <a:gd name="T30" fmla="*/ 277 w 439"/>
                  <a:gd name="T31" fmla="*/ 250 h 283"/>
                  <a:gd name="T32" fmla="*/ 290 w 439"/>
                  <a:gd name="T33" fmla="*/ 283 h 283"/>
                  <a:gd name="T34" fmla="*/ 304 w 439"/>
                  <a:gd name="T35" fmla="*/ 237 h 283"/>
                  <a:gd name="T36" fmla="*/ 322 w 439"/>
                  <a:gd name="T37" fmla="*/ 189 h 283"/>
                  <a:gd name="T38" fmla="*/ 343 w 439"/>
                  <a:gd name="T39" fmla="*/ 206 h 283"/>
                  <a:gd name="T40" fmla="*/ 363 w 439"/>
                  <a:gd name="T41" fmla="*/ 215 h 283"/>
                  <a:gd name="T42" fmla="*/ 387 w 439"/>
                  <a:gd name="T43" fmla="*/ 203 h 283"/>
                  <a:gd name="T44" fmla="*/ 408 w 439"/>
                  <a:gd name="T45" fmla="*/ 197 h 283"/>
                  <a:gd name="T46" fmla="*/ 400 w 439"/>
                  <a:gd name="T47" fmla="*/ 171 h 283"/>
                  <a:gd name="T48" fmla="*/ 421 w 439"/>
                  <a:gd name="T49" fmla="*/ 176 h 283"/>
                  <a:gd name="T50" fmla="*/ 437 w 439"/>
                  <a:gd name="T51" fmla="*/ 166 h 283"/>
                  <a:gd name="T52" fmla="*/ 437 w 439"/>
                  <a:gd name="T53" fmla="*/ 132 h 283"/>
                  <a:gd name="T54" fmla="*/ 429 w 439"/>
                  <a:gd name="T55" fmla="*/ 113 h 283"/>
                  <a:gd name="T56" fmla="*/ 379 w 439"/>
                  <a:gd name="T57" fmla="*/ 118 h 283"/>
                  <a:gd name="T58" fmla="*/ 351 w 439"/>
                  <a:gd name="T59" fmla="*/ 106 h 283"/>
                  <a:gd name="T60" fmla="*/ 346 w 439"/>
                  <a:gd name="T61" fmla="*/ 74 h 283"/>
                  <a:gd name="T62" fmla="*/ 350 w 439"/>
                  <a:gd name="T63" fmla="*/ 33 h 283"/>
                  <a:gd name="T64" fmla="*/ 284 w 439"/>
                  <a:gd name="T65" fmla="*/ 14 h 283"/>
                  <a:gd name="T66" fmla="*/ 267 w 439"/>
                  <a:gd name="T67" fmla="*/ 10 h 283"/>
                  <a:gd name="T68" fmla="*/ 236 w 439"/>
                  <a:gd name="T69" fmla="*/ 12 h 283"/>
                  <a:gd name="T70" fmla="*/ 227 w 439"/>
                  <a:gd name="T71" fmla="*/ 28 h 283"/>
                  <a:gd name="T72" fmla="*/ 190 w 439"/>
                  <a:gd name="T73" fmla="*/ 32 h 283"/>
                  <a:gd name="T74" fmla="*/ 166 w 439"/>
                  <a:gd name="T75" fmla="*/ 32 h 283"/>
                  <a:gd name="T76" fmla="*/ 138 w 439"/>
                  <a:gd name="T77" fmla="*/ 47 h 283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439"/>
                  <a:gd name="T118" fmla="*/ 0 h 283"/>
                  <a:gd name="T119" fmla="*/ 439 w 439"/>
                  <a:gd name="T120" fmla="*/ 283 h 283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439" h="283">
                    <a:moveTo>
                      <a:pt x="138" y="47"/>
                    </a:moveTo>
                    <a:lnTo>
                      <a:pt x="116" y="46"/>
                    </a:lnTo>
                    <a:lnTo>
                      <a:pt x="117" y="40"/>
                    </a:lnTo>
                    <a:lnTo>
                      <a:pt x="96" y="39"/>
                    </a:lnTo>
                    <a:lnTo>
                      <a:pt x="88" y="60"/>
                    </a:lnTo>
                    <a:lnTo>
                      <a:pt x="93" y="62"/>
                    </a:lnTo>
                    <a:lnTo>
                      <a:pt x="100" y="67"/>
                    </a:lnTo>
                    <a:lnTo>
                      <a:pt x="92" y="70"/>
                    </a:lnTo>
                    <a:lnTo>
                      <a:pt x="68" y="102"/>
                    </a:lnTo>
                    <a:lnTo>
                      <a:pt x="68" y="107"/>
                    </a:lnTo>
                    <a:lnTo>
                      <a:pt x="41" y="123"/>
                    </a:lnTo>
                    <a:lnTo>
                      <a:pt x="44" y="145"/>
                    </a:lnTo>
                    <a:lnTo>
                      <a:pt x="12" y="171"/>
                    </a:lnTo>
                    <a:lnTo>
                      <a:pt x="9" y="190"/>
                    </a:lnTo>
                    <a:lnTo>
                      <a:pt x="12" y="201"/>
                    </a:lnTo>
                    <a:lnTo>
                      <a:pt x="12" y="222"/>
                    </a:lnTo>
                    <a:lnTo>
                      <a:pt x="0" y="237"/>
                    </a:lnTo>
                    <a:lnTo>
                      <a:pt x="16" y="244"/>
                    </a:lnTo>
                    <a:lnTo>
                      <a:pt x="55" y="199"/>
                    </a:lnTo>
                    <a:lnTo>
                      <a:pt x="81" y="190"/>
                    </a:lnTo>
                    <a:lnTo>
                      <a:pt x="96" y="244"/>
                    </a:lnTo>
                    <a:lnTo>
                      <a:pt x="101" y="273"/>
                    </a:lnTo>
                    <a:lnTo>
                      <a:pt x="126" y="276"/>
                    </a:lnTo>
                    <a:lnTo>
                      <a:pt x="154" y="262"/>
                    </a:lnTo>
                    <a:lnTo>
                      <a:pt x="182" y="274"/>
                    </a:lnTo>
                    <a:lnTo>
                      <a:pt x="194" y="264"/>
                    </a:lnTo>
                    <a:lnTo>
                      <a:pt x="208" y="236"/>
                    </a:lnTo>
                    <a:lnTo>
                      <a:pt x="204" y="220"/>
                    </a:lnTo>
                    <a:lnTo>
                      <a:pt x="239" y="194"/>
                    </a:lnTo>
                    <a:lnTo>
                      <a:pt x="240" y="220"/>
                    </a:lnTo>
                    <a:lnTo>
                      <a:pt x="264" y="246"/>
                    </a:lnTo>
                    <a:lnTo>
                      <a:pt x="277" y="250"/>
                    </a:lnTo>
                    <a:lnTo>
                      <a:pt x="273" y="262"/>
                    </a:lnTo>
                    <a:lnTo>
                      <a:pt x="290" y="283"/>
                    </a:lnTo>
                    <a:lnTo>
                      <a:pt x="302" y="273"/>
                    </a:lnTo>
                    <a:lnTo>
                      <a:pt x="304" y="237"/>
                    </a:lnTo>
                    <a:lnTo>
                      <a:pt x="322" y="212"/>
                    </a:lnTo>
                    <a:lnTo>
                      <a:pt x="322" y="189"/>
                    </a:lnTo>
                    <a:lnTo>
                      <a:pt x="338" y="183"/>
                    </a:lnTo>
                    <a:lnTo>
                      <a:pt x="343" y="206"/>
                    </a:lnTo>
                    <a:lnTo>
                      <a:pt x="354" y="217"/>
                    </a:lnTo>
                    <a:lnTo>
                      <a:pt x="363" y="215"/>
                    </a:lnTo>
                    <a:lnTo>
                      <a:pt x="366" y="206"/>
                    </a:lnTo>
                    <a:lnTo>
                      <a:pt x="387" y="203"/>
                    </a:lnTo>
                    <a:lnTo>
                      <a:pt x="399" y="227"/>
                    </a:lnTo>
                    <a:lnTo>
                      <a:pt x="408" y="197"/>
                    </a:lnTo>
                    <a:lnTo>
                      <a:pt x="397" y="189"/>
                    </a:lnTo>
                    <a:lnTo>
                      <a:pt x="400" y="171"/>
                    </a:lnTo>
                    <a:lnTo>
                      <a:pt x="413" y="166"/>
                    </a:lnTo>
                    <a:lnTo>
                      <a:pt x="421" y="176"/>
                    </a:lnTo>
                    <a:lnTo>
                      <a:pt x="436" y="180"/>
                    </a:lnTo>
                    <a:lnTo>
                      <a:pt x="437" y="166"/>
                    </a:lnTo>
                    <a:lnTo>
                      <a:pt x="432" y="152"/>
                    </a:lnTo>
                    <a:lnTo>
                      <a:pt x="437" y="132"/>
                    </a:lnTo>
                    <a:lnTo>
                      <a:pt x="439" y="120"/>
                    </a:lnTo>
                    <a:lnTo>
                      <a:pt x="429" y="113"/>
                    </a:lnTo>
                    <a:lnTo>
                      <a:pt x="403" y="136"/>
                    </a:lnTo>
                    <a:lnTo>
                      <a:pt x="379" y="118"/>
                    </a:lnTo>
                    <a:lnTo>
                      <a:pt x="379" y="109"/>
                    </a:lnTo>
                    <a:lnTo>
                      <a:pt x="351" y="106"/>
                    </a:lnTo>
                    <a:lnTo>
                      <a:pt x="355" y="92"/>
                    </a:lnTo>
                    <a:lnTo>
                      <a:pt x="346" y="74"/>
                    </a:lnTo>
                    <a:lnTo>
                      <a:pt x="358" y="54"/>
                    </a:lnTo>
                    <a:lnTo>
                      <a:pt x="350" y="33"/>
                    </a:lnTo>
                    <a:lnTo>
                      <a:pt x="321" y="16"/>
                    </a:lnTo>
                    <a:lnTo>
                      <a:pt x="284" y="14"/>
                    </a:lnTo>
                    <a:lnTo>
                      <a:pt x="276" y="9"/>
                    </a:lnTo>
                    <a:lnTo>
                      <a:pt x="267" y="10"/>
                    </a:lnTo>
                    <a:lnTo>
                      <a:pt x="267" y="0"/>
                    </a:lnTo>
                    <a:lnTo>
                      <a:pt x="236" y="12"/>
                    </a:lnTo>
                    <a:lnTo>
                      <a:pt x="243" y="26"/>
                    </a:lnTo>
                    <a:lnTo>
                      <a:pt x="227" y="28"/>
                    </a:lnTo>
                    <a:lnTo>
                      <a:pt x="215" y="21"/>
                    </a:lnTo>
                    <a:lnTo>
                      <a:pt x="190" y="32"/>
                    </a:lnTo>
                    <a:lnTo>
                      <a:pt x="178" y="24"/>
                    </a:lnTo>
                    <a:lnTo>
                      <a:pt x="166" y="32"/>
                    </a:lnTo>
                    <a:lnTo>
                      <a:pt x="154" y="26"/>
                    </a:lnTo>
                    <a:lnTo>
                      <a:pt x="138" y="47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28" name="Freeform 216"/>
              <p:cNvSpPr>
                <a:spLocks/>
              </p:cNvSpPr>
              <p:nvPr>
                <p:custDataLst>
                  <p:tags r:id="rId153"/>
                </p:custDataLst>
              </p:nvPr>
            </p:nvSpPr>
            <p:spPr bwMode="auto">
              <a:xfrm>
                <a:off x="2784" y="1881"/>
                <a:ext cx="66" cy="43"/>
              </a:xfrm>
              <a:custGeom>
                <a:avLst/>
                <a:gdLst>
                  <a:gd name="T0" fmla="*/ 117 w 439"/>
                  <a:gd name="T1" fmla="*/ 40 h 283"/>
                  <a:gd name="T2" fmla="*/ 88 w 439"/>
                  <a:gd name="T3" fmla="*/ 60 h 283"/>
                  <a:gd name="T4" fmla="*/ 100 w 439"/>
                  <a:gd name="T5" fmla="*/ 67 h 283"/>
                  <a:gd name="T6" fmla="*/ 68 w 439"/>
                  <a:gd name="T7" fmla="*/ 102 h 283"/>
                  <a:gd name="T8" fmla="*/ 41 w 439"/>
                  <a:gd name="T9" fmla="*/ 123 h 283"/>
                  <a:gd name="T10" fmla="*/ 12 w 439"/>
                  <a:gd name="T11" fmla="*/ 171 h 283"/>
                  <a:gd name="T12" fmla="*/ 12 w 439"/>
                  <a:gd name="T13" fmla="*/ 201 h 283"/>
                  <a:gd name="T14" fmla="*/ 0 w 439"/>
                  <a:gd name="T15" fmla="*/ 237 h 283"/>
                  <a:gd name="T16" fmla="*/ 55 w 439"/>
                  <a:gd name="T17" fmla="*/ 199 h 283"/>
                  <a:gd name="T18" fmla="*/ 96 w 439"/>
                  <a:gd name="T19" fmla="*/ 244 h 283"/>
                  <a:gd name="T20" fmla="*/ 126 w 439"/>
                  <a:gd name="T21" fmla="*/ 276 h 283"/>
                  <a:gd name="T22" fmla="*/ 182 w 439"/>
                  <a:gd name="T23" fmla="*/ 274 h 283"/>
                  <a:gd name="T24" fmla="*/ 208 w 439"/>
                  <a:gd name="T25" fmla="*/ 236 h 283"/>
                  <a:gd name="T26" fmla="*/ 239 w 439"/>
                  <a:gd name="T27" fmla="*/ 194 h 283"/>
                  <a:gd name="T28" fmla="*/ 264 w 439"/>
                  <a:gd name="T29" fmla="*/ 246 h 283"/>
                  <a:gd name="T30" fmla="*/ 273 w 439"/>
                  <a:gd name="T31" fmla="*/ 262 h 283"/>
                  <a:gd name="T32" fmla="*/ 302 w 439"/>
                  <a:gd name="T33" fmla="*/ 273 h 283"/>
                  <a:gd name="T34" fmla="*/ 322 w 439"/>
                  <a:gd name="T35" fmla="*/ 212 h 283"/>
                  <a:gd name="T36" fmla="*/ 338 w 439"/>
                  <a:gd name="T37" fmla="*/ 183 h 283"/>
                  <a:gd name="T38" fmla="*/ 354 w 439"/>
                  <a:gd name="T39" fmla="*/ 217 h 283"/>
                  <a:gd name="T40" fmla="*/ 366 w 439"/>
                  <a:gd name="T41" fmla="*/ 206 h 283"/>
                  <a:gd name="T42" fmla="*/ 399 w 439"/>
                  <a:gd name="T43" fmla="*/ 227 h 283"/>
                  <a:gd name="T44" fmla="*/ 397 w 439"/>
                  <a:gd name="T45" fmla="*/ 189 h 283"/>
                  <a:gd name="T46" fmla="*/ 413 w 439"/>
                  <a:gd name="T47" fmla="*/ 166 h 283"/>
                  <a:gd name="T48" fmla="*/ 436 w 439"/>
                  <a:gd name="T49" fmla="*/ 180 h 283"/>
                  <a:gd name="T50" fmla="*/ 432 w 439"/>
                  <a:gd name="T51" fmla="*/ 152 h 283"/>
                  <a:gd name="T52" fmla="*/ 439 w 439"/>
                  <a:gd name="T53" fmla="*/ 120 h 283"/>
                  <a:gd name="T54" fmla="*/ 403 w 439"/>
                  <a:gd name="T55" fmla="*/ 136 h 283"/>
                  <a:gd name="T56" fmla="*/ 379 w 439"/>
                  <a:gd name="T57" fmla="*/ 109 h 283"/>
                  <a:gd name="T58" fmla="*/ 355 w 439"/>
                  <a:gd name="T59" fmla="*/ 92 h 283"/>
                  <a:gd name="T60" fmla="*/ 358 w 439"/>
                  <a:gd name="T61" fmla="*/ 54 h 283"/>
                  <a:gd name="T62" fmla="*/ 321 w 439"/>
                  <a:gd name="T63" fmla="*/ 16 h 283"/>
                  <a:gd name="T64" fmla="*/ 276 w 439"/>
                  <a:gd name="T65" fmla="*/ 9 h 283"/>
                  <a:gd name="T66" fmla="*/ 267 w 439"/>
                  <a:gd name="T67" fmla="*/ 0 h 283"/>
                  <a:gd name="T68" fmla="*/ 243 w 439"/>
                  <a:gd name="T69" fmla="*/ 26 h 283"/>
                  <a:gd name="T70" fmla="*/ 215 w 439"/>
                  <a:gd name="T71" fmla="*/ 21 h 283"/>
                  <a:gd name="T72" fmla="*/ 178 w 439"/>
                  <a:gd name="T73" fmla="*/ 24 h 283"/>
                  <a:gd name="T74" fmla="*/ 154 w 439"/>
                  <a:gd name="T75" fmla="*/ 26 h 283"/>
                  <a:gd name="T76" fmla="*/ 116 w 439"/>
                  <a:gd name="T77" fmla="*/ 46 h 283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439"/>
                  <a:gd name="T118" fmla="*/ 0 h 283"/>
                  <a:gd name="T119" fmla="*/ 439 w 439"/>
                  <a:gd name="T120" fmla="*/ 283 h 283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439" h="283">
                    <a:moveTo>
                      <a:pt x="116" y="46"/>
                    </a:moveTo>
                    <a:lnTo>
                      <a:pt x="117" y="40"/>
                    </a:lnTo>
                    <a:lnTo>
                      <a:pt x="96" y="39"/>
                    </a:lnTo>
                    <a:lnTo>
                      <a:pt x="88" y="60"/>
                    </a:lnTo>
                    <a:lnTo>
                      <a:pt x="93" y="62"/>
                    </a:lnTo>
                    <a:lnTo>
                      <a:pt x="100" y="67"/>
                    </a:lnTo>
                    <a:lnTo>
                      <a:pt x="92" y="70"/>
                    </a:lnTo>
                    <a:lnTo>
                      <a:pt x="68" y="102"/>
                    </a:lnTo>
                    <a:lnTo>
                      <a:pt x="68" y="107"/>
                    </a:lnTo>
                    <a:lnTo>
                      <a:pt x="41" y="123"/>
                    </a:lnTo>
                    <a:lnTo>
                      <a:pt x="44" y="145"/>
                    </a:lnTo>
                    <a:lnTo>
                      <a:pt x="12" y="171"/>
                    </a:lnTo>
                    <a:lnTo>
                      <a:pt x="9" y="190"/>
                    </a:lnTo>
                    <a:lnTo>
                      <a:pt x="12" y="201"/>
                    </a:lnTo>
                    <a:lnTo>
                      <a:pt x="12" y="222"/>
                    </a:lnTo>
                    <a:lnTo>
                      <a:pt x="0" y="237"/>
                    </a:lnTo>
                    <a:lnTo>
                      <a:pt x="16" y="244"/>
                    </a:lnTo>
                    <a:lnTo>
                      <a:pt x="55" y="199"/>
                    </a:lnTo>
                    <a:lnTo>
                      <a:pt x="81" y="190"/>
                    </a:lnTo>
                    <a:lnTo>
                      <a:pt x="96" y="244"/>
                    </a:lnTo>
                    <a:lnTo>
                      <a:pt x="101" y="273"/>
                    </a:lnTo>
                    <a:lnTo>
                      <a:pt x="126" y="276"/>
                    </a:lnTo>
                    <a:lnTo>
                      <a:pt x="154" y="262"/>
                    </a:lnTo>
                    <a:lnTo>
                      <a:pt x="182" y="274"/>
                    </a:lnTo>
                    <a:lnTo>
                      <a:pt x="194" y="264"/>
                    </a:lnTo>
                    <a:lnTo>
                      <a:pt x="208" y="236"/>
                    </a:lnTo>
                    <a:lnTo>
                      <a:pt x="204" y="220"/>
                    </a:lnTo>
                    <a:lnTo>
                      <a:pt x="239" y="194"/>
                    </a:lnTo>
                    <a:lnTo>
                      <a:pt x="240" y="220"/>
                    </a:lnTo>
                    <a:lnTo>
                      <a:pt x="264" y="246"/>
                    </a:lnTo>
                    <a:lnTo>
                      <a:pt x="277" y="250"/>
                    </a:lnTo>
                    <a:lnTo>
                      <a:pt x="273" y="262"/>
                    </a:lnTo>
                    <a:lnTo>
                      <a:pt x="290" y="283"/>
                    </a:lnTo>
                    <a:lnTo>
                      <a:pt x="302" y="273"/>
                    </a:lnTo>
                    <a:lnTo>
                      <a:pt x="304" y="237"/>
                    </a:lnTo>
                    <a:lnTo>
                      <a:pt x="322" y="212"/>
                    </a:lnTo>
                    <a:lnTo>
                      <a:pt x="322" y="189"/>
                    </a:lnTo>
                    <a:lnTo>
                      <a:pt x="338" y="183"/>
                    </a:lnTo>
                    <a:lnTo>
                      <a:pt x="343" y="206"/>
                    </a:lnTo>
                    <a:lnTo>
                      <a:pt x="354" y="217"/>
                    </a:lnTo>
                    <a:lnTo>
                      <a:pt x="363" y="215"/>
                    </a:lnTo>
                    <a:lnTo>
                      <a:pt x="366" y="206"/>
                    </a:lnTo>
                    <a:lnTo>
                      <a:pt x="387" y="203"/>
                    </a:lnTo>
                    <a:lnTo>
                      <a:pt x="399" y="227"/>
                    </a:lnTo>
                    <a:lnTo>
                      <a:pt x="408" y="197"/>
                    </a:lnTo>
                    <a:lnTo>
                      <a:pt x="397" y="189"/>
                    </a:lnTo>
                    <a:lnTo>
                      <a:pt x="400" y="171"/>
                    </a:lnTo>
                    <a:lnTo>
                      <a:pt x="413" y="166"/>
                    </a:lnTo>
                    <a:lnTo>
                      <a:pt x="421" y="176"/>
                    </a:lnTo>
                    <a:lnTo>
                      <a:pt x="436" y="180"/>
                    </a:lnTo>
                    <a:lnTo>
                      <a:pt x="437" y="166"/>
                    </a:lnTo>
                    <a:lnTo>
                      <a:pt x="432" y="152"/>
                    </a:lnTo>
                    <a:lnTo>
                      <a:pt x="437" y="132"/>
                    </a:lnTo>
                    <a:lnTo>
                      <a:pt x="439" y="120"/>
                    </a:lnTo>
                    <a:lnTo>
                      <a:pt x="429" y="113"/>
                    </a:lnTo>
                    <a:lnTo>
                      <a:pt x="403" y="136"/>
                    </a:lnTo>
                    <a:lnTo>
                      <a:pt x="379" y="118"/>
                    </a:lnTo>
                    <a:lnTo>
                      <a:pt x="379" y="109"/>
                    </a:lnTo>
                    <a:lnTo>
                      <a:pt x="351" y="106"/>
                    </a:lnTo>
                    <a:lnTo>
                      <a:pt x="355" y="92"/>
                    </a:lnTo>
                    <a:lnTo>
                      <a:pt x="346" y="74"/>
                    </a:lnTo>
                    <a:lnTo>
                      <a:pt x="358" y="54"/>
                    </a:lnTo>
                    <a:lnTo>
                      <a:pt x="350" y="33"/>
                    </a:lnTo>
                    <a:lnTo>
                      <a:pt x="321" y="16"/>
                    </a:lnTo>
                    <a:lnTo>
                      <a:pt x="284" y="14"/>
                    </a:lnTo>
                    <a:lnTo>
                      <a:pt x="276" y="9"/>
                    </a:lnTo>
                    <a:lnTo>
                      <a:pt x="267" y="10"/>
                    </a:lnTo>
                    <a:lnTo>
                      <a:pt x="267" y="0"/>
                    </a:lnTo>
                    <a:lnTo>
                      <a:pt x="236" y="12"/>
                    </a:lnTo>
                    <a:lnTo>
                      <a:pt x="243" y="26"/>
                    </a:lnTo>
                    <a:lnTo>
                      <a:pt x="227" y="28"/>
                    </a:lnTo>
                    <a:lnTo>
                      <a:pt x="215" y="21"/>
                    </a:lnTo>
                    <a:lnTo>
                      <a:pt x="190" y="32"/>
                    </a:lnTo>
                    <a:lnTo>
                      <a:pt x="178" y="24"/>
                    </a:lnTo>
                    <a:lnTo>
                      <a:pt x="166" y="32"/>
                    </a:lnTo>
                    <a:lnTo>
                      <a:pt x="154" y="26"/>
                    </a:lnTo>
                    <a:lnTo>
                      <a:pt x="138" y="47"/>
                    </a:lnTo>
                    <a:lnTo>
                      <a:pt x="116" y="46"/>
                    </a:lnTo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29" name="Freeform 217"/>
              <p:cNvSpPr>
                <a:spLocks/>
              </p:cNvSpPr>
              <p:nvPr>
                <p:custDataLst>
                  <p:tags r:id="rId154"/>
                </p:custDataLst>
              </p:nvPr>
            </p:nvSpPr>
            <p:spPr bwMode="auto">
              <a:xfrm>
                <a:off x="2625" y="1807"/>
                <a:ext cx="191" cy="192"/>
              </a:xfrm>
              <a:custGeom>
                <a:avLst/>
                <a:gdLst>
                  <a:gd name="T0" fmla="*/ 133 w 1270"/>
                  <a:gd name="T1" fmla="*/ 346 h 1298"/>
                  <a:gd name="T2" fmla="*/ 86 w 1270"/>
                  <a:gd name="T3" fmla="*/ 374 h 1298"/>
                  <a:gd name="T4" fmla="*/ 4 w 1270"/>
                  <a:gd name="T5" fmla="*/ 388 h 1298"/>
                  <a:gd name="T6" fmla="*/ 44 w 1270"/>
                  <a:gd name="T7" fmla="*/ 411 h 1298"/>
                  <a:gd name="T8" fmla="*/ 47 w 1270"/>
                  <a:gd name="T9" fmla="*/ 455 h 1298"/>
                  <a:gd name="T10" fmla="*/ 40 w 1270"/>
                  <a:gd name="T11" fmla="*/ 478 h 1298"/>
                  <a:gd name="T12" fmla="*/ 106 w 1270"/>
                  <a:gd name="T13" fmla="*/ 501 h 1298"/>
                  <a:gd name="T14" fmla="*/ 228 w 1270"/>
                  <a:gd name="T15" fmla="*/ 545 h 1298"/>
                  <a:gd name="T16" fmla="*/ 264 w 1270"/>
                  <a:gd name="T17" fmla="*/ 600 h 1298"/>
                  <a:gd name="T18" fmla="*/ 302 w 1270"/>
                  <a:gd name="T19" fmla="*/ 699 h 1298"/>
                  <a:gd name="T20" fmla="*/ 364 w 1270"/>
                  <a:gd name="T21" fmla="*/ 763 h 1298"/>
                  <a:gd name="T22" fmla="*/ 398 w 1270"/>
                  <a:gd name="T23" fmla="*/ 908 h 1298"/>
                  <a:gd name="T24" fmla="*/ 355 w 1270"/>
                  <a:gd name="T25" fmla="*/ 839 h 1298"/>
                  <a:gd name="T26" fmla="*/ 358 w 1270"/>
                  <a:gd name="T27" fmla="*/ 968 h 1298"/>
                  <a:gd name="T28" fmla="*/ 282 w 1270"/>
                  <a:gd name="T29" fmla="*/ 1153 h 1298"/>
                  <a:gd name="T30" fmla="*/ 317 w 1270"/>
                  <a:gd name="T31" fmla="*/ 1190 h 1298"/>
                  <a:gd name="T32" fmla="*/ 380 w 1270"/>
                  <a:gd name="T33" fmla="*/ 1213 h 1298"/>
                  <a:gd name="T34" fmla="*/ 424 w 1270"/>
                  <a:gd name="T35" fmla="*/ 1233 h 1298"/>
                  <a:gd name="T36" fmla="*/ 454 w 1270"/>
                  <a:gd name="T37" fmla="*/ 1247 h 1298"/>
                  <a:gd name="T38" fmla="*/ 528 w 1270"/>
                  <a:gd name="T39" fmla="*/ 1249 h 1298"/>
                  <a:gd name="T40" fmla="*/ 603 w 1270"/>
                  <a:gd name="T41" fmla="*/ 1261 h 1298"/>
                  <a:gd name="T42" fmla="*/ 638 w 1270"/>
                  <a:gd name="T43" fmla="*/ 1279 h 1298"/>
                  <a:gd name="T44" fmla="*/ 683 w 1270"/>
                  <a:gd name="T45" fmla="*/ 1284 h 1298"/>
                  <a:gd name="T46" fmla="*/ 759 w 1270"/>
                  <a:gd name="T47" fmla="*/ 1281 h 1298"/>
                  <a:gd name="T48" fmla="*/ 796 w 1270"/>
                  <a:gd name="T49" fmla="*/ 1169 h 1298"/>
                  <a:gd name="T50" fmla="*/ 904 w 1270"/>
                  <a:gd name="T51" fmla="*/ 1148 h 1298"/>
                  <a:gd name="T52" fmla="*/ 966 w 1270"/>
                  <a:gd name="T53" fmla="*/ 1150 h 1298"/>
                  <a:gd name="T54" fmla="*/ 1077 w 1270"/>
                  <a:gd name="T55" fmla="*/ 1183 h 1298"/>
                  <a:gd name="T56" fmla="*/ 1185 w 1270"/>
                  <a:gd name="T57" fmla="*/ 1102 h 1298"/>
                  <a:gd name="T58" fmla="*/ 1215 w 1270"/>
                  <a:gd name="T59" fmla="*/ 1025 h 1298"/>
                  <a:gd name="T60" fmla="*/ 1148 w 1270"/>
                  <a:gd name="T61" fmla="*/ 952 h 1298"/>
                  <a:gd name="T62" fmla="*/ 1108 w 1270"/>
                  <a:gd name="T63" fmla="*/ 894 h 1298"/>
                  <a:gd name="T64" fmla="*/ 1168 w 1270"/>
                  <a:gd name="T65" fmla="*/ 848 h 1298"/>
                  <a:gd name="T66" fmla="*/ 1153 w 1270"/>
                  <a:gd name="T67" fmla="*/ 776 h 1298"/>
                  <a:gd name="T68" fmla="*/ 1068 w 1270"/>
                  <a:gd name="T69" fmla="*/ 747 h 1298"/>
                  <a:gd name="T70" fmla="*/ 1061 w 1270"/>
                  <a:gd name="T71" fmla="*/ 693 h 1298"/>
                  <a:gd name="T72" fmla="*/ 1120 w 1270"/>
                  <a:gd name="T73" fmla="*/ 610 h 1298"/>
                  <a:gd name="T74" fmla="*/ 1145 w 1270"/>
                  <a:gd name="T75" fmla="*/ 565 h 1298"/>
                  <a:gd name="T76" fmla="*/ 1168 w 1270"/>
                  <a:gd name="T77" fmla="*/ 549 h 1298"/>
                  <a:gd name="T78" fmla="*/ 1209 w 1270"/>
                  <a:gd name="T79" fmla="*/ 466 h 1298"/>
                  <a:gd name="T80" fmla="*/ 1228 w 1270"/>
                  <a:gd name="T81" fmla="*/ 377 h 1298"/>
                  <a:gd name="T82" fmla="*/ 1202 w 1270"/>
                  <a:gd name="T83" fmla="*/ 305 h 1298"/>
                  <a:gd name="T84" fmla="*/ 1154 w 1270"/>
                  <a:gd name="T85" fmla="*/ 300 h 1298"/>
                  <a:gd name="T86" fmla="*/ 1095 w 1270"/>
                  <a:gd name="T87" fmla="*/ 249 h 1298"/>
                  <a:gd name="T88" fmla="*/ 1007 w 1270"/>
                  <a:gd name="T89" fmla="*/ 249 h 1298"/>
                  <a:gd name="T90" fmla="*/ 948 w 1270"/>
                  <a:gd name="T91" fmla="*/ 187 h 1298"/>
                  <a:gd name="T92" fmla="*/ 928 w 1270"/>
                  <a:gd name="T93" fmla="*/ 174 h 1298"/>
                  <a:gd name="T94" fmla="*/ 877 w 1270"/>
                  <a:gd name="T95" fmla="*/ 148 h 1298"/>
                  <a:gd name="T96" fmla="*/ 831 w 1270"/>
                  <a:gd name="T97" fmla="*/ 118 h 1298"/>
                  <a:gd name="T98" fmla="*/ 784 w 1270"/>
                  <a:gd name="T99" fmla="*/ 56 h 1298"/>
                  <a:gd name="T100" fmla="*/ 726 w 1270"/>
                  <a:gd name="T101" fmla="*/ 31 h 1298"/>
                  <a:gd name="T102" fmla="*/ 626 w 1270"/>
                  <a:gd name="T103" fmla="*/ 42 h 1298"/>
                  <a:gd name="T104" fmla="*/ 522 w 1270"/>
                  <a:gd name="T105" fmla="*/ 196 h 1298"/>
                  <a:gd name="T106" fmla="*/ 502 w 1270"/>
                  <a:gd name="T107" fmla="*/ 252 h 1298"/>
                  <a:gd name="T108" fmla="*/ 425 w 1270"/>
                  <a:gd name="T109" fmla="*/ 268 h 1298"/>
                  <a:gd name="T110" fmla="*/ 348 w 1270"/>
                  <a:gd name="T111" fmla="*/ 215 h 1298"/>
                  <a:gd name="T112" fmla="*/ 309 w 1270"/>
                  <a:gd name="T113" fmla="*/ 287 h 1298"/>
                  <a:gd name="T114" fmla="*/ 315 w 1270"/>
                  <a:gd name="T115" fmla="*/ 354 h 1298"/>
                  <a:gd name="T116" fmla="*/ 287 w 1270"/>
                  <a:gd name="T117" fmla="*/ 363 h 1298"/>
                  <a:gd name="T118" fmla="*/ 212 w 1270"/>
                  <a:gd name="T119" fmla="*/ 388 h 129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1270"/>
                  <a:gd name="T181" fmla="*/ 0 h 1298"/>
                  <a:gd name="T182" fmla="*/ 1270 w 1270"/>
                  <a:gd name="T183" fmla="*/ 1298 h 1298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1270" h="1298">
                    <a:moveTo>
                      <a:pt x="212" y="388"/>
                    </a:moveTo>
                    <a:lnTo>
                      <a:pt x="196" y="383"/>
                    </a:lnTo>
                    <a:lnTo>
                      <a:pt x="167" y="340"/>
                    </a:lnTo>
                    <a:lnTo>
                      <a:pt x="133" y="346"/>
                    </a:lnTo>
                    <a:lnTo>
                      <a:pt x="121" y="349"/>
                    </a:lnTo>
                    <a:lnTo>
                      <a:pt x="117" y="367"/>
                    </a:lnTo>
                    <a:lnTo>
                      <a:pt x="96" y="362"/>
                    </a:lnTo>
                    <a:lnTo>
                      <a:pt x="86" y="374"/>
                    </a:lnTo>
                    <a:lnTo>
                      <a:pt x="78" y="362"/>
                    </a:lnTo>
                    <a:lnTo>
                      <a:pt x="31" y="379"/>
                    </a:lnTo>
                    <a:lnTo>
                      <a:pt x="17" y="388"/>
                    </a:lnTo>
                    <a:lnTo>
                      <a:pt x="4" y="388"/>
                    </a:lnTo>
                    <a:lnTo>
                      <a:pt x="0" y="418"/>
                    </a:lnTo>
                    <a:lnTo>
                      <a:pt x="20" y="411"/>
                    </a:lnTo>
                    <a:lnTo>
                      <a:pt x="32" y="413"/>
                    </a:lnTo>
                    <a:lnTo>
                      <a:pt x="44" y="411"/>
                    </a:lnTo>
                    <a:lnTo>
                      <a:pt x="40" y="425"/>
                    </a:lnTo>
                    <a:lnTo>
                      <a:pt x="20" y="432"/>
                    </a:lnTo>
                    <a:lnTo>
                      <a:pt x="44" y="439"/>
                    </a:lnTo>
                    <a:lnTo>
                      <a:pt x="47" y="455"/>
                    </a:lnTo>
                    <a:lnTo>
                      <a:pt x="10" y="460"/>
                    </a:lnTo>
                    <a:lnTo>
                      <a:pt x="11" y="467"/>
                    </a:lnTo>
                    <a:lnTo>
                      <a:pt x="28" y="471"/>
                    </a:lnTo>
                    <a:lnTo>
                      <a:pt x="40" y="478"/>
                    </a:lnTo>
                    <a:lnTo>
                      <a:pt x="42" y="496"/>
                    </a:lnTo>
                    <a:lnTo>
                      <a:pt x="82" y="485"/>
                    </a:lnTo>
                    <a:lnTo>
                      <a:pt x="91" y="501"/>
                    </a:lnTo>
                    <a:lnTo>
                      <a:pt x="106" y="501"/>
                    </a:lnTo>
                    <a:lnTo>
                      <a:pt x="170" y="529"/>
                    </a:lnTo>
                    <a:lnTo>
                      <a:pt x="191" y="545"/>
                    </a:lnTo>
                    <a:lnTo>
                      <a:pt x="215" y="535"/>
                    </a:lnTo>
                    <a:lnTo>
                      <a:pt x="228" y="545"/>
                    </a:lnTo>
                    <a:lnTo>
                      <a:pt x="217" y="570"/>
                    </a:lnTo>
                    <a:lnTo>
                      <a:pt x="226" y="582"/>
                    </a:lnTo>
                    <a:lnTo>
                      <a:pt x="249" y="591"/>
                    </a:lnTo>
                    <a:lnTo>
                      <a:pt x="264" y="600"/>
                    </a:lnTo>
                    <a:lnTo>
                      <a:pt x="274" y="612"/>
                    </a:lnTo>
                    <a:lnTo>
                      <a:pt x="262" y="640"/>
                    </a:lnTo>
                    <a:lnTo>
                      <a:pt x="279" y="662"/>
                    </a:lnTo>
                    <a:lnTo>
                      <a:pt x="302" y="699"/>
                    </a:lnTo>
                    <a:lnTo>
                      <a:pt x="333" y="706"/>
                    </a:lnTo>
                    <a:lnTo>
                      <a:pt x="346" y="720"/>
                    </a:lnTo>
                    <a:lnTo>
                      <a:pt x="355" y="739"/>
                    </a:lnTo>
                    <a:lnTo>
                      <a:pt x="364" y="763"/>
                    </a:lnTo>
                    <a:lnTo>
                      <a:pt x="350" y="795"/>
                    </a:lnTo>
                    <a:lnTo>
                      <a:pt x="348" y="811"/>
                    </a:lnTo>
                    <a:lnTo>
                      <a:pt x="387" y="864"/>
                    </a:lnTo>
                    <a:lnTo>
                      <a:pt x="398" y="908"/>
                    </a:lnTo>
                    <a:lnTo>
                      <a:pt x="391" y="894"/>
                    </a:lnTo>
                    <a:lnTo>
                      <a:pt x="381" y="869"/>
                    </a:lnTo>
                    <a:lnTo>
                      <a:pt x="360" y="848"/>
                    </a:lnTo>
                    <a:lnTo>
                      <a:pt x="355" y="839"/>
                    </a:lnTo>
                    <a:lnTo>
                      <a:pt x="344" y="892"/>
                    </a:lnTo>
                    <a:lnTo>
                      <a:pt x="339" y="966"/>
                    </a:lnTo>
                    <a:lnTo>
                      <a:pt x="350" y="950"/>
                    </a:lnTo>
                    <a:lnTo>
                      <a:pt x="358" y="968"/>
                    </a:lnTo>
                    <a:lnTo>
                      <a:pt x="342" y="975"/>
                    </a:lnTo>
                    <a:lnTo>
                      <a:pt x="317" y="1122"/>
                    </a:lnTo>
                    <a:lnTo>
                      <a:pt x="299" y="1146"/>
                    </a:lnTo>
                    <a:lnTo>
                      <a:pt x="282" y="1153"/>
                    </a:lnTo>
                    <a:lnTo>
                      <a:pt x="303" y="1169"/>
                    </a:lnTo>
                    <a:lnTo>
                      <a:pt x="324" y="1168"/>
                    </a:lnTo>
                    <a:lnTo>
                      <a:pt x="327" y="1175"/>
                    </a:lnTo>
                    <a:lnTo>
                      <a:pt x="317" y="1190"/>
                    </a:lnTo>
                    <a:lnTo>
                      <a:pt x="321" y="1198"/>
                    </a:lnTo>
                    <a:lnTo>
                      <a:pt x="328" y="1199"/>
                    </a:lnTo>
                    <a:lnTo>
                      <a:pt x="333" y="1192"/>
                    </a:lnTo>
                    <a:lnTo>
                      <a:pt x="380" y="1213"/>
                    </a:lnTo>
                    <a:lnTo>
                      <a:pt x="388" y="1210"/>
                    </a:lnTo>
                    <a:lnTo>
                      <a:pt x="410" y="1235"/>
                    </a:lnTo>
                    <a:lnTo>
                      <a:pt x="413" y="1229"/>
                    </a:lnTo>
                    <a:lnTo>
                      <a:pt x="424" y="1233"/>
                    </a:lnTo>
                    <a:lnTo>
                      <a:pt x="429" y="1228"/>
                    </a:lnTo>
                    <a:lnTo>
                      <a:pt x="449" y="1236"/>
                    </a:lnTo>
                    <a:lnTo>
                      <a:pt x="450" y="1240"/>
                    </a:lnTo>
                    <a:lnTo>
                      <a:pt x="454" y="1247"/>
                    </a:lnTo>
                    <a:lnTo>
                      <a:pt x="487" y="1245"/>
                    </a:lnTo>
                    <a:lnTo>
                      <a:pt x="489" y="1252"/>
                    </a:lnTo>
                    <a:lnTo>
                      <a:pt x="503" y="1249"/>
                    </a:lnTo>
                    <a:lnTo>
                      <a:pt x="528" y="1249"/>
                    </a:lnTo>
                    <a:lnTo>
                      <a:pt x="527" y="1229"/>
                    </a:lnTo>
                    <a:lnTo>
                      <a:pt x="543" y="1229"/>
                    </a:lnTo>
                    <a:lnTo>
                      <a:pt x="598" y="1249"/>
                    </a:lnTo>
                    <a:lnTo>
                      <a:pt x="603" y="1261"/>
                    </a:lnTo>
                    <a:lnTo>
                      <a:pt x="604" y="1281"/>
                    </a:lnTo>
                    <a:lnTo>
                      <a:pt x="612" y="1286"/>
                    </a:lnTo>
                    <a:lnTo>
                      <a:pt x="628" y="1281"/>
                    </a:lnTo>
                    <a:lnTo>
                      <a:pt x="638" y="1279"/>
                    </a:lnTo>
                    <a:lnTo>
                      <a:pt x="653" y="1284"/>
                    </a:lnTo>
                    <a:lnTo>
                      <a:pt x="654" y="1293"/>
                    </a:lnTo>
                    <a:lnTo>
                      <a:pt x="665" y="1295"/>
                    </a:lnTo>
                    <a:lnTo>
                      <a:pt x="683" y="1284"/>
                    </a:lnTo>
                    <a:lnTo>
                      <a:pt x="702" y="1296"/>
                    </a:lnTo>
                    <a:lnTo>
                      <a:pt x="723" y="1298"/>
                    </a:lnTo>
                    <a:lnTo>
                      <a:pt x="724" y="1289"/>
                    </a:lnTo>
                    <a:lnTo>
                      <a:pt x="759" y="1281"/>
                    </a:lnTo>
                    <a:lnTo>
                      <a:pt x="773" y="1286"/>
                    </a:lnTo>
                    <a:lnTo>
                      <a:pt x="764" y="1229"/>
                    </a:lnTo>
                    <a:lnTo>
                      <a:pt x="770" y="1205"/>
                    </a:lnTo>
                    <a:lnTo>
                      <a:pt x="796" y="1169"/>
                    </a:lnTo>
                    <a:lnTo>
                      <a:pt x="812" y="1153"/>
                    </a:lnTo>
                    <a:lnTo>
                      <a:pt x="843" y="1130"/>
                    </a:lnTo>
                    <a:lnTo>
                      <a:pt x="870" y="1127"/>
                    </a:lnTo>
                    <a:lnTo>
                      <a:pt x="904" y="1148"/>
                    </a:lnTo>
                    <a:lnTo>
                      <a:pt x="926" y="1152"/>
                    </a:lnTo>
                    <a:lnTo>
                      <a:pt x="936" y="1146"/>
                    </a:lnTo>
                    <a:lnTo>
                      <a:pt x="951" y="1145"/>
                    </a:lnTo>
                    <a:lnTo>
                      <a:pt x="966" y="1150"/>
                    </a:lnTo>
                    <a:lnTo>
                      <a:pt x="1003" y="1182"/>
                    </a:lnTo>
                    <a:lnTo>
                      <a:pt x="1023" y="1192"/>
                    </a:lnTo>
                    <a:lnTo>
                      <a:pt x="1042" y="1194"/>
                    </a:lnTo>
                    <a:lnTo>
                      <a:pt x="1077" y="1183"/>
                    </a:lnTo>
                    <a:lnTo>
                      <a:pt x="1091" y="1182"/>
                    </a:lnTo>
                    <a:lnTo>
                      <a:pt x="1109" y="1176"/>
                    </a:lnTo>
                    <a:lnTo>
                      <a:pt x="1148" y="1134"/>
                    </a:lnTo>
                    <a:lnTo>
                      <a:pt x="1185" y="1102"/>
                    </a:lnTo>
                    <a:lnTo>
                      <a:pt x="1195" y="1088"/>
                    </a:lnTo>
                    <a:lnTo>
                      <a:pt x="1210" y="1074"/>
                    </a:lnTo>
                    <a:lnTo>
                      <a:pt x="1217" y="1044"/>
                    </a:lnTo>
                    <a:lnTo>
                      <a:pt x="1215" y="1025"/>
                    </a:lnTo>
                    <a:lnTo>
                      <a:pt x="1177" y="1030"/>
                    </a:lnTo>
                    <a:lnTo>
                      <a:pt x="1144" y="1005"/>
                    </a:lnTo>
                    <a:lnTo>
                      <a:pt x="1135" y="977"/>
                    </a:lnTo>
                    <a:lnTo>
                      <a:pt x="1148" y="952"/>
                    </a:lnTo>
                    <a:lnTo>
                      <a:pt x="1157" y="952"/>
                    </a:lnTo>
                    <a:lnTo>
                      <a:pt x="1152" y="929"/>
                    </a:lnTo>
                    <a:lnTo>
                      <a:pt x="1123" y="917"/>
                    </a:lnTo>
                    <a:lnTo>
                      <a:pt x="1108" y="894"/>
                    </a:lnTo>
                    <a:lnTo>
                      <a:pt x="1128" y="882"/>
                    </a:lnTo>
                    <a:lnTo>
                      <a:pt x="1135" y="890"/>
                    </a:lnTo>
                    <a:lnTo>
                      <a:pt x="1158" y="866"/>
                    </a:lnTo>
                    <a:lnTo>
                      <a:pt x="1168" y="848"/>
                    </a:lnTo>
                    <a:lnTo>
                      <a:pt x="1149" y="836"/>
                    </a:lnTo>
                    <a:lnTo>
                      <a:pt x="1148" y="818"/>
                    </a:lnTo>
                    <a:lnTo>
                      <a:pt x="1124" y="795"/>
                    </a:lnTo>
                    <a:lnTo>
                      <a:pt x="1153" y="776"/>
                    </a:lnTo>
                    <a:lnTo>
                      <a:pt x="1148" y="747"/>
                    </a:lnTo>
                    <a:lnTo>
                      <a:pt x="1133" y="693"/>
                    </a:lnTo>
                    <a:lnTo>
                      <a:pt x="1107" y="702"/>
                    </a:lnTo>
                    <a:lnTo>
                      <a:pt x="1068" y="747"/>
                    </a:lnTo>
                    <a:lnTo>
                      <a:pt x="1052" y="740"/>
                    </a:lnTo>
                    <a:lnTo>
                      <a:pt x="1064" y="725"/>
                    </a:lnTo>
                    <a:lnTo>
                      <a:pt x="1064" y="704"/>
                    </a:lnTo>
                    <a:lnTo>
                      <a:pt x="1061" y="693"/>
                    </a:lnTo>
                    <a:lnTo>
                      <a:pt x="1064" y="674"/>
                    </a:lnTo>
                    <a:lnTo>
                      <a:pt x="1096" y="648"/>
                    </a:lnTo>
                    <a:lnTo>
                      <a:pt x="1093" y="626"/>
                    </a:lnTo>
                    <a:lnTo>
                      <a:pt x="1120" y="610"/>
                    </a:lnTo>
                    <a:lnTo>
                      <a:pt x="1120" y="605"/>
                    </a:lnTo>
                    <a:lnTo>
                      <a:pt x="1144" y="573"/>
                    </a:lnTo>
                    <a:lnTo>
                      <a:pt x="1152" y="570"/>
                    </a:lnTo>
                    <a:lnTo>
                      <a:pt x="1145" y="565"/>
                    </a:lnTo>
                    <a:lnTo>
                      <a:pt x="1140" y="563"/>
                    </a:lnTo>
                    <a:lnTo>
                      <a:pt x="1148" y="542"/>
                    </a:lnTo>
                    <a:lnTo>
                      <a:pt x="1169" y="543"/>
                    </a:lnTo>
                    <a:lnTo>
                      <a:pt x="1168" y="549"/>
                    </a:lnTo>
                    <a:lnTo>
                      <a:pt x="1190" y="550"/>
                    </a:lnTo>
                    <a:lnTo>
                      <a:pt x="1206" y="529"/>
                    </a:lnTo>
                    <a:lnTo>
                      <a:pt x="1201" y="513"/>
                    </a:lnTo>
                    <a:lnTo>
                      <a:pt x="1209" y="466"/>
                    </a:lnTo>
                    <a:lnTo>
                      <a:pt x="1206" y="462"/>
                    </a:lnTo>
                    <a:lnTo>
                      <a:pt x="1209" y="441"/>
                    </a:lnTo>
                    <a:lnTo>
                      <a:pt x="1222" y="416"/>
                    </a:lnTo>
                    <a:lnTo>
                      <a:pt x="1228" y="377"/>
                    </a:lnTo>
                    <a:lnTo>
                      <a:pt x="1270" y="323"/>
                    </a:lnTo>
                    <a:lnTo>
                      <a:pt x="1243" y="310"/>
                    </a:lnTo>
                    <a:lnTo>
                      <a:pt x="1222" y="312"/>
                    </a:lnTo>
                    <a:lnTo>
                      <a:pt x="1202" y="305"/>
                    </a:lnTo>
                    <a:lnTo>
                      <a:pt x="1197" y="293"/>
                    </a:lnTo>
                    <a:lnTo>
                      <a:pt x="1186" y="293"/>
                    </a:lnTo>
                    <a:lnTo>
                      <a:pt x="1184" y="296"/>
                    </a:lnTo>
                    <a:lnTo>
                      <a:pt x="1154" y="300"/>
                    </a:lnTo>
                    <a:lnTo>
                      <a:pt x="1152" y="289"/>
                    </a:lnTo>
                    <a:lnTo>
                      <a:pt x="1135" y="294"/>
                    </a:lnTo>
                    <a:lnTo>
                      <a:pt x="1101" y="254"/>
                    </a:lnTo>
                    <a:lnTo>
                      <a:pt x="1095" y="249"/>
                    </a:lnTo>
                    <a:lnTo>
                      <a:pt x="1070" y="249"/>
                    </a:lnTo>
                    <a:lnTo>
                      <a:pt x="1042" y="243"/>
                    </a:lnTo>
                    <a:lnTo>
                      <a:pt x="1037" y="236"/>
                    </a:lnTo>
                    <a:lnTo>
                      <a:pt x="1007" y="249"/>
                    </a:lnTo>
                    <a:lnTo>
                      <a:pt x="1002" y="233"/>
                    </a:lnTo>
                    <a:lnTo>
                      <a:pt x="970" y="204"/>
                    </a:lnTo>
                    <a:lnTo>
                      <a:pt x="947" y="203"/>
                    </a:lnTo>
                    <a:lnTo>
                      <a:pt x="948" y="187"/>
                    </a:lnTo>
                    <a:lnTo>
                      <a:pt x="943" y="174"/>
                    </a:lnTo>
                    <a:lnTo>
                      <a:pt x="947" y="148"/>
                    </a:lnTo>
                    <a:lnTo>
                      <a:pt x="936" y="153"/>
                    </a:lnTo>
                    <a:lnTo>
                      <a:pt x="928" y="174"/>
                    </a:lnTo>
                    <a:lnTo>
                      <a:pt x="891" y="181"/>
                    </a:lnTo>
                    <a:lnTo>
                      <a:pt x="877" y="174"/>
                    </a:lnTo>
                    <a:lnTo>
                      <a:pt x="882" y="160"/>
                    </a:lnTo>
                    <a:lnTo>
                      <a:pt x="877" y="148"/>
                    </a:lnTo>
                    <a:lnTo>
                      <a:pt x="884" y="132"/>
                    </a:lnTo>
                    <a:lnTo>
                      <a:pt x="867" y="120"/>
                    </a:lnTo>
                    <a:lnTo>
                      <a:pt x="842" y="116"/>
                    </a:lnTo>
                    <a:lnTo>
                      <a:pt x="831" y="118"/>
                    </a:lnTo>
                    <a:lnTo>
                      <a:pt x="824" y="97"/>
                    </a:lnTo>
                    <a:lnTo>
                      <a:pt x="800" y="98"/>
                    </a:lnTo>
                    <a:lnTo>
                      <a:pt x="793" y="88"/>
                    </a:lnTo>
                    <a:lnTo>
                      <a:pt x="784" y="56"/>
                    </a:lnTo>
                    <a:lnTo>
                      <a:pt x="776" y="46"/>
                    </a:lnTo>
                    <a:lnTo>
                      <a:pt x="752" y="65"/>
                    </a:lnTo>
                    <a:lnTo>
                      <a:pt x="740" y="56"/>
                    </a:lnTo>
                    <a:lnTo>
                      <a:pt x="726" y="31"/>
                    </a:lnTo>
                    <a:lnTo>
                      <a:pt x="716" y="0"/>
                    </a:lnTo>
                    <a:lnTo>
                      <a:pt x="710" y="7"/>
                    </a:lnTo>
                    <a:lnTo>
                      <a:pt x="670" y="13"/>
                    </a:lnTo>
                    <a:lnTo>
                      <a:pt x="626" y="42"/>
                    </a:lnTo>
                    <a:lnTo>
                      <a:pt x="621" y="81"/>
                    </a:lnTo>
                    <a:lnTo>
                      <a:pt x="622" y="134"/>
                    </a:lnTo>
                    <a:lnTo>
                      <a:pt x="596" y="167"/>
                    </a:lnTo>
                    <a:lnTo>
                      <a:pt x="522" y="196"/>
                    </a:lnTo>
                    <a:lnTo>
                      <a:pt x="489" y="217"/>
                    </a:lnTo>
                    <a:lnTo>
                      <a:pt x="481" y="229"/>
                    </a:lnTo>
                    <a:lnTo>
                      <a:pt x="478" y="243"/>
                    </a:lnTo>
                    <a:lnTo>
                      <a:pt x="502" y="252"/>
                    </a:lnTo>
                    <a:lnTo>
                      <a:pt x="474" y="270"/>
                    </a:lnTo>
                    <a:lnTo>
                      <a:pt x="450" y="277"/>
                    </a:lnTo>
                    <a:lnTo>
                      <a:pt x="447" y="277"/>
                    </a:lnTo>
                    <a:lnTo>
                      <a:pt x="425" y="268"/>
                    </a:lnTo>
                    <a:lnTo>
                      <a:pt x="370" y="261"/>
                    </a:lnTo>
                    <a:lnTo>
                      <a:pt x="355" y="270"/>
                    </a:lnTo>
                    <a:lnTo>
                      <a:pt x="343" y="241"/>
                    </a:lnTo>
                    <a:lnTo>
                      <a:pt x="348" y="215"/>
                    </a:lnTo>
                    <a:lnTo>
                      <a:pt x="321" y="222"/>
                    </a:lnTo>
                    <a:lnTo>
                      <a:pt x="279" y="213"/>
                    </a:lnTo>
                    <a:lnTo>
                      <a:pt x="284" y="241"/>
                    </a:lnTo>
                    <a:lnTo>
                      <a:pt x="309" y="287"/>
                    </a:lnTo>
                    <a:lnTo>
                      <a:pt x="315" y="286"/>
                    </a:lnTo>
                    <a:lnTo>
                      <a:pt x="317" y="316"/>
                    </a:lnTo>
                    <a:lnTo>
                      <a:pt x="314" y="339"/>
                    </a:lnTo>
                    <a:lnTo>
                      <a:pt x="315" y="354"/>
                    </a:lnTo>
                    <a:lnTo>
                      <a:pt x="327" y="369"/>
                    </a:lnTo>
                    <a:lnTo>
                      <a:pt x="314" y="376"/>
                    </a:lnTo>
                    <a:lnTo>
                      <a:pt x="289" y="379"/>
                    </a:lnTo>
                    <a:lnTo>
                      <a:pt x="287" y="363"/>
                    </a:lnTo>
                    <a:lnTo>
                      <a:pt x="266" y="372"/>
                    </a:lnTo>
                    <a:lnTo>
                      <a:pt x="254" y="381"/>
                    </a:lnTo>
                    <a:lnTo>
                      <a:pt x="241" y="369"/>
                    </a:lnTo>
                    <a:lnTo>
                      <a:pt x="212" y="388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30" name="Freeform 218"/>
              <p:cNvSpPr>
                <a:spLocks/>
              </p:cNvSpPr>
              <p:nvPr>
                <p:custDataLst>
                  <p:tags r:id="rId155"/>
                </p:custDataLst>
              </p:nvPr>
            </p:nvSpPr>
            <p:spPr bwMode="auto">
              <a:xfrm>
                <a:off x="2822" y="1985"/>
                <a:ext cx="14" cy="33"/>
              </a:xfrm>
              <a:custGeom>
                <a:avLst/>
                <a:gdLst>
                  <a:gd name="T0" fmla="*/ 49 w 97"/>
                  <a:gd name="T1" fmla="*/ 50 h 230"/>
                  <a:gd name="T2" fmla="*/ 37 w 97"/>
                  <a:gd name="T3" fmla="*/ 52 h 230"/>
                  <a:gd name="T4" fmla="*/ 10 w 97"/>
                  <a:gd name="T5" fmla="*/ 71 h 230"/>
                  <a:gd name="T6" fmla="*/ 0 w 97"/>
                  <a:gd name="T7" fmla="*/ 89 h 230"/>
                  <a:gd name="T8" fmla="*/ 12 w 97"/>
                  <a:gd name="T9" fmla="*/ 103 h 230"/>
                  <a:gd name="T10" fmla="*/ 1 w 97"/>
                  <a:gd name="T11" fmla="*/ 110 h 230"/>
                  <a:gd name="T12" fmla="*/ 0 w 97"/>
                  <a:gd name="T13" fmla="*/ 120 h 230"/>
                  <a:gd name="T14" fmla="*/ 12 w 97"/>
                  <a:gd name="T15" fmla="*/ 126 h 230"/>
                  <a:gd name="T16" fmla="*/ 16 w 97"/>
                  <a:gd name="T17" fmla="*/ 134 h 230"/>
                  <a:gd name="T18" fmla="*/ 9 w 97"/>
                  <a:gd name="T19" fmla="*/ 145 h 230"/>
                  <a:gd name="T20" fmla="*/ 3 w 97"/>
                  <a:gd name="T21" fmla="*/ 147 h 230"/>
                  <a:gd name="T22" fmla="*/ 5 w 97"/>
                  <a:gd name="T23" fmla="*/ 156 h 230"/>
                  <a:gd name="T24" fmla="*/ 17 w 97"/>
                  <a:gd name="T25" fmla="*/ 150 h 230"/>
                  <a:gd name="T26" fmla="*/ 24 w 97"/>
                  <a:gd name="T27" fmla="*/ 156 h 230"/>
                  <a:gd name="T28" fmla="*/ 12 w 97"/>
                  <a:gd name="T29" fmla="*/ 177 h 230"/>
                  <a:gd name="T30" fmla="*/ 32 w 97"/>
                  <a:gd name="T31" fmla="*/ 182 h 230"/>
                  <a:gd name="T32" fmla="*/ 34 w 97"/>
                  <a:gd name="T33" fmla="*/ 187 h 230"/>
                  <a:gd name="T34" fmla="*/ 22 w 97"/>
                  <a:gd name="T35" fmla="*/ 200 h 230"/>
                  <a:gd name="T36" fmla="*/ 32 w 97"/>
                  <a:gd name="T37" fmla="*/ 210 h 230"/>
                  <a:gd name="T38" fmla="*/ 50 w 97"/>
                  <a:gd name="T39" fmla="*/ 214 h 230"/>
                  <a:gd name="T40" fmla="*/ 52 w 97"/>
                  <a:gd name="T41" fmla="*/ 226 h 230"/>
                  <a:gd name="T42" fmla="*/ 65 w 97"/>
                  <a:gd name="T43" fmla="*/ 230 h 230"/>
                  <a:gd name="T44" fmla="*/ 78 w 97"/>
                  <a:gd name="T45" fmla="*/ 198 h 230"/>
                  <a:gd name="T46" fmla="*/ 83 w 97"/>
                  <a:gd name="T47" fmla="*/ 152 h 230"/>
                  <a:gd name="T48" fmla="*/ 94 w 97"/>
                  <a:gd name="T49" fmla="*/ 133 h 230"/>
                  <a:gd name="T50" fmla="*/ 97 w 97"/>
                  <a:gd name="T51" fmla="*/ 82 h 230"/>
                  <a:gd name="T52" fmla="*/ 94 w 97"/>
                  <a:gd name="T53" fmla="*/ 60 h 230"/>
                  <a:gd name="T54" fmla="*/ 89 w 97"/>
                  <a:gd name="T55" fmla="*/ 57 h 230"/>
                  <a:gd name="T56" fmla="*/ 90 w 97"/>
                  <a:gd name="T57" fmla="*/ 27 h 230"/>
                  <a:gd name="T58" fmla="*/ 89 w 97"/>
                  <a:gd name="T59" fmla="*/ 11 h 230"/>
                  <a:gd name="T60" fmla="*/ 85 w 97"/>
                  <a:gd name="T61" fmla="*/ 0 h 230"/>
                  <a:gd name="T62" fmla="*/ 78 w 97"/>
                  <a:gd name="T63" fmla="*/ 0 h 230"/>
                  <a:gd name="T64" fmla="*/ 75 w 97"/>
                  <a:gd name="T65" fmla="*/ 14 h 230"/>
                  <a:gd name="T66" fmla="*/ 75 w 97"/>
                  <a:gd name="T67" fmla="*/ 36 h 230"/>
                  <a:gd name="T68" fmla="*/ 71 w 97"/>
                  <a:gd name="T69" fmla="*/ 46 h 230"/>
                  <a:gd name="T70" fmla="*/ 64 w 97"/>
                  <a:gd name="T71" fmla="*/ 39 h 230"/>
                  <a:gd name="T72" fmla="*/ 50 w 97"/>
                  <a:gd name="T73" fmla="*/ 41 h 230"/>
                  <a:gd name="T74" fmla="*/ 49 w 97"/>
                  <a:gd name="T75" fmla="*/ 50 h 230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97"/>
                  <a:gd name="T115" fmla="*/ 0 h 230"/>
                  <a:gd name="T116" fmla="*/ 97 w 97"/>
                  <a:gd name="T117" fmla="*/ 230 h 230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97" h="230">
                    <a:moveTo>
                      <a:pt x="49" y="50"/>
                    </a:moveTo>
                    <a:lnTo>
                      <a:pt x="37" y="52"/>
                    </a:lnTo>
                    <a:lnTo>
                      <a:pt x="10" y="71"/>
                    </a:lnTo>
                    <a:lnTo>
                      <a:pt x="0" y="89"/>
                    </a:lnTo>
                    <a:lnTo>
                      <a:pt x="12" y="103"/>
                    </a:lnTo>
                    <a:lnTo>
                      <a:pt x="1" y="110"/>
                    </a:lnTo>
                    <a:lnTo>
                      <a:pt x="0" y="120"/>
                    </a:lnTo>
                    <a:lnTo>
                      <a:pt x="12" y="126"/>
                    </a:lnTo>
                    <a:lnTo>
                      <a:pt x="16" y="134"/>
                    </a:lnTo>
                    <a:lnTo>
                      <a:pt x="9" y="145"/>
                    </a:lnTo>
                    <a:lnTo>
                      <a:pt x="3" y="147"/>
                    </a:lnTo>
                    <a:lnTo>
                      <a:pt x="5" y="156"/>
                    </a:lnTo>
                    <a:lnTo>
                      <a:pt x="17" y="150"/>
                    </a:lnTo>
                    <a:lnTo>
                      <a:pt x="24" y="156"/>
                    </a:lnTo>
                    <a:lnTo>
                      <a:pt x="12" y="177"/>
                    </a:lnTo>
                    <a:lnTo>
                      <a:pt x="32" y="182"/>
                    </a:lnTo>
                    <a:lnTo>
                      <a:pt x="34" y="187"/>
                    </a:lnTo>
                    <a:lnTo>
                      <a:pt x="22" y="200"/>
                    </a:lnTo>
                    <a:lnTo>
                      <a:pt x="32" y="210"/>
                    </a:lnTo>
                    <a:lnTo>
                      <a:pt x="50" y="214"/>
                    </a:lnTo>
                    <a:lnTo>
                      <a:pt x="52" y="226"/>
                    </a:lnTo>
                    <a:lnTo>
                      <a:pt x="65" y="230"/>
                    </a:lnTo>
                    <a:lnTo>
                      <a:pt x="78" y="198"/>
                    </a:lnTo>
                    <a:lnTo>
                      <a:pt x="83" y="152"/>
                    </a:lnTo>
                    <a:lnTo>
                      <a:pt x="94" y="133"/>
                    </a:lnTo>
                    <a:lnTo>
                      <a:pt x="97" y="82"/>
                    </a:lnTo>
                    <a:lnTo>
                      <a:pt x="94" y="60"/>
                    </a:lnTo>
                    <a:lnTo>
                      <a:pt x="89" y="57"/>
                    </a:lnTo>
                    <a:lnTo>
                      <a:pt x="90" y="27"/>
                    </a:lnTo>
                    <a:lnTo>
                      <a:pt x="89" y="11"/>
                    </a:lnTo>
                    <a:lnTo>
                      <a:pt x="85" y="0"/>
                    </a:lnTo>
                    <a:lnTo>
                      <a:pt x="78" y="0"/>
                    </a:lnTo>
                    <a:lnTo>
                      <a:pt x="75" y="14"/>
                    </a:lnTo>
                    <a:lnTo>
                      <a:pt x="75" y="36"/>
                    </a:lnTo>
                    <a:lnTo>
                      <a:pt x="71" y="46"/>
                    </a:lnTo>
                    <a:lnTo>
                      <a:pt x="64" y="39"/>
                    </a:lnTo>
                    <a:lnTo>
                      <a:pt x="50" y="41"/>
                    </a:lnTo>
                    <a:lnTo>
                      <a:pt x="49" y="50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31" name="Freeform 219"/>
              <p:cNvSpPr>
                <a:spLocks/>
              </p:cNvSpPr>
              <p:nvPr>
                <p:custDataLst>
                  <p:tags r:id="rId156"/>
                </p:custDataLst>
              </p:nvPr>
            </p:nvSpPr>
            <p:spPr bwMode="auto">
              <a:xfrm>
                <a:off x="2341" y="1414"/>
                <a:ext cx="157" cy="87"/>
              </a:xfrm>
              <a:custGeom>
                <a:avLst/>
                <a:gdLst>
                  <a:gd name="T0" fmla="*/ 415 w 1048"/>
                  <a:gd name="T1" fmla="*/ 66 h 593"/>
                  <a:gd name="T2" fmla="*/ 399 w 1048"/>
                  <a:gd name="T3" fmla="*/ 156 h 593"/>
                  <a:gd name="T4" fmla="*/ 375 w 1048"/>
                  <a:gd name="T5" fmla="*/ 189 h 593"/>
                  <a:gd name="T6" fmla="*/ 332 w 1048"/>
                  <a:gd name="T7" fmla="*/ 209 h 593"/>
                  <a:gd name="T8" fmla="*/ 267 w 1048"/>
                  <a:gd name="T9" fmla="*/ 172 h 593"/>
                  <a:gd name="T10" fmla="*/ 291 w 1048"/>
                  <a:gd name="T11" fmla="*/ 110 h 593"/>
                  <a:gd name="T12" fmla="*/ 239 w 1048"/>
                  <a:gd name="T13" fmla="*/ 39 h 593"/>
                  <a:gd name="T14" fmla="*/ 152 w 1048"/>
                  <a:gd name="T15" fmla="*/ 11 h 593"/>
                  <a:gd name="T16" fmla="*/ 161 w 1048"/>
                  <a:gd name="T17" fmla="*/ 66 h 593"/>
                  <a:gd name="T18" fmla="*/ 157 w 1048"/>
                  <a:gd name="T19" fmla="*/ 103 h 593"/>
                  <a:gd name="T20" fmla="*/ 86 w 1048"/>
                  <a:gd name="T21" fmla="*/ 62 h 593"/>
                  <a:gd name="T22" fmla="*/ 59 w 1048"/>
                  <a:gd name="T23" fmla="*/ 92 h 593"/>
                  <a:gd name="T24" fmla="*/ 93 w 1048"/>
                  <a:gd name="T25" fmla="*/ 140 h 593"/>
                  <a:gd name="T26" fmla="*/ 23 w 1048"/>
                  <a:gd name="T27" fmla="*/ 149 h 593"/>
                  <a:gd name="T28" fmla="*/ 0 w 1048"/>
                  <a:gd name="T29" fmla="*/ 177 h 593"/>
                  <a:gd name="T30" fmla="*/ 52 w 1048"/>
                  <a:gd name="T31" fmla="*/ 219 h 593"/>
                  <a:gd name="T32" fmla="*/ 100 w 1048"/>
                  <a:gd name="T33" fmla="*/ 198 h 593"/>
                  <a:gd name="T34" fmla="*/ 181 w 1048"/>
                  <a:gd name="T35" fmla="*/ 193 h 593"/>
                  <a:gd name="T36" fmla="*/ 221 w 1048"/>
                  <a:gd name="T37" fmla="*/ 207 h 593"/>
                  <a:gd name="T38" fmla="*/ 243 w 1048"/>
                  <a:gd name="T39" fmla="*/ 244 h 593"/>
                  <a:gd name="T40" fmla="*/ 219 w 1048"/>
                  <a:gd name="T41" fmla="*/ 288 h 593"/>
                  <a:gd name="T42" fmla="*/ 105 w 1048"/>
                  <a:gd name="T43" fmla="*/ 307 h 593"/>
                  <a:gd name="T44" fmla="*/ 59 w 1048"/>
                  <a:gd name="T45" fmla="*/ 327 h 593"/>
                  <a:gd name="T46" fmla="*/ 70 w 1048"/>
                  <a:gd name="T47" fmla="*/ 362 h 593"/>
                  <a:gd name="T48" fmla="*/ 178 w 1048"/>
                  <a:gd name="T49" fmla="*/ 343 h 593"/>
                  <a:gd name="T50" fmla="*/ 209 w 1048"/>
                  <a:gd name="T51" fmla="*/ 385 h 593"/>
                  <a:gd name="T52" fmla="*/ 267 w 1048"/>
                  <a:gd name="T53" fmla="*/ 398 h 593"/>
                  <a:gd name="T54" fmla="*/ 186 w 1048"/>
                  <a:gd name="T55" fmla="*/ 475 h 593"/>
                  <a:gd name="T56" fmla="*/ 181 w 1048"/>
                  <a:gd name="T57" fmla="*/ 509 h 593"/>
                  <a:gd name="T58" fmla="*/ 326 w 1048"/>
                  <a:gd name="T59" fmla="*/ 516 h 593"/>
                  <a:gd name="T60" fmla="*/ 430 w 1048"/>
                  <a:gd name="T61" fmla="*/ 564 h 593"/>
                  <a:gd name="T62" fmla="*/ 514 w 1048"/>
                  <a:gd name="T63" fmla="*/ 591 h 593"/>
                  <a:gd name="T64" fmla="*/ 594 w 1048"/>
                  <a:gd name="T65" fmla="*/ 586 h 593"/>
                  <a:gd name="T66" fmla="*/ 649 w 1048"/>
                  <a:gd name="T67" fmla="*/ 525 h 593"/>
                  <a:gd name="T68" fmla="*/ 716 w 1048"/>
                  <a:gd name="T69" fmla="*/ 516 h 593"/>
                  <a:gd name="T70" fmla="*/ 840 w 1048"/>
                  <a:gd name="T71" fmla="*/ 456 h 593"/>
                  <a:gd name="T72" fmla="*/ 896 w 1048"/>
                  <a:gd name="T73" fmla="*/ 428 h 593"/>
                  <a:gd name="T74" fmla="*/ 943 w 1048"/>
                  <a:gd name="T75" fmla="*/ 417 h 593"/>
                  <a:gd name="T76" fmla="*/ 967 w 1048"/>
                  <a:gd name="T77" fmla="*/ 341 h 593"/>
                  <a:gd name="T78" fmla="*/ 1012 w 1048"/>
                  <a:gd name="T79" fmla="*/ 332 h 593"/>
                  <a:gd name="T80" fmla="*/ 1045 w 1048"/>
                  <a:gd name="T81" fmla="*/ 277 h 593"/>
                  <a:gd name="T82" fmla="*/ 1042 w 1048"/>
                  <a:gd name="T83" fmla="*/ 198 h 593"/>
                  <a:gd name="T84" fmla="*/ 962 w 1048"/>
                  <a:gd name="T85" fmla="*/ 172 h 593"/>
                  <a:gd name="T86" fmla="*/ 938 w 1048"/>
                  <a:gd name="T87" fmla="*/ 97 h 593"/>
                  <a:gd name="T88" fmla="*/ 897 w 1048"/>
                  <a:gd name="T89" fmla="*/ 76 h 593"/>
                  <a:gd name="T90" fmla="*/ 819 w 1048"/>
                  <a:gd name="T91" fmla="*/ 6 h 593"/>
                  <a:gd name="T92" fmla="*/ 767 w 1048"/>
                  <a:gd name="T93" fmla="*/ 62 h 593"/>
                  <a:gd name="T94" fmla="*/ 714 w 1048"/>
                  <a:gd name="T95" fmla="*/ 92 h 593"/>
                  <a:gd name="T96" fmla="*/ 606 w 1048"/>
                  <a:gd name="T97" fmla="*/ 73 h 593"/>
                  <a:gd name="T98" fmla="*/ 621 w 1048"/>
                  <a:gd name="T99" fmla="*/ 134 h 593"/>
                  <a:gd name="T100" fmla="*/ 574 w 1048"/>
                  <a:gd name="T101" fmla="*/ 108 h 593"/>
                  <a:gd name="T102" fmla="*/ 507 w 1048"/>
                  <a:gd name="T103" fmla="*/ 85 h 593"/>
                  <a:gd name="T104" fmla="*/ 485 w 1048"/>
                  <a:gd name="T105" fmla="*/ 101 h 593"/>
                  <a:gd name="T106" fmla="*/ 488 w 1048"/>
                  <a:gd name="T107" fmla="*/ 152 h 593"/>
                  <a:gd name="T108" fmla="*/ 456 w 1048"/>
                  <a:gd name="T109" fmla="*/ 133 h 59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048"/>
                  <a:gd name="T166" fmla="*/ 0 h 593"/>
                  <a:gd name="T167" fmla="*/ 1048 w 1048"/>
                  <a:gd name="T168" fmla="*/ 593 h 593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048" h="593">
                    <a:moveTo>
                      <a:pt x="438" y="106"/>
                    </a:moveTo>
                    <a:lnTo>
                      <a:pt x="415" y="66"/>
                    </a:lnTo>
                    <a:lnTo>
                      <a:pt x="391" y="87"/>
                    </a:lnTo>
                    <a:lnTo>
                      <a:pt x="399" y="156"/>
                    </a:lnTo>
                    <a:lnTo>
                      <a:pt x="398" y="173"/>
                    </a:lnTo>
                    <a:lnTo>
                      <a:pt x="375" y="189"/>
                    </a:lnTo>
                    <a:lnTo>
                      <a:pt x="346" y="198"/>
                    </a:lnTo>
                    <a:lnTo>
                      <a:pt x="332" y="209"/>
                    </a:lnTo>
                    <a:lnTo>
                      <a:pt x="307" y="240"/>
                    </a:lnTo>
                    <a:lnTo>
                      <a:pt x="267" y="172"/>
                    </a:lnTo>
                    <a:lnTo>
                      <a:pt x="287" y="145"/>
                    </a:lnTo>
                    <a:lnTo>
                      <a:pt x="291" y="110"/>
                    </a:lnTo>
                    <a:lnTo>
                      <a:pt x="271" y="62"/>
                    </a:lnTo>
                    <a:lnTo>
                      <a:pt x="239" y="39"/>
                    </a:lnTo>
                    <a:lnTo>
                      <a:pt x="195" y="32"/>
                    </a:lnTo>
                    <a:lnTo>
                      <a:pt x="152" y="11"/>
                    </a:lnTo>
                    <a:lnTo>
                      <a:pt x="135" y="34"/>
                    </a:lnTo>
                    <a:lnTo>
                      <a:pt x="161" y="66"/>
                    </a:lnTo>
                    <a:lnTo>
                      <a:pt x="170" y="89"/>
                    </a:lnTo>
                    <a:lnTo>
                      <a:pt x="157" y="103"/>
                    </a:lnTo>
                    <a:lnTo>
                      <a:pt x="128" y="99"/>
                    </a:lnTo>
                    <a:lnTo>
                      <a:pt x="86" y="62"/>
                    </a:lnTo>
                    <a:lnTo>
                      <a:pt x="72" y="62"/>
                    </a:lnTo>
                    <a:lnTo>
                      <a:pt x="59" y="92"/>
                    </a:lnTo>
                    <a:lnTo>
                      <a:pt x="77" y="120"/>
                    </a:lnTo>
                    <a:lnTo>
                      <a:pt x="93" y="140"/>
                    </a:lnTo>
                    <a:lnTo>
                      <a:pt x="62" y="149"/>
                    </a:lnTo>
                    <a:lnTo>
                      <a:pt x="23" y="149"/>
                    </a:lnTo>
                    <a:lnTo>
                      <a:pt x="5" y="163"/>
                    </a:lnTo>
                    <a:lnTo>
                      <a:pt x="0" y="177"/>
                    </a:lnTo>
                    <a:lnTo>
                      <a:pt x="6" y="195"/>
                    </a:lnTo>
                    <a:lnTo>
                      <a:pt x="52" y="219"/>
                    </a:lnTo>
                    <a:lnTo>
                      <a:pt x="82" y="212"/>
                    </a:lnTo>
                    <a:lnTo>
                      <a:pt x="100" y="198"/>
                    </a:lnTo>
                    <a:lnTo>
                      <a:pt x="137" y="189"/>
                    </a:lnTo>
                    <a:lnTo>
                      <a:pt x="181" y="193"/>
                    </a:lnTo>
                    <a:lnTo>
                      <a:pt x="203" y="205"/>
                    </a:lnTo>
                    <a:lnTo>
                      <a:pt x="221" y="207"/>
                    </a:lnTo>
                    <a:lnTo>
                      <a:pt x="238" y="223"/>
                    </a:lnTo>
                    <a:lnTo>
                      <a:pt x="243" y="244"/>
                    </a:lnTo>
                    <a:lnTo>
                      <a:pt x="235" y="272"/>
                    </a:lnTo>
                    <a:lnTo>
                      <a:pt x="219" y="288"/>
                    </a:lnTo>
                    <a:lnTo>
                      <a:pt x="141" y="306"/>
                    </a:lnTo>
                    <a:lnTo>
                      <a:pt x="105" y="307"/>
                    </a:lnTo>
                    <a:lnTo>
                      <a:pt x="75" y="316"/>
                    </a:lnTo>
                    <a:lnTo>
                      <a:pt x="59" y="327"/>
                    </a:lnTo>
                    <a:lnTo>
                      <a:pt x="54" y="343"/>
                    </a:lnTo>
                    <a:lnTo>
                      <a:pt x="70" y="362"/>
                    </a:lnTo>
                    <a:lnTo>
                      <a:pt x="163" y="350"/>
                    </a:lnTo>
                    <a:lnTo>
                      <a:pt x="178" y="343"/>
                    </a:lnTo>
                    <a:lnTo>
                      <a:pt x="190" y="352"/>
                    </a:lnTo>
                    <a:lnTo>
                      <a:pt x="209" y="385"/>
                    </a:lnTo>
                    <a:lnTo>
                      <a:pt x="231" y="396"/>
                    </a:lnTo>
                    <a:lnTo>
                      <a:pt x="267" y="398"/>
                    </a:lnTo>
                    <a:lnTo>
                      <a:pt x="235" y="447"/>
                    </a:lnTo>
                    <a:lnTo>
                      <a:pt x="186" y="475"/>
                    </a:lnTo>
                    <a:lnTo>
                      <a:pt x="168" y="493"/>
                    </a:lnTo>
                    <a:lnTo>
                      <a:pt x="181" y="509"/>
                    </a:lnTo>
                    <a:lnTo>
                      <a:pt x="307" y="521"/>
                    </a:lnTo>
                    <a:lnTo>
                      <a:pt x="326" y="516"/>
                    </a:lnTo>
                    <a:lnTo>
                      <a:pt x="374" y="523"/>
                    </a:lnTo>
                    <a:lnTo>
                      <a:pt x="430" y="564"/>
                    </a:lnTo>
                    <a:lnTo>
                      <a:pt x="456" y="577"/>
                    </a:lnTo>
                    <a:lnTo>
                      <a:pt x="514" y="591"/>
                    </a:lnTo>
                    <a:lnTo>
                      <a:pt x="545" y="593"/>
                    </a:lnTo>
                    <a:lnTo>
                      <a:pt x="594" y="586"/>
                    </a:lnTo>
                    <a:lnTo>
                      <a:pt x="615" y="575"/>
                    </a:lnTo>
                    <a:lnTo>
                      <a:pt x="649" y="525"/>
                    </a:lnTo>
                    <a:lnTo>
                      <a:pt x="684" y="518"/>
                    </a:lnTo>
                    <a:lnTo>
                      <a:pt x="716" y="516"/>
                    </a:lnTo>
                    <a:lnTo>
                      <a:pt x="753" y="507"/>
                    </a:lnTo>
                    <a:lnTo>
                      <a:pt x="840" y="456"/>
                    </a:lnTo>
                    <a:lnTo>
                      <a:pt x="877" y="415"/>
                    </a:lnTo>
                    <a:lnTo>
                      <a:pt x="896" y="428"/>
                    </a:lnTo>
                    <a:lnTo>
                      <a:pt x="921" y="431"/>
                    </a:lnTo>
                    <a:lnTo>
                      <a:pt x="943" y="417"/>
                    </a:lnTo>
                    <a:lnTo>
                      <a:pt x="965" y="378"/>
                    </a:lnTo>
                    <a:lnTo>
                      <a:pt x="967" y="341"/>
                    </a:lnTo>
                    <a:lnTo>
                      <a:pt x="975" y="334"/>
                    </a:lnTo>
                    <a:lnTo>
                      <a:pt x="1012" y="332"/>
                    </a:lnTo>
                    <a:lnTo>
                      <a:pt x="1032" y="322"/>
                    </a:lnTo>
                    <a:lnTo>
                      <a:pt x="1045" y="277"/>
                    </a:lnTo>
                    <a:lnTo>
                      <a:pt x="1048" y="244"/>
                    </a:lnTo>
                    <a:lnTo>
                      <a:pt x="1042" y="198"/>
                    </a:lnTo>
                    <a:lnTo>
                      <a:pt x="1036" y="184"/>
                    </a:lnTo>
                    <a:lnTo>
                      <a:pt x="962" y="172"/>
                    </a:lnTo>
                    <a:lnTo>
                      <a:pt x="927" y="147"/>
                    </a:lnTo>
                    <a:lnTo>
                      <a:pt x="938" y="97"/>
                    </a:lnTo>
                    <a:lnTo>
                      <a:pt x="926" y="76"/>
                    </a:lnTo>
                    <a:lnTo>
                      <a:pt x="897" y="76"/>
                    </a:lnTo>
                    <a:lnTo>
                      <a:pt x="847" y="48"/>
                    </a:lnTo>
                    <a:lnTo>
                      <a:pt x="819" y="6"/>
                    </a:lnTo>
                    <a:lnTo>
                      <a:pt x="767" y="0"/>
                    </a:lnTo>
                    <a:lnTo>
                      <a:pt x="767" y="62"/>
                    </a:lnTo>
                    <a:lnTo>
                      <a:pt x="750" y="82"/>
                    </a:lnTo>
                    <a:lnTo>
                      <a:pt x="714" y="92"/>
                    </a:lnTo>
                    <a:lnTo>
                      <a:pt x="651" y="85"/>
                    </a:lnTo>
                    <a:lnTo>
                      <a:pt x="606" y="73"/>
                    </a:lnTo>
                    <a:lnTo>
                      <a:pt x="623" y="119"/>
                    </a:lnTo>
                    <a:lnTo>
                      <a:pt x="621" y="134"/>
                    </a:lnTo>
                    <a:lnTo>
                      <a:pt x="596" y="129"/>
                    </a:lnTo>
                    <a:lnTo>
                      <a:pt x="574" y="108"/>
                    </a:lnTo>
                    <a:lnTo>
                      <a:pt x="542" y="69"/>
                    </a:lnTo>
                    <a:lnTo>
                      <a:pt x="507" y="85"/>
                    </a:lnTo>
                    <a:lnTo>
                      <a:pt x="495" y="87"/>
                    </a:lnTo>
                    <a:lnTo>
                      <a:pt x="485" y="101"/>
                    </a:lnTo>
                    <a:lnTo>
                      <a:pt x="495" y="140"/>
                    </a:lnTo>
                    <a:lnTo>
                      <a:pt x="488" y="152"/>
                    </a:lnTo>
                    <a:lnTo>
                      <a:pt x="479" y="150"/>
                    </a:lnTo>
                    <a:lnTo>
                      <a:pt x="456" y="133"/>
                    </a:lnTo>
                    <a:lnTo>
                      <a:pt x="438" y="106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32" name="Freeform 220"/>
              <p:cNvSpPr>
                <a:spLocks/>
              </p:cNvSpPr>
              <p:nvPr>
                <p:custDataLst>
                  <p:tags r:id="rId157"/>
                </p:custDataLst>
              </p:nvPr>
            </p:nvSpPr>
            <p:spPr bwMode="auto">
              <a:xfrm>
                <a:off x="3040" y="1602"/>
                <a:ext cx="70" cy="52"/>
              </a:xfrm>
              <a:custGeom>
                <a:avLst/>
                <a:gdLst>
                  <a:gd name="T0" fmla="*/ 458 w 471"/>
                  <a:gd name="T1" fmla="*/ 5 h 337"/>
                  <a:gd name="T2" fmla="*/ 446 w 471"/>
                  <a:gd name="T3" fmla="*/ 24 h 337"/>
                  <a:gd name="T4" fmla="*/ 385 w 471"/>
                  <a:gd name="T5" fmla="*/ 26 h 337"/>
                  <a:gd name="T6" fmla="*/ 345 w 471"/>
                  <a:gd name="T7" fmla="*/ 21 h 337"/>
                  <a:gd name="T8" fmla="*/ 234 w 471"/>
                  <a:gd name="T9" fmla="*/ 5 h 337"/>
                  <a:gd name="T10" fmla="*/ 206 w 471"/>
                  <a:gd name="T11" fmla="*/ 0 h 337"/>
                  <a:gd name="T12" fmla="*/ 139 w 471"/>
                  <a:gd name="T13" fmla="*/ 7 h 337"/>
                  <a:gd name="T14" fmla="*/ 121 w 471"/>
                  <a:gd name="T15" fmla="*/ 21 h 337"/>
                  <a:gd name="T16" fmla="*/ 97 w 471"/>
                  <a:gd name="T17" fmla="*/ 21 h 337"/>
                  <a:gd name="T18" fmla="*/ 67 w 471"/>
                  <a:gd name="T19" fmla="*/ 44 h 337"/>
                  <a:gd name="T20" fmla="*/ 6 w 471"/>
                  <a:gd name="T21" fmla="*/ 63 h 337"/>
                  <a:gd name="T22" fmla="*/ 0 w 471"/>
                  <a:gd name="T23" fmla="*/ 90 h 337"/>
                  <a:gd name="T24" fmla="*/ 2 w 471"/>
                  <a:gd name="T25" fmla="*/ 125 h 337"/>
                  <a:gd name="T26" fmla="*/ 33 w 471"/>
                  <a:gd name="T27" fmla="*/ 143 h 337"/>
                  <a:gd name="T28" fmla="*/ 55 w 471"/>
                  <a:gd name="T29" fmla="*/ 217 h 337"/>
                  <a:gd name="T30" fmla="*/ 97 w 471"/>
                  <a:gd name="T31" fmla="*/ 203 h 337"/>
                  <a:gd name="T32" fmla="*/ 104 w 471"/>
                  <a:gd name="T33" fmla="*/ 238 h 337"/>
                  <a:gd name="T34" fmla="*/ 99 w 471"/>
                  <a:gd name="T35" fmla="*/ 279 h 337"/>
                  <a:gd name="T36" fmla="*/ 107 w 471"/>
                  <a:gd name="T37" fmla="*/ 272 h 337"/>
                  <a:gd name="T38" fmla="*/ 137 w 471"/>
                  <a:gd name="T39" fmla="*/ 259 h 337"/>
                  <a:gd name="T40" fmla="*/ 157 w 471"/>
                  <a:gd name="T41" fmla="*/ 254 h 337"/>
                  <a:gd name="T42" fmla="*/ 174 w 471"/>
                  <a:gd name="T43" fmla="*/ 245 h 337"/>
                  <a:gd name="T44" fmla="*/ 178 w 471"/>
                  <a:gd name="T45" fmla="*/ 252 h 337"/>
                  <a:gd name="T46" fmla="*/ 189 w 471"/>
                  <a:gd name="T47" fmla="*/ 250 h 337"/>
                  <a:gd name="T48" fmla="*/ 198 w 471"/>
                  <a:gd name="T49" fmla="*/ 252 h 337"/>
                  <a:gd name="T50" fmla="*/ 214 w 471"/>
                  <a:gd name="T51" fmla="*/ 263 h 337"/>
                  <a:gd name="T52" fmla="*/ 231 w 471"/>
                  <a:gd name="T53" fmla="*/ 272 h 337"/>
                  <a:gd name="T54" fmla="*/ 251 w 471"/>
                  <a:gd name="T55" fmla="*/ 284 h 337"/>
                  <a:gd name="T56" fmla="*/ 263 w 471"/>
                  <a:gd name="T57" fmla="*/ 293 h 337"/>
                  <a:gd name="T58" fmla="*/ 278 w 471"/>
                  <a:gd name="T59" fmla="*/ 305 h 337"/>
                  <a:gd name="T60" fmla="*/ 292 w 471"/>
                  <a:gd name="T61" fmla="*/ 326 h 337"/>
                  <a:gd name="T62" fmla="*/ 307 w 471"/>
                  <a:gd name="T63" fmla="*/ 330 h 337"/>
                  <a:gd name="T64" fmla="*/ 317 w 471"/>
                  <a:gd name="T65" fmla="*/ 335 h 337"/>
                  <a:gd name="T66" fmla="*/ 332 w 471"/>
                  <a:gd name="T67" fmla="*/ 325 h 337"/>
                  <a:gd name="T68" fmla="*/ 346 w 471"/>
                  <a:gd name="T69" fmla="*/ 319 h 337"/>
                  <a:gd name="T70" fmla="*/ 370 w 471"/>
                  <a:gd name="T71" fmla="*/ 333 h 337"/>
                  <a:gd name="T72" fmla="*/ 387 w 471"/>
                  <a:gd name="T73" fmla="*/ 337 h 337"/>
                  <a:gd name="T74" fmla="*/ 389 w 471"/>
                  <a:gd name="T75" fmla="*/ 326 h 337"/>
                  <a:gd name="T76" fmla="*/ 397 w 471"/>
                  <a:gd name="T77" fmla="*/ 307 h 337"/>
                  <a:gd name="T78" fmla="*/ 409 w 471"/>
                  <a:gd name="T79" fmla="*/ 291 h 337"/>
                  <a:gd name="T80" fmla="*/ 427 w 471"/>
                  <a:gd name="T81" fmla="*/ 282 h 337"/>
                  <a:gd name="T82" fmla="*/ 432 w 471"/>
                  <a:gd name="T83" fmla="*/ 273 h 337"/>
                  <a:gd name="T84" fmla="*/ 422 w 471"/>
                  <a:gd name="T85" fmla="*/ 259 h 337"/>
                  <a:gd name="T86" fmla="*/ 418 w 471"/>
                  <a:gd name="T87" fmla="*/ 242 h 337"/>
                  <a:gd name="T88" fmla="*/ 401 w 471"/>
                  <a:gd name="T89" fmla="*/ 217 h 337"/>
                  <a:gd name="T90" fmla="*/ 409 w 471"/>
                  <a:gd name="T91" fmla="*/ 192 h 337"/>
                  <a:gd name="T92" fmla="*/ 403 w 471"/>
                  <a:gd name="T93" fmla="*/ 166 h 337"/>
                  <a:gd name="T94" fmla="*/ 398 w 471"/>
                  <a:gd name="T95" fmla="*/ 120 h 337"/>
                  <a:gd name="T96" fmla="*/ 410 w 471"/>
                  <a:gd name="T97" fmla="*/ 99 h 337"/>
                  <a:gd name="T98" fmla="*/ 434 w 471"/>
                  <a:gd name="T99" fmla="*/ 72 h 337"/>
                  <a:gd name="T100" fmla="*/ 448 w 471"/>
                  <a:gd name="T101" fmla="*/ 37 h 337"/>
                  <a:gd name="T102" fmla="*/ 469 w 471"/>
                  <a:gd name="T103" fmla="*/ 33 h 337"/>
                  <a:gd name="T104" fmla="*/ 464 w 471"/>
                  <a:gd name="T105" fmla="*/ 10 h 337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471"/>
                  <a:gd name="T160" fmla="*/ 0 h 337"/>
                  <a:gd name="T161" fmla="*/ 471 w 471"/>
                  <a:gd name="T162" fmla="*/ 337 h 337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471" h="337">
                    <a:moveTo>
                      <a:pt x="464" y="10"/>
                    </a:moveTo>
                    <a:lnTo>
                      <a:pt x="458" y="5"/>
                    </a:lnTo>
                    <a:lnTo>
                      <a:pt x="459" y="7"/>
                    </a:lnTo>
                    <a:lnTo>
                      <a:pt x="446" y="24"/>
                    </a:lnTo>
                    <a:lnTo>
                      <a:pt x="427" y="33"/>
                    </a:lnTo>
                    <a:lnTo>
                      <a:pt x="385" y="26"/>
                    </a:lnTo>
                    <a:lnTo>
                      <a:pt x="358" y="30"/>
                    </a:lnTo>
                    <a:lnTo>
                      <a:pt x="345" y="21"/>
                    </a:lnTo>
                    <a:lnTo>
                      <a:pt x="295" y="7"/>
                    </a:lnTo>
                    <a:lnTo>
                      <a:pt x="234" y="5"/>
                    </a:lnTo>
                    <a:lnTo>
                      <a:pt x="210" y="12"/>
                    </a:lnTo>
                    <a:lnTo>
                      <a:pt x="206" y="0"/>
                    </a:lnTo>
                    <a:lnTo>
                      <a:pt x="186" y="23"/>
                    </a:lnTo>
                    <a:lnTo>
                      <a:pt x="139" y="7"/>
                    </a:lnTo>
                    <a:lnTo>
                      <a:pt x="134" y="24"/>
                    </a:lnTo>
                    <a:lnTo>
                      <a:pt x="121" y="21"/>
                    </a:lnTo>
                    <a:lnTo>
                      <a:pt x="116" y="28"/>
                    </a:lnTo>
                    <a:lnTo>
                      <a:pt x="97" y="21"/>
                    </a:lnTo>
                    <a:lnTo>
                      <a:pt x="92" y="35"/>
                    </a:lnTo>
                    <a:lnTo>
                      <a:pt x="67" y="44"/>
                    </a:lnTo>
                    <a:lnTo>
                      <a:pt x="67" y="54"/>
                    </a:lnTo>
                    <a:lnTo>
                      <a:pt x="6" y="63"/>
                    </a:lnTo>
                    <a:lnTo>
                      <a:pt x="11" y="84"/>
                    </a:lnTo>
                    <a:lnTo>
                      <a:pt x="0" y="90"/>
                    </a:lnTo>
                    <a:lnTo>
                      <a:pt x="8" y="109"/>
                    </a:lnTo>
                    <a:lnTo>
                      <a:pt x="2" y="125"/>
                    </a:lnTo>
                    <a:lnTo>
                      <a:pt x="17" y="157"/>
                    </a:lnTo>
                    <a:lnTo>
                      <a:pt x="33" y="143"/>
                    </a:lnTo>
                    <a:lnTo>
                      <a:pt x="31" y="215"/>
                    </a:lnTo>
                    <a:lnTo>
                      <a:pt x="55" y="217"/>
                    </a:lnTo>
                    <a:lnTo>
                      <a:pt x="70" y="236"/>
                    </a:lnTo>
                    <a:lnTo>
                      <a:pt x="97" y="203"/>
                    </a:lnTo>
                    <a:lnTo>
                      <a:pt x="113" y="219"/>
                    </a:lnTo>
                    <a:lnTo>
                      <a:pt x="104" y="238"/>
                    </a:lnTo>
                    <a:lnTo>
                      <a:pt x="104" y="264"/>
                    </a:lnTo>
                    <a:lnTo>
                      <a:pt x="99" y="279"/>
                    </a:lnTo>
                    <a:lnTo>
                      <a:pt x="102" y="279"/>
                    </a:lnTo>
                    <a:lnTo>
                      <a:pt x="107" y="272"/>
                    </a:lnTo>
                    <a:lnTo>
                      <a:pt x="119" y="264"/>
                    </a:lnTo>
                    <a:lnTo>
                      <a:pt x="137" y="259"/>
                    </a:lnTo>
                    <a:lnTo>
                      <a:pt x="148" y="257"/>
                    </a:lnTo>
                    <a:lnTo>
                      <a:pt x="157" y="254"/>
                    </a:lnTo>
                    <a:lnTo>
                      <a:pt x="169" y="245"/>
                    </a:lnTo>
                    <a:lnTo>
                      <a:pt x="174" y="245"/>
                    </a:lnTo>
                    <a:lnTo>
                      <a:pt x="177" y="247"/>
                    </a:lnTo>
                    <a:lnTo>
                      <a:pt x="178" y="252"/>
                    </a:lnTo>
                    <a:lnTo>
                      <a:pt x="185" y="257"/>
                    </a:lnTo>
                    <a:lnTo>
                      <a:pt x="189" y="250"/>
                    </a:lnTo>
                    <a:lnTo>
                      <a:pt x="189" y="245"/>
                    </a:lnTo>
                    <a:lnTo>
                      <a:pt x="198" y="252"/>
                    </a:lnTo>
                    <a:lnTo>
                      <a:pt x="202" y="259"/>
                    </a:lnTo>
                    <a:lnTo>
                      <a:pt x="214" y="263"/>
                    </a:lnTo>
                    <a:lnTo>
                      <a:pt x="218" y="272"/>
                    </a:lnTo>
                    <a:lnTo>
                      <a:pt x="231" y="272"/>
                    </a:lnTo>
                    <a:lnTo>
                      <a:pt x="241" y="280"/>
                    </a:lnTo>
                    <a:lnTo>
                      <a:pt x="251" y="284"/>
                    </a:lnTo>
                    <a:lnTo>
                      <a:pt x="260" y="284"/>
                    </a:lnTo>
                    <a:lnTo>
                      <a:pt x="263" y="293"/>
                    </a:lnTo>
                    <a:lnTo>
                      <a:pt x="268" y="296"/>
                    </a:lnTo>
                    <a:lnTo>
                      <a:pt x="278" y="305"/>
                    </a:lnTo>
                    <a:lnTo>
                      <a:pt x="284" y="317"/>
                    </a:lnTo>
                    <a:lnTo>
                      <a:pt x="292" y="326"/>
                    </a:lnTo>
                    <a:lnTo>
                      <a:pt x="300" y="326"/>
                    </a:lnTo>
                    <a:lnTo>
                      <a:pt x="307" y="330"/>
                    </a:lnTo>
                    <a:lnTo>
                      <a:pt x="312" y="335"/>
                    </a:lnTo>
                    <a:lnTo>
                      <a:pt x="317" y="335"/>
                    </a:lnTo>
                    <a:lnTo>
                      <a:pt x="325" y="328"/>
                    </a:lnTo>
                    <a:lnTo>
                      <a:pt x="332" y="325"/>
                    </a:lnTo>
                    <a:lnTo>
                      <a:pt x="340" y="326"/>
                    </a:lnTo>
                    <a:lnTo>
                      <a:pt x="346" y="319"/>
                    </a:lnTo>
                    <a:lnTo>
                      <a:pt x="356" y="323"/>
                    </a:lnTo>
                    <a:lnTo>
                      <a:pt x="370" y="333"/>
                    </a:lnTo>
                    <a:lnTo>
                      <a:pt x="383" y="335"/>
                    </a:lnTo>
                    <a:lnTo>
                      <a:pt x="387" y="337"/>
                    </a:lnTo>
                    <a:lnTo>
                      <a:pt x="393" y="335"/>
                    </a:lnTo>
                    <a:lnTo>
                      <a:pt x="389" y="326"/>
                    </a:lnTo>
                    <a:lnTo>
                      <a:pt x="394" y="323"/>
                    </a:lnTo>
                    <a:lnTo>
                      <a:pt x="397" y="307"/>
                    </a:lnTo>
                    <a:lnTo>
                      <a:pt x="402" y="307"/>
                    </a:lnTo>
                    <a:lnTo>
                      <a:pt x="409" y="291"/>
                    </a:lnTo>
                    <a:lnTo>
                      <a:pt x="415" y="286"/>
                    </a:lnTo>
                    <a:lnTo>
                      <a:pt x="427" y="282"/>
                    </a:lnTo>
                    <a:lnTo>
                      <a:pt x="435" y="277"/>
                    </a:lnTo>
                    <a:lnTo>
                      <a:pt x="432" y="273"/>
                    </a:lnTo>
                    <a:lnTo>
                      <a:pt x="425" y="270"/>
                    </a:lnTo>
                    <a:lnTo>
                      <a:pt x="422" y="259"/>
                    </a:lnTo>
                    <a:lnTo>
                      <a:pt x="422" y="247"/>
                    </a:lnTo>
                    <a:lnTo>
                      <a:pt x="418" y="242"/>
                    </a:lnTo>
                    <a:lnTo>
                      <a:pt x="409" y="234"/>
                    </a:lnTo>
                    <a:lnTo>
                      <a:pt x="401" y="217"/>
                    </a:lnTo>
                    <a:lnTo>
                      <a:pt x="401" y="203"/>
                    </a:lnTo>
                    <a:lnTo>
                      <a:pt x="409" y="192"/>
                    </a:lnTo>
                    <a:lnTo>
                      <a:pt x="409" y="180"/>
                    </a:lnTo>
                    <a:lnTo>
                      <a:pt x="403" y="166"/>
                    </a:lnTo>
                    <a:lnTo>
                      <a:pt x="398" y="132"/>
                    </a:lnTo>
                    <a:lnTo>
                      <a:pt x="398" y="120"/>
                    </a:lnTo>
                    <a:lnTo>
                      <a:pt x="401" y="107"/>
                    </a:lnTo>
                    <a:lnTo>
                      <a:pt x="410" y="99"/>
                    </a:lnTo>
                    <a:lnTo>
                      <a:pt x="425" y="88"/>
                    </a:lnTo>
                    <a:lnTo>
                      <a:pt x="434" y="72"/>
                    </a:lnTo>
                    <a:lnTo>
                      <a:pt x="444" y="40"/>
                    </a:lnTo>
                    <a:lnTo>
                      <a:pt x="448" y="37"/>
                    </a:lnTo>
                    <a:lnTo>
                      <a:pt x="462" y="37"/>
                    </a:lnTo>
                    <a:lnTo>
                      <a:pt x="469" y="33"/>
                    </a:lnTo>
                    <a:lnTo>
                      <a:pt x="471" y="19"/>
                    </a:lnTo>
                    <a:lnTo>
                      <a:pt x="464" y="10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33" name="Freeform 221"/>
              <p:cNvSpPr>
                <a:spLocks/>
              </p:cNvSpPr>
              <p:nvPr>
                <p:custDataLst>
                  <p:tags r:id="rId158"/>
                </p:custDataLst>
              </p:nvPr>
            </p:nvSpPr>
            <p:spPr bwMode="auto">
              <a:xfrm>
                <a:off x="3004" y="1640"/>
                <a:ext cx="107" cy="58"/>
              </a:xfrm>
              <a:custGeom>
                <a:avLst/>
                <a:gdLst>
                  <a:gd name="T0" fmla="*/ 356 w 712"/>
                  <a:gd name="T1" fmla="*/ 19 h 399"/>
                  <a:gd name="T2" fmla="*/ 336 w 712"/>
                  <a:gd name="T3" fmla="*/ 34 h 399"/>
                  <a:gd name="T4" fmla="*/ 336 w 712"/>
                  <a:gd name="T5" fmla="*/ 152 h 399"/>
                  <a:gd name="T6" fmla="*/ 279 w 712"/>
                  <a:gd name="T7" fmla="*/ 201 h 399"/>
                  <a:gd name="T8" fmla="*/ 210 w 712"/>
                  <a:gd name="T9" fmla="*/ 134 h 399"/>
                  <a:gd name="T10" fmla="*/ 161 w 712"/>
                  <a:gd name="T11" fmla="*/ 74 h 399"/>
                  <a:gd name="T12" fmla="*/ 132 w 712"/>
                  <a:gd name="T13" fmla="*/ 83 h 399"/>
                  <a:gd name="T14" fmla="*/ 53 w 712"/>
                  <a:gd name="T15" fmla="*/ 136 h 399"/>
                  <a:gd name="T16" fmla="*/ 9 w 712"/>
                  <a:gd name="T17" fmla="*/ 231 h 399"/>
                  <a:gd name="T18" fmla="*/ 2 w 712"/>
                  <a:gd name="T19" fmla="*/ 332 h 399"/>
                  <a:gd name="T20" fmla="*/ 39 w 712"/>
                  <a:gd name="T21" fmla="*/ 307 h 399"/>
                  <a:gd name="T22" fmla="*/ 178 w 712"/>
                  <a:gd name="T23" fmla="*/ 283 h 399"/>
                  <a:gd name="T24" fmla="*/ 202 w 712"/>
                  <a:gd name="T25" fmla="*/ 288 h 399"/>
                  <a:gd name="T26" fmla="*/ 226 w 712"/>
                  <a:gd name="T27" fmla="*/ 284 h 399"/>
                  <a:gd name="T28" fmla="*/ 294 w 712"/>
                  <a:gd name="T29" fmla="*/ 288 h 399"/>
                  <a:gd name="T30" fmla="*/ 358 w 712"/>
                  <a:gd name="T31" fmla="*/ 295 h 399"/>
                  <a:gd name="T32" fmla="*/ 393 w 712"/>
                  <a:gd name="T33" fmla="*/ 295 h 399"/>
                  <a:gd name="T34" fmla="*/ 447 w 712"/>
                  <a:gd name="T35" fmla="*/ 320 h 399"/>
                  <a:gd name="T36" fmla="*/ 513 w 712"/>
                  <a:gd name="T37" fmla="*/ 367 h 399"/>
                  <a:gd name="T38" fmla="*/ 554 w 712"/>
                  <a:gd name="T39" fmla="*/ 399 h 399"/>
                  <a:gd name="T40" fmla="*/ 571 w 712"/>
                  <a:gd name="T41" fmla="*/ 397 h 399"/>
                  <a:gd name="T42" fmla="*/ 593 w 712"/>
                  <a:gd name="T43" fmla="*/ 374 h 399"/>
                  <a:gd name="T44" fmla="*/ 644 w 712"/>
                  <a:gd name="T45" fmla="*/ 383 h 399"/>
                  <a:gd name="T46" fmla="*/ 659 w 712"/>
                  <a:gd name="T47" fmla="*/ 357 h 399"/>
                  <a:gd name="T48" fmla="*/ 681 w 712"/>
                  <a:gd name="T49" fmla="*/ 337 h 399"/>
                  <a:gd name="T50" fmla="*/ 709 w 712"/>
                  <a:gd name="T51" fmla="*/ 318 h 399"/>
                  <a:gd name="T52" fmla="*/ 709 w 712"/>
                  <a:gd name="T53" fmla="*/ 272 h 399"/>
                  <a:gd name="T54" fmla="*/ 699 w 712"/>
                  <a:gd name="T55" fmla="*/ 253 h 399"/>
                  <a:gd name="T56" fmla="*/ 685 w 712"/>
                  <a:gd name="T57" fmla="*/ 230 h 399"/>
                  <a:gd name="T58" fmla="*/ 684 w 712"/>
                  <a:gd name="T59" fmla="*/ 208 h 399"/>
                  <a:gd name="T60" fmla="*/ 664 w 712"/>
                  <a:gd name="T61" fmla="*/ 201 h 399"/>
                  <a:gd name="T62" fmla="*/ 663 w 712"/>
                  <a:gd name="T63" fmla="*/ 193 h 399"/>
                  <a:gd name="T64" fmla="*/ 668 w 712"/>
                  <a:gd name="T65" fmla="*/ 166 h 399"/>
                  <a:gd name="T66" fmla="*/ 671 w 712"/>
                  <a:gd name="T67" fmla="*/ 157 h 399"/>
                  <a:gd name="T68" fmla="*/ 678 w 712"/>
                  <a:gd name="T69" fmla="*/ 129 h 399"/>
                  <a:gd name="T70" fmla="*/ 656 w 712"/>
                  <a:gd name="T71" fmla="*/ 113 h 399"/>
                  <a:gd name="T72" fmla="*/ 630 w 712"/>
                  <a:gd name="T73" fmla="*/ 90 h 399"/>
                  <a:gd name="T74" fmla="*/ 607 w 712"/>
                  <a:gd name="T75" fmla="*/ 88 h 399"/>
                  <a:gd name="T76" fmla="*/ 577 w 712"/>
                  <a:gd name="T77" fmla="*/ 81 h 399"/>
                  <a:gd name="T78" fmla="*/ 554 w 712"/>
                  <a:gd name="T79" fmla="*/ 90 h 399"/>
                  <a:gd name="T80" fmla="*/ 537 w 712"/>
                  <a:gd name="T81" fmla="*/ 81 h 399"/>
                  <a:gd name="T82" fmla="*/ 515 w 712"/>
                  <a:gd name="T83" fmla="*/ 60 h 399"/>
                  <a:gd name="T84" fmla="*/ 497 w 712"/>
                  <a:gd name="T85" fmla="*/ 39 h 399"/>
                  <a:gd name="T86" fmla="*/ 468 w 712"/>
                  <a:gd name="T87" fmla="*/ 27 h 399"/>
                  <a:gd name="T88" fmla="*/ 439 w 712"/>
                  <a:gd name="T89" fmla="*/ 14 h 399"/>
                  <a:gd name="T90" fmla="*/ 426 w 712"/>
                  <a:gd name="T91" fmla="*/ 5 h 399"/>
                  <a:gd name="T92" fmla="*/ 414 w 712"/>
                  <a:gd name="T93" fmla="*/ 2 h 399"/>
                  <a:gd name="T94" fmla="*/ 394 w 712"/>
                  <a:gd name="T95" fmla="*/ 9 h 399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12"/>
                  <a:gd name="T145" fmla="*/ 0 h 399"/>
                  <a:gd name="T146" fmla="*/ 712 w 712"/>
                  <a:gd name="T147" fmla="*/ 399 h 399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12" h="399">
                    <a:moveTo>
                      <a:pt x="385" y="12"/>
                    </a:moveTo>
                    <a:lnTo>
                      <a:pt x="374" y="14"/>
                    </a:lnTo>
                    <a:lnTo>
                      <a:pt x="356" y="19"/>
                    </a:lnTo>
                    <a:lnTo>
                      <a:pt x="344" y="27"/>
                    </a:lnTo>
                    <a:lnTo>
                      <a:pt x="339" y="34"/>
                    </a:lnTo>
                    <a:lnTo>
                      <a:pt x="336" y="34"/>
                    </a:lnTo>
                    <a:lnTo>
                      <a:pt x="332" y="37"/>
                    </a:lnTo>
                    <a:lnTo>
                      <a:pt x="325" y="57"/>
                    </a:lnTo>
                    <a:lnTo>
                      <a:pt x="336" y="152"/>
                    </a:lnTo>
                    <a:lnTo>
                      <a:pt x="327" y="173"/>
                    </a:lnTo>
                    <a:lnTo>
                      <a:pt x="316" y="182"/>
                    </a:lnTo>
                    <a:lnTo>
                      <a:pt x="279" y="201"/>
                    </a:lnTo>
                    <a:lnTo>
                      <a:pt x="243" y="196"/>
                    </a:lnTo>
                    <a:lnTo>
                      <a:pt x="225" y="182"/>
                    </a:lnTo>
                    <a:lnTo>
                      <a:pt x="210" y="134"/>
                    </a:lnTo>
                    <a:lnTo>
                      <a:pt x="192" y="122"/>
                    </a:lnTo>
                    <a:lnTo>
                      <a:pt x="162" y="94"/>
                    </a:lnTo>
                    <a:lnTo>
                      <a:pt x="161" y="74"/>
                    </a:lnTo>
                    <a:lnTo>
                      <a:pt x="148" y="74"/>
                    </a:lnTo>
                    <a:lnTo>
                      <a:pt x="140" y="80"/>
                    </a:lnTo>
                    <a:lnTo>
                      <a:pt x="132" y="83"/>
                    </a:lnTo>
                    <a:lnTo>
                      <a:pt x="87" y="99"/>
                    </a:lnTo>
                    <a:lnTo>
                      <a:pt x="74" y="101"/>
                    </a:lnTo>
                    <a:lnTo>
                      <a:pt x="53" y="136"/>
                    </a:lnTo>
                    <a:lnTo>
                      <a:pt x="41" y="148"/>
                    </a:lnTo>
                    <a:lnTo>
                      <a:pt x="39" y="203"/>
                    </a:lnTo>
                    <a:lnTo>
                      <a:pt x="9" y="231"/>
                    </a:lnTo>
                    <a:lnTo>
                      <a:pt x="4" y="244"/>
                    </a:lnTo>
                    <a:lnTo>
                      <a:pt x="0" y="328"/>
                    </a:lnTo>
                    <a:lnTo>
                      <a:pt x="2" y="332"/>
                    </a:lnTo>
                    <a:lnTo>
                      <a:pt x="26" y="330"/>
                    </a:lnTo>
                    <a:lnTo>
                      <a:pt x="27" y="316"/>
                    </a:lnTo>
                    <a:lnTo>
                      <a:pt x="39" y="307"/>
                    </a:lnTo>
                    <a:lnTo>
                      <a:pt x="118" y="274"/>
                    </a:lnTo>
                    <a:lnTo>
                      <a:pt x="137" y="281"/>
                    </a:lnTo>
                    <a:lnTo>
                      <a:pt x="178" y="283"/>
                    </a:lnTo>
                    <a:lnTo>
                      <a:pt x="190" y="277"/>
                    </a:lnTo>
                    <a:lnTo>
                      <a:pt x="196" y="277"/>
                    </a:lnTo>
                    <a:lnTo>
                      <a:pt x="202" y="288"/>
                    </a:lnTo>
                    <a:lnTo>
                      <a:pt x="206" y="291"/>
                    </a:lnTo>
                    <a:lnTo>
                      <a:pt x="218" y="286"/>
                    </a:lnTo>
                    <a:lnTo>
                      <a:pt x="226" y="284"/>
                    </a:lnTo>
                    <a:lnTo>
                      <a:pt x="254" y="293"/>
                    </a:lnTo>
                    <a:lnTo>
                      <a:pt x="267" y="288"/>
                    </a:lnTo>
                    <a:lnTo>
                      <a:pt x="294" y="288"/>
                    </a:lnTo>
                    <a:lnTo>
                      <a:pt x="317" y="302"/>
                    </a:lnTo>
                    <a:lnTo>
                      <a:pt x="329" y="297"/>
                    </a:lnTo>
                    <a:lnTo>
                      <a:pt x="358" y="295"/>
                    </a:lnTo>
                    <a:lnTo>
                      <a:pt x="381" y="277"/>
                    </a:lnTo>
                    <a:lnTo>
                      <a:pt x="389" y="275"/>
                    </a:lnTo>
                    <a:lnTo>
                      <a:pt x="393" y="295"/>
                    </a:lnTo>
                    <a:lnTo>
                      <a:pt x="405" y="309"/>
                    </a:lnTo>
                    <a:lnTo>
                      <a:pt x="420" y="318"/>
                    </a:lnTo>
                    <a:lnTo>
                      <a:pt x="447" y="320"/>
                    </a:lnTo>
                    <a:lnTo>
                      <a:pt x="463" y="323"/>
                    </a:lnTo>
                    <a:lnTo>
                      <a:pt x="478" y="341"/>
                    </a:lnTo>
                    <a:lnTo>
                      <a:pt x="513" y="367"/>
                    </a:lnTo>
                    <a:lnTo>
                      <a:pt x="527" y="392"/>
                    </a:lnTo>
                    <a:lnTo>
                      <a:pt x="538" y="397"/>
                    </a:lnTo>
                    <a:lnTo>
                      <a:pt x="554" y="399"/>
                    </a:lnTo>
                    <a:lnTo>
                      <a:pt x="560" y="396"/>
                    </a:lnTo>
                    <a:lnTo>
                      <a:pt x="564" y="397"/>
                    </a:lnTo>
                    <a:lnTo>
                      <a:pt x="571" y="397"/>
                    </a:lnTo>
                    <a:lnTo>
                      <a:pt x="581" y="390"/>
                    </a:lnTo>
                    <a:lnTo>
                      <a:pt x="585" y="380"/>
                    </a:lnTo>
                    <a:lnTo>
                      <a:pt x="593" y="374"/>
                    </a:lnTo>
                    <a:lnTo>
                      <a:pt x="608" y="374"/>
                    </a:lnTo>
                    <a:lnTo>
                      <a:pt x="634" y="380"/>
                    </a:lnTo>
                    <a:lnTo>
                      <a:pt x="644" y="383"/>
                    </a:lnTo>
                    <a:lnTo>
                      <a:pt x="652" y="380"/>
                    </a:lnTo>
                    <a:lnTo>
                      <a:pt x="656" y="366"/>
                    </a:lnTo>
                    <a:lnTo>
                      <a:pt x="659" y="357"/>
                    </a:lnTo>
                    <a:lnTo>
                      <a:pt x="664" y="351"/>
                    </a:lnTo>
                    <a:lnTo>
                      <a:pt x="671" y="339"/>
                    </a:lnTo>
                    <a:lnTo>
                      <a:pt x="681" y="337"/>
                    </a:lnTo>
                    <a:lnTo>
                      <a:pt x="685" y="328"/>
                    </a:lnTo>
                    <a:lnTo>
                      <a:pt x="706" y="321"/>
                    </a:lnTo>
                    <a:lnTo>
                      <a:pt x="709" y="318"/>
                    </a:lnTo>
                    <a:lnTo>
                      <a:pt x="712" y="302"/>
                    </a:lnTo>
                    <a:lnTo>
                      <a:pt x="708" y="286"/>
                    </a:lnTo>
                    <a:lnTo>
                      <a:pt x="709" y="272"/>
                    </a:lnTo>
                    <a:lnTo>
                      <a:pt x="704" y="263"/>
                    </a:lnTo>
                    <a:lnTo>
                      <a:pt x="706" y="256"/>
                    </a:lnTo>
                    <a:lnTo>
                      <a:pt x="699" y="253"/>
                    </a:lnTo>
                    <a:lnTo>
                      <a:pt x="693" y="245"/>
                    </a:lnTo>
                    <a:lnTo>
                      <a:pt x="692" y="233"/>
                    </a:lnTo>
                    <a:lnTo>
                      <a:pt x="685" y="230"/>
                    </a:lnTo>
                    <a:lnTo>
                      <a:pt x="680" y="221"/>
                    </a:lnTo>
                    <a:lnTo>
                      <a:pt x="683" y="215"/>
                    </a:lnTo>
                    <a:lnTo>
                      <a:pt x="684" y="208"/>
                    </a:lnTo>
                    <a:lnTo>
                      <a:pt x="678" y="205"/>
                    </a:lnTo>
                    <a:lnTo>
                      <a:pt x="672" y="200"/>
                    </a:lnTo>
                    <a:lnTo>
                      <a:pt x="664" y="201"/>
                    </a:lnTo>
                    <a:lnTo>
                      <a:pt x="656" y="205"/>
                    </a:lnTo>
                    <a:lnTo>
                      <a:pt x="659" y="198"/>
                    </a:lnTo>
                    <a:lnTo>
                      <a:pt x="663" y="193"/>
                    </a:lnTo>
                    <a:lnTo>
                      <a:pt x="667" y="185"/>
                    </a:lnTo>
                    <a:lnTo>
                      <a:pt x="664" y="177"/>
                    </a:lnTo>
                    <a:lnTo>
                      <a:pt x="668" y="166"/>
                    </a:lnTo>
                    <a:lnTo>
                      <a:pt x="662" y="161"/>
                    </a:lnTo>
                    <a:lnTo>
                      <a:pt x="667" y="157"/>
                    </a:lnTo>
                    <a:lnTo>
                      <a:pt x="671" y="157"/>
                    </a:lnTo>
                    <a:lnTo>
                      <a:pt x="675" y="152"/>
                    </a:lnTo>
                    <a:lnTo>
                      <a:pt x="675" y="145"/>
                    </a:lnTo>
                    <a:lnTo>
                      <a:pt x="678" y="129"/>
                    </a:lnTo>
                    <a:lnTo>
                      <a:pt x="669" y="125"/>
                    </a:lnTo>
                    <a:lnTo>
                      <a:pt x="664" y="120"/>
                    </a:lnTo>
                    <a:lnTo>
                      <a:pt x="656" y="113"/>
                    </a:lnTo>
                    <a:lnTo>
                      <a:pt x="646" y="108"/>
                    </a:lnTo>
                    <a:lnTo>
                      <a:pt x="646" y="90"/>
                    </a:lnTo>
                    <a:lnTo>
                      <a:pt x="630" y="90"/>
                    </a:lnTo>
                    <a:lnTo>
                      <a:pt x="624" y="92"/>
                    </a:lnTo>
                    <a:lnTo>
                      <a:pt x="620" y="90"/>
                    </a:lnTo>
                    <a:lnTo>
                      <a:pt x="607" y="88"/>
                    </a:lnTo>
                    <a:lnTo>
                      <a:pt x="593" y="78"/>
                    </a:lnTo>
                    <a:lnTo>
                      <a:pt x="583" y="74"/>
                    </a:lnTo>
                    <a:lnTo>
                      <a:pt x="577" y="81"/>
                    </a:lnTo>
                    <a:lnTo>
                      <a:pt x="569" y="80"/>
                    </a:lnTo>
                    <a:lnTo>
                      <a:pt x="562" y="83"/>
                    </a:lnTo>
                    <a:lnTo>
                      <a:pt x="554" y="90"/>
                    </a:lnTo>
                    <a:lnTo>
                      <a:pt x="549" y="90"/>
                    </a:lnTo>
                    <a:lnTo>
                      <a:pt x="544" y="85"/>
                    </a:lnTo>
                    <a:lnTo>
                      <a:pt x="537" y="81"/>
                    </a:lnTo>
                    <a:lnTo>
                      <a:pt x="529" y="81"/>
                    </a:lnTo>
                    <a:lnTo>
                      <a:pt x="521" y="72"/>
                    </a:lnTo>
                    <a:lnTo>
                      <a:pt x="515" y="60"/>
                    </a:lnTo>
                    <a:lnTo>
                      <a:pt x="505" y="51"/>
                    </a:lnTo>
                    <a:lnTo>
                      <a:pt x="500" y="48"/>
                    </a:lnTo>
                    <a:lnTo>
                      <a:pt x="497" y="39"/>
                    </a:lnTo>
                    <a:lnTo>
                      <a:pt x="488" y="39"/>
                    </a:lnTo>
                    <a:lnTo>
                      <a:pt x="478" y="35"/>
                    </a:lnTo>
                    <a:lnTo>
                      <a:pt x="468" y="27"/>
                    </a:lnTo>
                    <a:lnTo>
                      <a:pt x="455" y="27"/>
                    </a:lnTo>
                    <a:lnTo>
                      <a:pt x="451" y="18"/>
                    </a:lnTo>
                    <a:lnTo>
                      <a:pt x="439" y="14"/>
                    </a:lnTo>
                    <a:lnTo>
                      <a:pt x="435" y="7"/>
                    </a:lnTo>
                    <a:lnTo>
                      <a:pt x="426" y="0"/>
                    </a:lnTo>
                    <a:lnTo>
                      <a:pt x="426" y="5"/>
                    </a:lnTo>
                    <a:lnTo>
                      <a:pt x="422" y="12"/>
                    </a:lnTo>
                    <a:lnTo>
                      <a:pt x="415" y="7"/>
                    </a:lnTo>
                    <a:lnTo>
                      <a:pt x="414" y="2"/>
                    </a:lnTo>
                    <a:lnTo>
                      <a:pt x="411" y="0"/>
                    </a:lnTo>
                    <a:lnTo>
                      <a:pt x="406" y="0"/>
                    </a:lnTo>
                    <a:lnTo>
                      <a:pt x="394" y="9"/>
                    </a:lnTo>
                    <a:lnTo>
                      <a:pt x="385" y="12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34" name="Freeform 222"/>
              <p:cNvSpPr>
                <a:spLocks/>
              </p:cNvSpPr>
              <p:nvPr>
                <p:custDataLst>
                  <p:tags r:id="rId159"/>
                </p:custDataLst>
              </p:nvPr>
            </p:nvSpPr>
            <p:spPr bwMode="auto">
              <a:xfrm>
                <a:off x="3004" y="1680"/>
                <a:ext cx="86" cy="62"/>
              </a:xfrm>
              <a:custGeom>
                <a:avLst/>
                <a:gdLst>
                  <a:gd name="T0" fmla="*/ 569 w 569"/>
                  <a:gd name="T1" fmla="*/ 190 h 416"/>
                  <a:gd name="T2" fmla="*/ 552 w 569"/>
                  <a:gd name="T3" fmla="*/ 181 h 416"/>
                  <a:gd name="T4" fmla="*/ 547 w 569"/>
                  <a:gd name="T5" fmla="*/ 159 h 416"/>
                  <a:gd name="T6" fmla="*/ 552 w 569"/>
                  <a:gd name="T7" fmla="*/ 137 h 416"/>
                  <a:gd name="T8" fmla="*/ 536 w 569"/>
                  <a:gd name="T9" fmla="*/ 123 h 416"/>
                  <a:gd name="T10" fmla="*/ 511 w 569"/>
                  <a:gd name="T11" fmla="*/ 93 h 416"/>
                  <a:gd name="T12" fmla="*/ 461 w 569"/>
                  <a:gd name="T13" fmla="*/ 49 h 416"/>
                  <a:gd name="T14" fmla="*/ 418 w 569"/>
                  <a:gd name="T15" fmla="*/ 44 h 416"/>
                  <a:gd name="T16" fmla="*/ 391 w 569"/>
                  <a:gd name="T17" fmla="*/ 21 h 416"/>
                  <a:gd name="T18" fmla="*/ 379 w 569"/>
                  <a:gd name="T19" fmla="*/ 3 h 416"/>
                  <a:gd name="T20" fmla="*/ 327 w 569"/>
                  <a:gd name="T21" fmla="*/ 23 h 416"/>
                  <a:gd name="T22" fmla="*/ 292 w 569"/>
                  <a:gd name="T23" fmla="*/ 14 h 416"/>
                  <a:gd name="T24" fmla="*/ 252 w 569"/>
                  <a:gd name="T25" fmla="*/ 19 h 416"/>
                  <a:gd name="T26" fmla="*/ 216 w 569"/>
                  <a:gd name="T27" fmla="*/ 12 h 416"/>
                  <a:gd name="T28" fmla="*/ 200 w 569"/>
                  <a:gd name="T29" fmla="*/ 14 h 416"/>
                  <a:gd name="T30" fmla="*/ 188 w 569"/>
                  <a:gd name="T31" fmla="*/ 3 h 416"/>
                  <a:gd name="T32" fmla="*/ 135 w 569"/>
                  <a:gd name="T33" fmla="*/ 7 h 416"/>
                  <a:gd name="T34" fmla="*/ 37 w 569"/>
                  <a:gd name="T35" fmla="*/ 33 h 416"/>
                  <a:gd name="T36" fmla="*/ 24 w 569"/>
                  <a:gd name="T37" fmla="*/ 56 h 416"/>
                  <a:gd name="T38" fmla="*/ 4 w 569"/>
                  <a:gd name="T39" fmla="*/ 67 h 416"/>
                  <a:gd name="T40" fmla="*/ 7 w 569"/>
                  <a:gd name="T41" fmla="*/ 130 h 416"/>
                  <a:gd name="T42" fmla="*/ 25 w 569"/>
                  <a:gd name="T43" fmla="*/ 191 h 416"/>
                  <a:gd name="T44" fmla="*/ 20 w 569"/>
                  <a:gd name="T45" fmla="*/ 198 h 416"/>
                  <a:gd name="T46" fmla="*/ 44 w 569"/>
                  <a:gd name="T47" fmla="*/ 200 h 416"/>
                  <a:gd name="T48" fmla="*/ 57 w 569"/>
                  <a:gd name="T49" fmla="*/ 204 h 416"/>
                  <a:gd name="T50" fmla="*/ 80 w 569"/>
                  <a:gd name="T51" fmla="*/ 218 h 416"/>
                  <a:gd name="T52" fmla="*/ 106 w 569"/>
                  <a:gd name="T53" fmla="*/ 230 h 416"/>
                  <a:gd name="T54" fmla="*/ 147 w 569"/>
                  <a:gd name="T55" fmla="*/ 227 h 416"/>
                  <a:gd name="T56" fmla="*/ 160 w 569"/>
                  <a:gd name="T57" fmla="*/ 236 h 416"/>
                  <a:gd name="T58" fmla="*/ 180 w 569"/>
                  <a:gd name="T59" fmla="*/ 250 h 416"/>
                  <a:gd name="T60" fmla="*/ 174 w 569"/>
                  <a:gd name="T61" fmla="*/ 278 h 416"/>
                  <a:gd name="T62" fmla="*/ 171 w 569"/>
                  <a:gd name="T63" fmla="*/ 326 h 416"/>
                  <a:gd name="T64" fmla="*/ 200 w 569"/>
                  <a:gd name="T65" fmla="*/ 327 h 416"/>
                  <a:gd name="T66" fmla="*/ 231 w 569"/>
                  <a:gd name="T67" fmla="*/ 347 h 416"/>
                  <a:gd name="T68" fmla="*/ 249 w 569"/>
                  <a:gd name="T69" fmla="*/ 396 h 416"/>
                  <a:gd name="T70" fmla="*/ 258 w 569"/>
                  <a:gd name="T71" fmla="*/ 412 h 416"/>
                  <a:gd name="T72" fmla="*/ 277 w 569"/>
                  <a:gd name="T73" fmla="*/ 412 h 416"/>
                  <a:gd name="T74" fmla="*/ 304 w 569"/>
                  <a:gd name="T75" fmla="*/ 409 h 416"/>
                  <a:gd name="T76" fmla="*/ 321 w 569"/>
                  <a:gd name="T77" fmla="*/ 409 h 416"/>
                  <a:gd name="T78" fmla="*/ 337 w 569"/>
                  <a:gd name="T79" fmla="*/ 416 h 416"/>
                  <a:gd name="T80" fmla="*/ 362 w 569"/>
                  <a:gd name="T81" fmla="*/ 401 h 416"/>
                  <a:gd name="T82" fmla="*/ 375 w 569"/>
                  <a:gd name="T83" fmla="*/ 401 h 416"/>
                  <a:gd name="T84" fmla="*/ 375 w 569"/>
                  <a:gd name="T85" fmla="*/ 380 h 416"/>
                  <a:gd name="T86" fmla="*/ 395 w 569"/>
                  <a:gd name="T87" fmla="*/ 375 h 416"/>
                  <a:gd name="T88" fmla="*/ 412 w 569"/>
                  <a:gd name="T89" fmla="*/ 366 h 416"/>
                  <a:gd name="T90" fmla="*/ 428 w 569"/>
                  <a:gd name="T91" fmla="*/ 359 h 416"/>
                  <a:gd name="T92" fmla="*/ 440 w 569"/>
                  <a:gd name="T93" fmla="*/ 348 h 416"/>
                  <a:gd name="T94" fmla="*/ 446 w 569"/>
                  <a:gd name="T95" fmla="*/ 359 h 416"/>
                  <a:gd name="T96" fmla="*/ 457 w 569"/>
                  <a:gd name="T97" fmla="*/ 377 h 416"/>
                  <a:gd name="T98" fmla="*/ 472 w 569"/>
                  <a:gd name="T99" fmla="*/ 361 h 416"/>
                  <a:gd name="T100" fmla="*/ 457 w 569"/>
                  <a:gd name="T101" fmla="*/ 347 h 416"/>
                  <a:gd name="T102" fmla="*/ 456 w 569"/>
                  <a:gd name="T103" fmla="*/ 327 h 416"/>
                  <a:gd name="T104" fmla="*/ 465 w 569"/>
                  <a:gd name="T105" fmla="*/ 306 h 416"/>
                  <a:gd name="T106" fmla="*/ 464 w 569"/>
                  <a:gd name="T107" fmla="*/ 283 h 416"/>
                  <a:gd name="T108" fmla="*/ 470 w 569"/>
                  <a:gd name="T109" fmla="*/ 260 h 416"/>
                  <a:gd name="T110" fmla="*/ 499 w 569"/>
                  <a:gd name="T111" fmla="*/ 241 h 416"/>
                  <a:gd name="T112" fmla="*/ 519 w 569"/>
                  <a:gd name="T113" fmla="*/ 214 h 416"/>
                  <a:gd name="T114" fmla="*/ 536 w 569"/>
                  <a:gd name="T115" fmla="*/ 214 h 416"/>
                  <a:gd name="T116" fmla="*/ 547 w 569"/>
                  <a:gd name="T117" fmla="*/ 216 h 416"/>
                  <a:gd name="T118" fmla="*/ 556 w 569"/>
                  <a:gd name="T119" fmla="*/ 204 h 416"/>
                  <a:gd name="T120" fmla="*/ 564 w 569"/>
                  <a:gd name="T121" fmla="*/ 193 h 41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569"/>
                  <a:gd name="T184" fmla="*/ 0 h 416"/>
                  <a:gd name="T185" fmla="*/ 569 w 569"/>
                  <a:gd name="T186" fmla="*/ 416 h 41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569" h="416">
                    <a:moveTo>
                      <a:pt x="564" y="193"/>
                    </a:moveTo>
                    <a:lnTo>
                      <a:pt x="569" y="190"/>
                    </a:lnTo>
                    <a:lnTo>
                      <a:pt x="567" y="184"/>
                    </a:lnTo>
                    <a:lnTo>
                      <a:pt x="552" y="181"/>
                    </a:lnTo>
                    <a:lnTo>
                      <a:pt x="538" y="179"/>
                    </a:lnTo>
                    <a:lnTo>
                      <a:pt x="547" y="159"/>
                    </a:lnTo>
                    <a:lnTo>
                      <a:pt x="548" y="150"/>
                    </a:lnTo>
                    <a:lnTo>
                      <a:pt x="552" y="137"/>
                    </a:lnTo>
                    <a:lnTo>
                      <a:pt x="552" y="125"/>
                    </a:lnTo>
                    <a:lnTo>
                      <a:pt x="536" y="123"/>
                    </a:lnTo>
                    <a:lnTo>
                      <a:pt x="525" y="118"/>
                    </a:lnTo>
                    <a:lnTo>
                      <a:pt x="511" y="93"/>
                    </a:lnTo>
                    <a:lnTo>
                      <a:pt x="476" y="67"/>
                    </a:lnTo>
                    <a:lnTo>
                      <a:pt x="461" y="49"/>
                    </a:lnTo>
                    <a:lnTo>
                      <a:pt x="445" y="46"/>
                    </a:lnTo>
                    <a:lnTo>
                      <a:pt x="418" y="44"/>
                    </a:lnTo>
                    <a:lnTo>
                      <a:pt x="403" y="35"/>
                    </a:lnTo>
                    <a:lnTo>
                      <a:pt x="391" y="21"/>
                    </a:lnTo>
                    <a:lnTo>
                      <a:pt x="387" y="1"/>
                    </a:lnTo>
                    <a:lnTo>
                      <a:pt x="379" y="3"/>
                    </a:lnTo>
                    <a:lnTo>
                      <a:pt x="356" y="21"/>
                    </a:lnTo>
                    <a:lnTo>
                      <a:pt x="327" y="23"/>
                    </a:lnTo>
                    <a:lnTo>
                      <a:pt x="315" y="28"/>
                    </a:lnTo>
                    <a:lnTo>
                      <a:pt x="292" y="14"/>
                    </a:lnTo>
                    <a:lnTo>
                      <a:pt x="265" y="14"/>
                    </a:lnTo>
                    <a:lnTo>
                      <a:pt x="252" y="19"/>
                    </a:lnTo>
                    <a:lnTo>
                      <a:pt x="224" y="10"/>
                    </a:lnTo>
                    <a:lnTo>
                      <a:pt x="216" y="12"/>
                    </a:lnTo>
                    <a:lnTo>
                      <a:pt x="204" y="17"/>
                    </a:lnTo>
                    <a:lnTo>
                      <a:pt x="200" y="14"/>
                    </a:lnTo>
                    <a:lnTo>
                      <a:pt x="194" y="3"/>
                    </a:lnTo>
                    <a:lnTo>
                      <a:pt x="188" y="3"/>
                    </a:lnTo>
                    <a:lnTo>
                      <a:pt x="176" y="9"/>
                    </a:lnTo>
                    <a:lnTo>
                      <a:pt x="135" y="7"/>
                    </a:lnTo>
                    <a:lnTo>
                      <a:pt x="116" y="0"/>
                    </a:lnTo>
                    <a:lnTo>
                      <a:pt x="37" y="33"/>
                    </a:lnTo>
                    <a:lnTo>
                      <a:pt x="25" y="42"/>
                    </a:lnTo>
                    <a:lnTo>
                      <a:pt x="24" y="56"/>
                    </a:lnTo>
                    <a:lnTo>
                      <a:pt x="0" y="58"/>
                    </a:lnTo>
                    <a:lnTo>
                      <a:pt x="4" y="67"/>
                    </a:lnTo>
                    <a:lnTo>
                      <a:pt x="6" y="120"/>
                    </a:lnTo>
                    <a:lnTo>
                      <a:pt x="7" y="130"/>
                    </a:lnTo>
                    <a:lnTo>
                      <a:pt x="27" y="179"/>
                    </a:lnTo>
                    <a:lnTo>
                      <a:pt x="25" y="191"/>
                    </a:lnTo>
                    <a:lnTo>
                      <a:pt x="19" y="193"/>
                    </a:lnTo>
                    <a:lnTo>
                      <a:pt x="20" y="198"/>
                    </a:lnTo>
                    <a:lnTo>
                      <a:pt x="41" y="190"/>
                    </a:lnTo>
                    <a:lnTo>
                      <a:pt x="44" y="200"/>
                    </a:lnTo>
                    <a:lnTo>
                      <a:pt x="48" y="204"/>
                    </a:lnTo>
                    <a:lnTo>
                      <a:pt x="57" y="204"/>
                    </a:lnTo>
                    <a:lnTo>
                      <a:pt x="68" y="213"/>
                    </a:lnTo>
                    <a:lnTo>
                      <a:pt x="80" y="218"/>
                    </a:lnTo>
                    <a:lnTo>
                      <a:pt x="102" y="223"/>
                    </a:lnTo>
                    <a:lnTo>
                      <a:pt x="106" y="230"/>
                    </a:lnTo>
                    <a:lnTo>
                      <a:pt x="116" y="227"/>
                    </a:lnTo>
                    <a:lnTo>
                      <a:pt x="147" y="227"/>
                    </a:lnTo>
                    <a:lnTo>
                      <a:pt x="157" y="225"/>
                    </a:lnTo>
                    <a:lnTo>
                      <a:pt x="160" y="236"/>
                    </a:lnTo>
                    <a:lnTo>
                      <a:pt x="164" y="243"/>
                    </a:lnTo>
                    <a:lnTo>
                      <a:pt x="180" y="250"/>
                    </a:lnTo>
                    <a:lnTo>
                      <a:pt x="184" y="269"/>
                    </a:lnTo>
                    <a:lnTo>
                      <a:pt x="174" y="278"/>
                    </a:lnTo>
                    <a:lnTo>
                      <a:pt x="167" y="304"/>
                    </a:lnTo>
                    <a:lnTo>
                      <a:pt x="171" y="326"/>
                    </a:lnTo>
                    <a:lnTo>
                      <a:pt x="172" y="329"/>
                    </a:lnTo>
                    <a:lnTo>
                      <a:pt x="200" y="327"/>
                    </a:lnTo>
                    <a:lnTo>
                      <a:pt x="202" y="329"/>
                    </a:lnTo>
                    <a:lnTo>
                      <a:pt x="231" y="347"/>
                    </a:lnTo>
                    <a:lnTo>
                      <a:pt x="249" y="394"/>
                    </a:lnTo>
                    <a:lnTo>
                      <a:pt x="249" y="396"/>
                    </a:lnTo>
                    <a:lnTo>
                      <a:pt x="253" y="409"/>
                    </a:lnTo>
                    <a:lnTo>
                      <a:pt x="258" y="412"/>
                    </a:lnTo>
                    <a:lnTo>
                      <a:pt x="264" y="409"/>
                    </a:lnTo>
                    <a:lnTo>
                      <a:pt x="277" y="412"/>
                    </a:lnTo>
                    <a:lnTo>
                      <a:pt x="288" y="409"/>
                    </a:lnTo>
                    <a:lnTo>
                      <a:pt x="304" y="409"/>
                    </a:lnTo>
                    <a:lnTo>
                      <a:pt x="314" y="405"/>
                    </a:lnTo>
                    <a:lnTo>
                      <a:pt x="321" y="409"/>
                    </a:lnTo>
                    <a:lnTo>
                      <a:pt x="323" y="416"/>
                    </a:lnTo>
                    <a:lnTo>
                      <a:pt x="337" y="416"/>
                    </a:lnTo>
                    <a:lnTo>
                      <a:pt x="353" y="405"/>
                    </a:lnTo>
                    <a:lnTo>
                      <a:pt x="362" y="401"/>
                    </a:lnTo>
                    <a:lnTo>
                      <a:pt x="367" y="403"/>
                    </a:lnTo>
                    <a:lnTo>
                      <a:pt x="375" y="401"/>
                    </a:lnTo>
                    <a:lnTo>
                      <a:pt x="378" y="393"/>
                    </a:lnTo>
                    <a:lnTo>
                      <a:pt x="375" y="380"/>
                    </a:lnTo>
                    <a:lnTo>
                      <a:pt x="387" y="371"/>
                    </a:lnTo>
                    <a:lnTo>
                      <a:pt x="395" y="375"/>
                    </a:lnTo>
                    <a:lnTo>
                      <a:pt x="401" y="375"/>
                    </a:lnTo>
                    <a:lnTo>
                      <a:pt x="412" y="366"/>
                    </a:lnTo>
                    <a:lnTo>
                      <a:pt x="415" y="356"/>
                    </a:lnTo>
                    <a:lnTo>
                      <a:pt x="428" y="359"/>
                    </a:lnTo>
                    <a:lnTo>
                      <a:pt x="433" y="352"/>
                    </a:lnTo>
                    <a:lnTo>
                      <a:pt x="440" y="348"/>
                    </a:lnTo>
                    <a:lnTo>
                      <a:pt x="445" y="354"/>
                    </a:lnTo>
                    <a:lnTo>
                      <a:pt x="446" y="359"/>
                    </a:lnTo>
                    <a:lnTo>
                      <a:pt x="446" y="371"/>
                    </a:lnTo>
                    <a:lnTo>
                      <a:pt x="457" y="377"/>
                    </a:lnTo>
                    <a:lnTo>
                      <a:pt x="469" y="375"/>
                    </a:lnTo>
                    <a:lnTo>
                      <a:pt x="472" y="361"/>
                    </a:lnTo>
                    <a:lnTo>
                      <a:pt x="465" y="347"/>
                    </a:lnTo>
                    <a:lnTo>
                      <a:pt x="457" y="347"/>
                    </a:lnTo>
                    <a:lnTo>
                      <a:pt x="449" y="343"/>
                    </a:lnTo>
                    <a:lnTo>
                      <a:pt x="456" y="327"/>
                    </a:lnTo>
                    <a:lnTo>
                      <a:pt x="456" y="318"/>
                    </a:lnTo>
                    <a:lnTo>
                      <a:pt x="465" y="306"/>
                    </a:lnTo>
                    <a:lnTo>
                      <a:pt x="469" y="297"/>
                    </a:lnTo>
                    <a:lnTo>
                      <a:pt x="464" y="283"/>
                    </a:lnTo>
                    <a:lnTo>
                      <a:pt x="469" y="271"/>
                    </a:lnTo>
                    <a:lnTo>
                      <a:pt x="470" y="260"/>
                    </a:lnTo>
                    <a:lnTo>
                      <a:pt x="481" y="241"/>
                    </a:lnTo>
                    <a:lnTo>
                      <a:pt x="499" y="241"/>
                    </a:lnTo>
                    <a:lnTo>
                      <a:pt x="511" y="237"/>
                    </a:lnTo>
                    <a:lnTo>
                      <a:pt x="519" y="214"/>
                    </a:lnTo>
                    <a:lnTo>
                      <a:pt x="526" y="211"/>
                    </a:lnTo>
                    <a:lnTo>
                      <a:pt x="536" y="214"/>
                    </a:lnTo>
                    <a:lnTo>
                      <a:pt x="543" y="211"/>
                    </a:lnTo>
                    <a:lnTo>
                      <a:pt x="547" y="216"/>
                    </a:lnTo>
                    <a:lnTo>
                      <a:pt x="555" y="216"/>
                    </a:lnTo>
                    <a:lnTo>
                      <a:pt x="556" y="204"/>
                    </a:lnTo>
                    <a:lnTo>
                      <a:pt x="560" y="193"/>
                    </a:lnTo>
                    <a:lnTo>
                      <a:pt x="564" y="193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35" name="Freeform 223"/>
              <p:cNvSpPr>
                <a:spLocks/>
              </p:cNvSpPr>
              <p:nvPr>
                <p:custDataLst>
                  <p:tags r:id="rId160"/>
                </p:custDataLst>
              </p:nvPr>
            </p:nvSpPr>
            <p:spPr bwMode="auto">
              <a:xfrm>
                <a:off x="3037" y="1686"/>
                <a:ext cx="140" cy="115"/>
              </a:xfrm>
              <a:custGeom>
                <a:avLst/>
                <a:gdLst>
                  <a:gd name="T0" fmla="*/ 503 w 933"/>
                  <a:gd name="T1" fmla="*/ 16 h 776"/>
                  <a:gd name="T2" fmla="*/ 450 w 933"/>
                  <a:gd name="T3" fmla="*/ 18 h 776"/>
                  <a:gd name="T4" fmla="*/ 423 w 933"/>
                  <a:gd name="T5" fmla="*/ 62 h 776"/>
                  <a:gd name="T6" fmla="*/ 360 w 933"/>
                  <a:gd name="T7" fmla="*/ 69 h 776"/>
                  <a:gd name="T8" fmla="*/ 333 w 933"/>
                  <a:gd name="T9" fmla="*/ 90 h 776"/>
                  <a:gd name="T10" fmla="*/ 348 w 933"/>
                  <a:gd name="T11" fmla="*/ 137 h 776"/>
                  <a:gd name="T12" fmla="*/ 336 w 933"/>
                  <a:gd name="T13" fmla="*/ 169 h 776"/>
                  <a:gd name="T14" fmla="*/ 300 w 933"/>
                  <a:gd name="T15" fmla="*/ 167 h 776"/>
                  <a:gd name="T16" fmla="*/ 250 w 933"/>
                  <a:gd name="T17" fmla="*/ 224 h 776"/>
                  <a:gd name="T18" fmla="*/ 237 w 933"/>
                  <a:gd name="T19" fmla="*/ 280 h 776"/>
                  <a:gd name="T20" fmla="*/ 250 w 933"/>
                  <a:gd name="T21" fmla="*/ 328 h 776"/>
                  <a:gd name="T22" fmla="*/ 221 w 933"/>
                  <a:gd name="T23" fmla="*/ 301 h 776"/>
                  <a:gd name="T24" fmla="*/ 182 w 933"/>
                  <a:gd name="T25" fmla="*/ 328 h 776"/>
                  <a:gd name="T26" fmla="*/ 156 w 933"/>
                  <a:gd name="T27" fmla="*/ 354 h 776"/>
                  <a:gd name="T28" fmla="*/ 104 w 933"/>
                  <a:gd name="T29" fmla="*/ 369 h 776"/>
                  <a:gd name="T30" fmla="*/ 58 w 933"/>
                  <a:gd name="T31" fmla="*/ 365 h 776"/>
                  <a:gd name="T32" fmla="*/ 76 w 933"/>
                  <a:gd name="T33" fmla="*/ 527 h 776"/>
                  <a:gd name="T34" fmla="*/ 6 w 933"/>
                  <a:gd name="T35" fmla="*/ 602 h 776"/>
                  <a:gd name="T36" fmla="*/ 47 w 933"/>
                  <a:gd name="T37" fmla="*/ 656 h 776"/>
                  <a:gd name="T38" fmla="*/ 42 w 933"/>
                  <a:gd name="T39" fmla="*/ 723 h 776"/>
                  <a:gd name="T40" fmla="*/ 119 w 933"/>
                  <a:gd name="T41" fmla="*/ 681 h 776"/>
                  <a:gd name="T42" fmla="*/ 230 w 933"/>
                  <a:gd name="T43" fmla="*/ 679 h 776"/>
                  <a:gd name="T44" fmla="*/ 316 w 933"/>
                  <a:gd name="T45" fmla="*/ 690 h 776"/>
                  <a:gd name="T46" fmla="*/ 392 w 933"/>
                  <a:gd name="T47" fmla="*/ 704 h 776"/>
                  <a:gd name="T48" fmla="*/ 442 w 933"/>
                  <a:gd name="T49" fmla="*/ 729 h 776"/>
                  <a:gd name="T50" fmla="*/ 457 w 933"/>
                  <a:gd name="T51" fmla="*/ 727 h 776"/>
                  <a:gd name="T52" fmla="*/ 505 w 933"/>
                  <a:gd name="T53" fmla="*/ 743 h 776"/>
                  <a:gd name="T54" fmla="*/ 541 w 933"/>
                  <a:gd name="T55" fmla="*/ 753 h 776"/>
                  <a:gd name="T56" fmla="*/ 580 w 933"/>
                  <a:gd name="T57" fmla="*/ 725 h 776"/>
                  <a:gd name="T58" fmla="*/ 615 w 933"/>
                  <a:gd name="T59" fmla="*/ 757 h 776"/>
                  <a:gd name="T60" fmla="*/ 664 w 933"/>
                  <a:gd name="T61" fmla="*/ 748 h 776"/>
                  <a:gd name="T62" fmla="*/ 704 w 933"/>
                  <a:gd name="T63" fmla="*/ 771 h 776"/>
                  <a:gd name="T64" fmla="*/ 715 w 933"/>
                  <a:gd name="T65" fmla="*/ 738 h 776"/>
                  <a:gd name="T66" fmla="*/ 758 w 933"/>
                  <a:gd name="T67" fmla="*/ 660 h 776"/>
                  <a:gd name="T68" fmla="*/ 819 w 933"/>
                  <a:gd name="T69" fmla="*/ 648 h 776"/>
                  <a:gd name="T70" fmla="*/ 823 w 933"/>
                  <a:gd name="T71" fmla="*/ 619 h 776"/>
                  <a:gd name="T72" fmla="*/ 814 w 933"/>
                  <a:gd name="T73" fmla="*/ 557 h 776"/>
                  <a:gd name="T74" fmla="*/ 794 w 933"/>
                  <a:gd name="T75" fmla="*/ 499 h 776"/>
                  <a:gd name="T76" fmla="*/ 867 w 933"/>
                  <a:gd name="T77" fmla="*/ 490 h 776"/>
                  <a:gd name="T78" fmla="*/ 930 w 933"/>
                  <a:gd name="T79" fmla="*/ 455 h 776"/>
                  <a:gd name="T80" fmla="*/ 901 w 933"/>
                  <a:gd name="T81" fmla="*/ 406 h 776"/>
                  <a:gd name="T82" fmla="*/ 867 w 933"/>
                  <a:gd name="T83" fmla="*/ 381 h 776"/>
                  <a:gd name="T84" fmla="*/ 839 w 933"/>
                  <a:gd name="T85" fmla="*/ 335 h 776"/>
                  <a:gd name="T86" fmla="*/ 775 w 933"/>
                  <a:gd name="T87" fmla="*/ 271 h 776"/>
                  <a:gd name="T88" fmla="*/ 769 w 933"/>
                  <a:gd name="T89" fmla="*/ 249 h 776"/>
                  <a:gd name="T90" fmla="*/ 752 w 933"/>
                  <a:gd name="T91" fmla="*/ 197 h 776"/>
                  <a:gd name="T92" fmla="*/ 762 w 933"/>
                  <a:gd name="T93" fmla="*/ 164 h 776"/>
                  <a:gd name="T94" fmla="*/ 753 w 933"/>
                  <a:gd name="T95" fmla="*/ 106 h 776"/>
                  <a:gd name="T96" fmla="*/ 734 w 933"/>
                  <a:gd name="T97" fmla="*/ 83 h 776"/>
                  <a:gd name="T98" fmla="*/ 678 w 933"/>
                  <a:gd name="T99" fmla="*/ 53 h 776"/>
                  <a:gd name="T100" fmla="*/ 644 w 933"/>
                  <a:gd name="T101" fmla="*/ 59 h 776"/>
                  <a:gd name="T102" fmla="*/ 602 w 933"/>
                  <a:gd name="T103" fmla="*/ 53 h 776"/>
                  <a:gd name="T104" fmla="*/ 577 w 933"/>
                  <a:gd name="T105" fmla="*/ 20 h 77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933"/>
                  <a:gd name="T160" fmla="*/ 0 h 776"/>
                  <a:gd name="T161" fmla="*/ 933 w 933"/>
                  <a:gd name="T162" fmla="*/ 776 h 77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933" h="776">
                    <a:moveTo>
                      <a:pt x="540" y="20"/>
                    </a:moveTo>
                    <a:lnTo>
                      <a:pt x="534" y="9"/>
                    </a:lnTo>
                    <a:lnTo>
                      <a:pt x="520" y="7"/>
                    </a:lnTo>
                    <a:lnTo>
                      <a:pt x="512" y="6"/>
                    </a:lnTo>
                    <a:lnTo>
                      <a:pt x="503" y="16"/>
                    </a:lnTo>
                    <a:lnTo>
                      <a:pt x="492" y="11"/>
                    </a:lnTo>
                    <a:lnTo>
                      <a:pt x="485" y="0"/>
                    </a:lnTo>
                    <a:lnTo>
                      <a:pt x="464" y="7"/>
                    </a:lnTo>
                    <a:lnTo>
                      <a:pt x="460" y="16"/>
                    </a:lnTo>
                    <a:lnTo>
                      <a:pt x="450" y="18"/>
                    </a:lnTo>
                    <a:lnTo>
                      <a:pt x="443" y="30"/>
                    </a:lnTo>
                    <a:lnTo>
                      <a:pt x="438" y="36"/>
                    </a:lnTo>
                    <a:lnTo>
                      <a:pt x="435" y="45"/>
                    </a:lnTo>
                    <a:lnTo>
                      <a:pt x="431" y="59"/>
                    </a:lnTo>
                    <a:lnTo>
                      <a:pt x="423" y="62"/>
                    </a:lnTo>
                    <a:lnTo>
                      <a:pt x="413" y="59"/>
                    </a:lnTo>
                    <a:lnTo>
                      <a:pt x="387" y="53"/>
                    </a:lnTo>
                    <a:lnTo>
                      <a:pt x="372" y="53"/>
                    </a:lnTo>
                    <a:lnTo>
                      <a:pt x="364" y="59"/>
                    </a:lnTo>
                    <a:lnTo>
                      <a:pt x="360" y="69"/>
                    </a:lnTo>
                    <a:lnTo>
                      <a:pt x="350" y="76"/>
                    </a:lnTo>
                    <a:lnTo>
                      <a:pt x="343" y="76"/>
                    </a:lnTo>
                    <a:lnTo>
                      <a:pt x="339" y="75"/>
                    </a:lnTo>
                    <a:lnTo>
                      <a:pt x="333" y="78"/>
                    </a:lnTo>
                    <a:lnTo>
                      <a:pt x="333" y="90"/>
                    </a:lnTo>
                    <a:lnTo>
                      <a:pt x="329" y="103"/>
                    </a:lnTo>
                    <a:lnTo>
                      <a:pt x="328" y="112"/>
                    </a:lnTo>
                    <a:lnTo>
                      <a:pt x="319" y="132"/>
                    </a:lnTo>
                    <a:lnTo>
                      <a:pt x="333" y="134"/>
                    </a:lnTo>
                    <a:lnTo>
                      <a:pt x="348" y="137"/>
                    </a:lnTo>
                    <a:lnTo>
                      <a:pt x="350" y="143"/>
                    </a:lnTo>
                    <a:lnTo>
                      <a:pt x="345" y="146"/>
                    </a:lnTo>
                    <a:lnTo>
                      <a:pt x="341" y="146"/>
                    </a:lnTo>
                    <a:lnTo>
                      <a:pt x="337" y="157"/>
                    </a:lnTo>
                    <a:lnTo>
                      <a:pt x="336" y="169"/>
                    </a:lnTo>
                    <a:lnTo>
                      <a:pt x="328" y="169"/>
                    </a:lnTo>
                    <a:lnTo>
                      <a:pt x="324" y="164"/>
                    </a:lnTo>
                    <a:lnTo>
                      <a:pt x="317" y="167"/>
                    </a:lnTo>
                    <a:lnTo>
                      <a:pt x="307" y="164"/>
                    </a:lnTo>
                    <a:lnTo>
                      <a:pt x="300" y="167"/>
                    </a:lnTo>
                    <a:lnTo>
                      <a:pt x="292" y="190"/>
                    </a:lnTo>
                    <a:lnTo>
                      <a:pt x="280" y="194"/>
                    </a:lnTo>
                    <a:lnTo>
                      <a:pt x="262" y="194"/>
                    </a:lnTo>
                    <a:lnTo>
                      <a:pt x="251" y="213"/>
                    </a:lnTo>
                    <a:lnTo>
                      <a:pt x="250" y="224"/>
                    </a:lnTo>
                    <a:lnTo>
                      <a:pt x="245" y="236"/>
                    </a:lnTo>
                    <a:lnTo>
                      <a:pt x="250" y="250"/>
                    </a:lnTo>
                    <a:lnTo>
                      <a:pt x="246" y="259"/>
                    </a:lnTo>
                    <a:lnTo>
                      <a:pt x="237" y="271"/>
                    </a:lnTo>
                    <a:lnTo>
                      <a:pt x="237" y="280"/>
                    </a:lnTo>
                    <a:lnTo>
                      <a:pt x="230" y="296"/>
                    </a:lnTo>
                    <a:lnTo>
                      <a:pt x="238" y="300"/>
                    </a:lnTo>
                    <a:lnTo>
                      <a:pt x="246" y="300"/>
                    </a:lnTo>
                    <a:lnTo>
                      <a:pt x="253" y="314"/>
                    </a:lnTo>
                    <a:lnTo>
                      <a:pt x="250" y="328"/>
                    </a:lnTo>
                    <a:lnTo>
                      <a:pt x="238" y="330"/>
                    </a:lnTo>
                    <a:lnTo>
                      <a:pt x="227" y="324"/>
                    </a:lnTo>
                    <a:lnTo>
                      <a:pt x="227" y="312"/>
                    </a:lnTo>
                    <a:lnTo>
                      <a:pt x="226" y="307"/>
                    </a:lnTo>
                    <a:lnTo>
                      <a:pt x="221" y="301"/>
                    </a:lnTo>
                    <a:lnTo>
                      <a:pt x="214" y="305"/>
                    </a:lnTo>
                    <a:lnTo>
                      <a:pt x="209" y="312"/>
                    </a:lnTo>
                    <a:lnTo>
                      <a:pt x="196" y="309"/>
                    </a:lnTo>
                    <a:lnTo>
                      <a:pt x="193" y="319"/>
                    </a:lnTo>
                    <a:lnTo>
                      <a:pt x="182" y="328"/>
                    </a:lnTo>
                    <a:lnTo>
                      <a:pt x="176" y="328"/>
                    </a:lnTo>
                    <a:lnTo>
                      <a:pt x="168" y="324"/>
                    </a:lnTo>
                    <a:lnTo>
                      <a:pt x="156" y="333"/>
                    </a:lnTo>
                    <a:lnTo>
                      <a:pt x="159" y="346"/>
                    </a:lnTo>
                    <a:lnTo>
                      <a:pt x="156" y="354"/>
                    </a:lnTo>
                    <a:lnTo>
                      <a:pt x="148" y="356"/>
                    </a:lnTo>
                    <a:lnTo>
                      <a:pt x="143" y="354"/>
                    </a:lnTo>
                    <a:lnTo>
                      <a:pt x="134" y="358"/>
                    </a:lnTo>
                    <a:lnTo>
                      <a:pt x="118" y="369"/>
                    </a:lnTo>
                    <a:lnTo>
                      <a:pt x="104" y="369"/>
                    </a:lnTo>
                    <a:lnTo>
                      <a:pt x="102" y="362"/>
                    </a:lnTo>
                    <a:lnTo>
                      <a:pt x="95" y="358"/>
                    </a:lnTo>
                    <a:lnTo>
                      <a:pt x="85" y="362"/>
                    </a:lnTo>
                    <a:lnTo>
                      <a:pt x="69" y="362"/>
                    </a:lnTo>
                    <a:lnTo>
                      <a:pt x="58" y="365"/>
                    </a:lnTo>
                    <a:lnTo>
                      <a:pt x="45" y="362"/>
                    </a:lnTo>
                    <a:lnTo>
                      <a:pt x="39" y="365"/>
                    </a:lnTo>
                    <a:lnTo>
                      <a:pt x="34" y="362"/>
                    </a:lnTo>
                    <a:lnTo>
                      <a:pt x="42" y="384"/>
                    </a:lnTo>
                    <a:lnTo>
                      <a:pt x="76" y="527"/>
                    </a:lnTo>
                    <a:lnTo>
                      <a:pt x="74" y="543"/>
                    </a:lnTo>
                    <a:lnTo>
                      <a:pt x="63" y="559"/>
                    </a:lnTo>
                    <a:lnTo>
                      <a:pt x="43" y="561"/>
                    </a:lnTo>
                    <a:lnTo>
                      <a:pt x="18" y="579"/>
                    </a:lnTo>
                    <a:lnTo>
                      <a:pt x="6" y="602"/>
                    </a:lnTo>
                    <a:lnTo>
                      <a:pt x="0" y="621"/>
                    </a:lnTo>
                    <a:lnTo>
                      <a:pt x="14" y="623"/>
                    </a:lnTo>
                    <a:lnTo>
                      <a:pt x="32" y="633"/>
                    </a:lnTo>
                    <a:lnTo>
                      <a:pt x="37" y="646"/>
                    </a:lnTo>
                    <a:lnTo>
                      <a:pt x="47" y="656"/>
                    </a:lnTo>
                    <a:lnTo>
                      <a:pt x="47" y="674"/>
                    </a:lnTo>
                    <a:lnTo>
                      <a:pt x="34" y="725"/>
                    </a:lnTo>
                    <a:lnTo>
                      <a:pt x="41" y="736"/>
                    </a:lnTo>
                    <a:lnTo>
                      <a:pt x="41" y="732"/>
                    </a:lnTo>
                    <a:lnTo>
                      <a:pt x="42" y="723"/>
                    </a:lnTo>
                    <a:lnTo>
                      <a:pt x="70" y="725"/>
                    </a:lnTo>
                    <a:lnTo>
                      <a:pt x="74" y="732"/>
                    </a:lnTo>
                    <a:lnTo>
                      <a:pt x="107" y="706"/>
                    </a:lnTo>
                    <a:lnTo>
                      <a:pt x="108" y="695"/>
                    </a:lnTo>
                    <a:lnTo>
                      <a:pt x="119" y="681"/>
                    </a:lnTo>
                    <a:lnTo>
                      <a:pt x="140" y="679"/>
                    </a:lnTo>
                    <a:lnTo>
                      <a:pt x="160" y="683"/>
                    </a:lnTo>
                    <a:lnTo>
                      <a:pt x="193" y="674"/>
                    </a:lnTo>
                    <a:lnTo>
                      <a:pt x="208" y="679"/>
                    </a:lnTo>
                    <a:lnTo>
                      <a:pt x="230" y="679"/>
                    </a:lnTo>
                    <a:lnTo>
                      <a:pt x="250" y="674"/>
                    </a:lnTo>
                    <a:lnTo>
                      <a:pt x="274" y="679"/>
                    </a:lnTo>
                    <a:lnTo>
                      <a:pt x="284" y="679"/>
                    </a:lnTo>
                    <a:lnTo>
                      <a:pt x="294" y="690"/>
                    </a:lnTo>
                    <a:lnTo>
                      <a:pt x="316" y="690"/>
                    </a:lnTo>
                    <a:lnTo>
                      <a:pt x="320" y="695"/>
                    </a:lnTo>
                    <a:lnTo>
                      <a:pt x="345" y="699"/>
                    </a:lnTo>
                    <a:lnTo>
                      <a:pt x="368" y="706"/>
                    </a:lnTo>
                    <a:lnTo>
                      <a:pt x="380" y="700"/>
                    </a:lnTo>
                    <a:lnTo>
                      <a:pt x="392" y="704"/>
                    </a:lnTo>
                    <a:lnTo>
                      <a:pt x="390" y="720"/>
                    </a:lnTo>
                    <a:lnTo>
                      <a:pt x="399" y="720"/>
                    </a:lnTo>
                    <a:lnTo>
                      <a:pt x="399" y="730"/>
                    </a:lnTo>
                    <a:lnTo>
                      <a:pt x="423" y="722"/>
                    </a:lnTo>
                    <a:lnTo>
                      <a:pt x="442" y="729"/>
                    </a:lnTo>
                    <a:lnTo>
                      <a:pt x="439" y="745"/>
                    </a:lnTo>
                    <a:lnTo>
                      <a:pt x="443" y="748"/>
                    </a:lnTo>
                    <a:lnTo>
                      <a:pt x="451" y="741"/>
                    </a:lnTo>
                    <a:lnTo>
                      <a:pt x="452" y="727"/>
                    </a:lnTo>
                    <a:lnTo>
                      <a:pt x="457" y="727"/>
                    </a:lnTo>
                    <a:lnTo>
                      <a:pt x="468" y="736"/>
                    </a:lnTo>
                    <a:lnTo>
                      <a:pt x="484" y="730"/>
                    </a:lnTo>
                    <a:lnTo>
                      <a:pt x="490" y="723"/>
                    </a:lnTo>
                    <a:lnTo>
                      <a:pt x="500" y="730"/>
                    </a:lnTo>
                    <a:lnTo>
                      <a:pt x="505" y="743"/>
                    </a:lnTo>
                    <a:lnTo>
                      <a:pt x="515" y="736"/>
                    </a:lnTo>
                    <a:lnTo>
                      <a:pt x="524" y="736"/>
                    </a:lnTo>
                    <a:lnTo>
                      <a:pt x="529" y="739"/>
                    </a:lnTo>
                    <a:lnTo>
                      <a:pt x="534" y="753"/>
                    </a:lnTo>
                    <a:lnTo>
                      <a:pt x="541" y="753"/>
                    </a:lnTo>
                    <a:lnTo>
                      <a:pt x="548" y="743"/>
                    </a:lnTo>
                    <a:lnTo>
                      <a:pt x="561" y="732"/>
                    </a:lnTo>
                    <a:lnTo>
                      <a:pt x="568" y="732"/>
                    </a:lnTo>
                    <a:lnTo>
                      <a:pt x="574" y="727"/>
                    </a:lnTo>
                    <a:lnTo>
                      <a:pt x="580" y="725"/>
                    </a:lnTo>
                    <a:lnTo>
                      <a:pt x="587" y="734"/>
                    </a:lnTo>
                    <a:lnTo>
                      <a:pt x="592" y="743"/>
                    </a:lnTo>
                    <a:lnTo>
                      <a:pt x="593" y="757"/>
                    </a:lnTo>
                    <a:lnTo>
                      <a:pt x="602" y="760"/>
                    </a:lnTo>
                    <a:lnTo>
                      <a:pt x="615" y="757"/>
                    </a:lnTo>
                    <a:lnTo>
                      <a:pt x="624" y="750"/>
                    </a:lnTo>
                    <a:lnTo>
                      <a:pt x="634" y="745"/>
                    </a:lnTo>
                    <a:lnTo>
                      <a:pt x="640" y="755"/>
                    </a:lnTo>
                    <a:lnTo>
                      <a:pt x="654" y="753"/>
                    </a:lnTo>
                    <a:lnTo>
                      <a:pt x="664" y="748"/>
                    </a:lnTo>
                    <a:lnTo>
                      <a:pt x="675" y="745"/>
                    </a:lnTo>
                    <a:lnTo>
                      <a:pt x="684" y="748"/>
                    </a:lnTo>
                    <a:lnTo>
                      <a:pt x="693" y="753"/>
                    </a:lnTo>
                    <a:lnTo>
                      <a:pt x="697" y="757"/>
                    </a:lnTo>
                    <a:lnTo>
                      <a:pt x="704" y="771"/>
                    </a:lnTo>
                    <a:lnTo>
                      <a:pt x="711" y="775"/>
                    </a:lnTo>
                    <a:lnTo>
                      <a:pt x="722" y="776"/>
                    </a:lnTo>
                    <a:lnTo>
                      <a:pt x="728" y="762"/>
                    </a:lnTo>
                    <a:lnTo>
                      <a:pt x="725" y="752"/>
                    </a:lnTo>
                    <a:lnTo>
                      <a:pt x="715" y="738"/>
                    </a:lnTo>
                    <a:lnTo>
                      <a:pt x="716" y="723"/>
                    </a:lnTo>
                    <a:lnTo>
                      <a:pt x="728" y="708"/>
                    </a:lnTo>
                    <a:lnTo>
                      <a:pt x="737" y="690"/>
                    </a:lnTo>
                    <a:lnTo>
                      <a:pt x="757" y="669"/>
                    </a:lnTo>
                    <a:lnTo>
                      <a:pt x="758" y="660"/>
                    </a:lnTo>
                    <a:lnTo>
                      <a:pt x="773" y="655"/>
                    </a:lnTo>
                    <a:lnTo>
                      <a:pt x="782" y="656"/>
                    </a:lnTo>
                    <a:lnTo>
                      <a:pt x="790" y="660"/>
                    </a:lnTo>
                    <a:lnTo>
                      <a:pt x="795" y="651"/>
                    </a:lnTo>
                    <a:lnTo>
                      <a:pt x="819" y="648"/>
                    </a:lnTo>
                    <a:lnTo>
                      <a:pt x="840" y="648"/>
                    </a:lnTo>
                    <a:lnTo>
                      <a:pt x="840" y="637"/>
                    </a:lnTo>
                    <a:lnTo>
                      <a:pt x="834" y="633"/>
                    </a:lnTo>
                    <a:lnTo>
                      <a:pt x="831" y="625"/>
                    </a:lnTo>
                    <a:lnTo>
                      <a:pt x="823" y="619"/>
                    </a:lnTo>
                    <a:lnTo>
                      <a:pt x="824" y="612"/>
                    </a:lnTo>
                    <a:lnTo>
                      <a:pt x="822" y="584"/>
                    </a:lnTo>
                    <a:lnTo>
                      <a:pt x="824" y="577"/>
                    </a:lnTo>
                    <a:lnTo>
                      <a:pt x="819" y="568"/>
                    </a:lnTo>
                    <a:lnTo>
                      <a:pt x="814" y="557"/>
                    </a:lnTo>
                    <a:lnTo>
                      <a:pt x="820" y="552"/>
                    </a:lnTo>
                    <a:lnTo>
                      <a:pt x="820" y="542"/>
                    </a:lnTo>
                    <a:lnTo>
                      <a:pt x="807" y="529"/>
                    </a:lnTo>
                    <a:lnTo>
                      <a:pt x="795" y="512"/>
                    </a:lnTo>
                    <a:lnTo>
                      <a:pt x="794" y="499"/>
                    </a:lnTo>
                    <a:lnTo>
                      <a:pt x="803" y="478"/>
                    </a:lnTo>
                    <a:lnTo>
                      <a:pt x="820" y="476"/>
                    </a:lnTo>
                    <a:lnTo>
                      <a:pt x="835" y="480"/>
                    </a:lnTo>
                    <a:lnTo>
                      <a:pt x="844" y="490"/>
                    </a:lnTo>
                    <a:lnTo>
                      <a:pt x="867" y="490"/>
                    </a:lnTo>
                    <a:lnTo>
                      <a:pt x="888" y="483"/>
                    </a:lnTo>
                    <a:lnTo>
                      <a:pt x="909" y="466"/>
                    </a:lnTo>
                    <a:lnTo>
                      <a:pt x="910" y="462"/>
                    </a:lnTo>
                    <a:lnTo>
                      <a:pt x="918" y="455"/>
                    </a:lnTo>
                    <a:lnTo>
                      <a:pt x="930" y="455"/>
                    </a:lnTo>
                    <a:lnTo>
                      <a:pt x="933" y="444"/>
                    </a:lnTo>
                    <a:lnTo>
                      <a:pt x="932" y="434"/>
                    </a:lnTo>
                    <a:lnTo>
                      <a:pt x="920" y="430"/>
                    </a:lnTo>
                    <a:lnTo>
                      <a:pt x="906" y="420"/>
                    </a:lnTo>
                    <a:lnTo>
                      <a:pt x="901" y="406"/>
                    </a:lnTo>
                    <a:lnTo>
                      <a:pt x="906" y="406"/>
                    </a:lnTo>
                    <a:lnTo>
                      <a:pt x="909" y="402"/>
                    </a:lnTo>
                    <a:lnTo>
                      <a:pt x="910" y="397"/>
                    </a:lnTo>
                    <a:lnTo>
                      <a:pt x="883" y="384"/>
                    </a:lnTo>
                    <a:lnTo>
                      <a:pt x="867" y="381"/>
                    </a:lnTo>
                    <a:lnTo>
                      <a:pt x="850" y="384"/>
                    </a:lnTo>
                    <a:lnTo>
                      <a:pt x="843" y="381"/>
                    </a:lnTo>
                    <a:lnTo>
                      <a:pt x="850" y="353"/>
                    </a:lnTo>
                    <a:lnTo>
                      <a:pt x="847" y="342"/>
                    </a:lnTo>
                    <a:lnTo>
                      <a:pt x="839" y="335"/>
                    </a:lnTo>
                    <a:lnTo>
                      <a:pt x="826" y="330"/>
                    </a:lnTo>
                    <a:lnTo>
                      <a:pt x="818" y="324"/>
                    </a:lnTo>
                    <a:lnTo>
                      <a:pt x="797" y="309"/>
                    </a:lnTo>
                    <a:lnTo>
                      <a:pt x="785" y="273"/>
                    </a:lnTo>
                    <a:lnTo>
                      <a:pt x="775" y="271"/>
                    </a:lnTo>
                    <a:lnTo>
                      <a:pt x="774" y="264"/>
                    </a:lnTo>
                    <a:lnTo>
                      <a:pt x="777" y="256"/>
                    </a:lnTo>
                    <a:lnTo>
                      <a:pt x="782" y="247"/>
                    </a:lnTo>
                    <a:lnTo>
                      <a:pt x="775" y="245"/>
                    </a:lnTo>
                    <a:lnTo>
                      <a:pt x="769" y="249"/>
                    </a:lnTo>
                    <a:lnTo>
                      <a:pt x="758" y="227"/>
                    </a:lnTo>
                    <a:lnTo>
                      <a:pt x="743" y="224"/>
                    </a:lnTo>
                    <a:lnTo>
                      <a:pt x="746" y="213"/>
                    </a:lnTo>
                    <a:lnTo>
                      <a:pt x="748" y="201"/>
                    </a:lnTo>
                    <a:lnTo>
                      <a:pt x="752" y="197"/>
                    </a:lnTo>
                    <a:lnTo>
                      <a:pt x="757" y="190"/>
                    </a:lnTo>
                    <a:lnTo>
                      <a:pt x="757" y="185"/>
                    </a:lnTo>
                    <a:lnTo>
                      <a:pt x="761" y="185"/>
                    </a:lnTo>
                    <a:lnTo>
                      <a:pt x="764" y="174"/>
                    </a:lnTo>
                    <a:lnTo>
                      <a:pt x="762" y="164"/>
                    </a:lnTo>
                    <a:lnTo>
                      <a:pt x="755" y="157"/>
                    </a:lnTo>
                    <a:lnTo>
                      <a:pt x="748" y="137"/>
                    </a:lnTo>
                    <a:lnTo>
                      <a:pt x="752" y="127"/>
                    </a:lnTo>
                    <a:lnTo>
                      <a:pt x="753" y="113"/>
                    </a:lnTo>
                    <a:lnTo>
                      <a:pt x="753" y="106"/>
                    </a:lnTo>
                    <a:lnTo>
                      <a:pt x="757" y="97"/>
                    </a:lnTo>
                    <a:lnTo>
                      <a:pt x="755" y="90"/>
                    </a:lnTo>
                    <a:lnTo>
                      <a:pt x="749" y="92"/>
                    </a:lnTo>
                    <a:lnTo>
                      <a:pt x="741" y="90"/>
                    </a:lnTo>
                    <a:lnTo>
                      <a:pt x="734" y="83"/>
                    </a:lnTo>
                    <a:lnTo>
                      <a:pt x="729" y="75"/>
                    </a:lnTo>
                    <a:lnTo>
                      <a:pt x="718" y="67"/>
                    </a:lnTo>
                    <a:lnTo>
                      <a:pt x="712" y="59"/>
                    </a:lnTo>
                    <a:lnTo>
                      <a:pt x="688" y="50"/>
                    </a:lnTo>
                    <a:lnTo>
                      <a:pt x="678" y="53"/>
                    </a:lnTo>
                    <a:lnTo>
                      <a:pt x="673" y="50"/>
                    </a:lnTo>
                    <a:lnTo>
                      <a:pt x="667" y="46"/>
                    </a:lnTo>
                    <a:lnTo>
                      <a:pt x="657" y="52"/>
                    </a:lnTo>
                    <a:lnTo>
                      <a:pt x="651" y="59"/>
                    </a:lnTo>
                    <a:lnTo>
                      <a:pt x="644" y="59"/>
                    </a:lnTo>
                    <a:lnTo>
                      <a:pt x="630" y="60"/>
                    </a:lnTo>
                    <a:lnTo>
                      <a:pt x="622" y="75"/>
                    </a:lnTo>
                    <a:lnTo>
                      <a:pt x="613" y="75"/>
                    </a:lnTo>
                    <a:lnTo>
                      <a:pt x="605" y="64"/>
                    </a:lnTo>
                    <a:lnTo>
                      <a:pt x="602" y="53"/>
                    </a:lnTo>
                    <a:lnTo>
                      <a:pt x="603" y="46"/>
                    </a:lnTo>
                    <a:lnTo>
                      <a:pt x="611" y="39"/>
                    </a:lnTo>
                    <a:lnTo>
                      <a:pt x="611" y="30"/>
                    </a:lnTo>
                    <a:lnTo>
                      <a:pt x="590" y="25"/>
                    </a:lnTo>
                    <a:lnTo>
                      <a:pt x="577" y="20"/>
                    </a:lnTo>
                    <a:lnTo>
                      <a:pt x="543" y="32"/>
                    </a:lnTo>
                    <a:lnTo>
                      <a:pt x="540" y="20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36" name="Freeform 224"/>
              <p:cNvSpPr>
                <a:spLocks/>
              </p:cNvSpPr>
              <p:nvPr>
                <p:custDataLst>
                  <p:tags r:id="rId161"/>
                </p:custDataLst>
              </p:nvPr>
            </p:nvSpPr>
            <p:spPr bwMode="auto">
              <a:xfrm>
                <a:off x="3037" y="1686"/>
                <a:ext cx="140" cy="115"/>
              </a:xfrm>
              <a:custGeom>
                <a:avLst/>
                <a:gdLst>
                  <a:gd name="T0" fmla="*/ 492 w 933"/>
                  <a:gd name="T1" fmla="*/ 11 h 776"/>
                  <a:gd name="T2" fmla="*/ 443 w 933"/>
                  <a:gd name="T3" fmla="*/ 30 h 776"/>
                  <a:gd name="T4" fmla="*/ 413 w 933"/>
                  <a:gd name="T5" fmla="*/ 59 h 776"/>
                  <a:gd name="T6" fmla="*/ 350 w 933"/>
                  <a:gd name="T7" fmla="*/ 76 h 776"/>
                  <a:gd name="T8" fmla="*/ 329 w 933"/>
                  <a:gd name="T9" fmla="*/ 103 h 776"/>
                  <a:gd name="T10" fmla="*/ 350 w 933"/>
                  <a:gd name="T11" fmla="*/ 143 h 776"/>
                  <a:gd name="T12" fmla="*/ 328 w 933"/>
                  <a:gd name="T13" fmla="*/ 169 h 776"/>
                  <a:gd name="T14" fmla="*/ 292 w 933"/>
                  <a:gd name="T15" fmla="*/ 190 h 776"/>
                  <a:gd name="T16" fmla="*/ 245 w 933"/>
                  <a:gd name="T17" fmla="*/ 236 h 776"/>
                  <a:gd name="T18" fmla="*/ 230 w 933"/>
                  <a:gd name="T19" fmla="*/ 296 h 776"/>
                  <a:gd name="T20" fmla="*/ 238 w 933"/>
                  <a:gd name="T21" fmla="*/ 330 h 776"/>
                  <a:gd name="T22" fmla="*/ 214 w 933"/>
                  <a:gd name="T23" fmla="*/ 305 h 776"/>
                  <a:gd name="T24" fmla="*/ 176 w 933"/>
                  <a:gd name="T25" fmla="*/ 328 h 776"/>
                  <a:gd name="T26" fmla="*/ 148 w 933"/>
                  <a:gd name="T27" fmla="*/ 356 h 776"/>
                  <a:gd name="T28" fmla="*/ 102 w 933"/>
                  <a:gd name="T29" fmla="*/ 362 h 776"/>
                  <a:gd name="T30" fmla="*/ 45 w 933"/>
                  <a:gd name="T31" fmla="*/ 362 h 776"/>
                  <a:gd name="T32" fmla="*/ 74 w 933"/>
                  <a:gd name="T33" fmla="*/ 543 h 776"/>
                  <a:gd name="T34" fmla="*/ 0 w 933"/>
                  <a:gd name="T35" fmla="*/ 621 h 776"/>
                  <a:gd name="T36" fmla="*/ 47 w 933"/>
                  <a:gd name="T37" fmla="*/ 674 h 776"/>
                  <a:gd name="T38" fmla="*/ 70 w 933"/>
                  <a:gd name="T39" fmla="*/ 725 h 776"/>
                  <a:gd name="T40" fmla="*/ 140 w 933"/>
                  <a:gd name="T41" fmla="*/ 679 h 776"/>
                  <a:gd name="T42" fmla="*/ 250 w 933"/>
                  <a:gd name="T43" fmla="*/ 674 h 776"/>
                  <a:gd name="T44" fmla="*/ 320 w 933"/>
                  <a:gd name="T45" fmla="*/ 695 h 776"/>
                  <a:gd name="T46" fmla="*/ 390 w 933"/>
                  <a:gd name="T47" fmla="*/ 720 h 776"/>
                  <a:gd name="T48" fmla="*/ 439 w 933"/>
                  <a:gd name="T49" fmla="*/ 745 h 776"/>
                  <a:gd name="T50" fmla="*/ 468 w 933"/>
                  <a:gd name="T51" fmla="*/ 736 h 776"/>
                  <a:gd name="T52" fmla="*/ 515 w 933"/>
                  <a:gd name="T53" fmla="*/ 736 h 776"/>
                  <a:gd name="T54" fmla="*/ 548 w 933"/>
                  <a:gd name="T55" fmla="*/ 743 h 776"/>
                  <a:gd name="T56" fmla="*/ 587 w 933"/>
                  <a:gd name="T57" fmla="*/ 734 h 776"/>
                  <a:gd name="T58" fmla="*/ 624 w 933"/>
                  <a:gd name="T59" fmla="*/ 750 h 776"/>
                  <a:gd name="T60" fmla="*/ 675 w 933"/>
                  <a:gd name="T61" fmla="*/ 745 h 776"/>
                  <a:gd name="T62" fmla="*/ 711 w 933"/>
                  <a:gd name="T63" fmla="*/ 775 h 776"/>
                  <a:gd name="T64" fmla="*/ 716 w 933"/>
                  <a:gd name="T65" fmla="*/ 723 h 776"/>
                  <a:gd name="T66" fmla="*/ 773 w 933"/>
                  <a:gd name="T67" fmla="*/ 655 h 776"/>
                  <a:gd name="T68" fmla="*/ 840 w 933"/>
                  <a:gd name="T69" fmla="*/ 648 h 776"/>
                  <a:gd name="T70" fmla="*/ 824 w 933"/>
                  <a:gd name="T71" fmla="*/ 612 h 776"/>
                  <a:gd name="T72" fmla="*/ 820 w 933"/>
                  <a:gd name="T73" fmla="*/ 552 h 776"/>
                  <a:gd name="T74" fmla="*/ 803 w 933"/>
                  <a:gd name="T75" fmla="*/ 478 h 776"/>
                  <a:gd name="T76" fmla="*/ 888 w 933"/>
                  <a:gd name="T77" fmla="*/ 483 h 776"/>
                  <a:gd name="T78" fmla="*/ 933 w 933"/>
                  <a:gd name="T79" fmla="*/ 444 h 776"/>
                  <a:gd name="T80" fmla="*/ 906 w 933"/>
                  <a:gd name="T81" fmla="*/ 406 h 776"/>
                  <a:gd name="T82" fmla="*/ 850 w 933"/>
                  <a:gd name="T83" fmla="*/ 384 h 776"/>
                  <a:gd name="T84" fmla="*/ 826 w 933"/>
                  <a:gd name="T85" fmla="*/ 330 h 776"/>
                  <a:gd name="T86" fmla="*/ 774 w 933"/>
                  <a:gd name="T87" fmla="*/ 264 h 776"/>
                  <a:gd name="T88" fmla="*/ 758 w 933"/>
                  <a:gd name="T89" fmla="*/ 227 h 776"/>
                  <a:gd name="T90" fmla="*/ 757 w 933"/>
                  <a:gd name="T91" fmla="*/ 190 h 776"/>
                  <a:gd name="T92" fmla="*/ 755 w 933"/>
                  <a:gd name="T93" fmla="*/ 157 h 776"/>
                  <a:gd name="T94" fmla="*/ 757 w 933"/>
                  <a:gd name="T95" fmla="*/ 97 h 776"/>
                  <a:gd name="T96" fmla="*/ 729 w 933"/>
                  <a:gd name="T97" fmla="*/ 75 h 776"/>
                  <a:gd name="T98" fmla="*/ 673 w 933"/>
                  <a:gd name="T99" fmla="*/ 50 h 776"/>
                  <a:gd name="T100" fmla="*/ 630 w 933"/>
                  <a:gd name="T101" fmla="*/ 60 h 776"/>
                  <a:gd name="T102" fmla="*/ 603 w 933"/>
                  <a:gd name="T103" fmla="*/ 46 h 776"/>
                  <a:gd name="T104" fmla="*/ 543 w 933"/>
                  <a:gd name="T105" fmla="*/ 32 h 77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933"/>
                  <a:gd name="T160" fmla="*/ 0 h 776"/>
                  <a:gd name="T161" fmla="*/ 933 w 933"/>
                  <a:gd name="T162" fmla="*/ 776 h 77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933" h="776">
                    <a:moveTo>
                      <a:pt x="534" y="9"/>
                    </a:moveTo>
                    <a:lnTo>
                      <a:pt x="520" y="7"/>
                    </a:lnTo>
                    <a:lnTo>
                      <a:pt x="512" y="6"/>
                    </a:lnTo>
                    <a:lnTo>
                      <a:pt x="503" y="16"/>
                    </a:lnTo>
                    <a:lnTo>
                      <a:pt x="492" y="11"/>
                    </a:lnTo>
                    <a:lnTo>
                      <a:pt x="485" y="0"/>
                    </a:lnTo>
                    <a:lnTo>
                      <a:pt x="464" y="7"/>
                    </a:lnTo>
                    <a:lnTo>
                      <a:pt x="460" y="16"/>
                    </a:lnTo>
                    <a:lnTo>
                      <a:pt x="450" y="18"/>
                    </a:lnTo>
                    <a:lnTo>
                      <a:pt x="443" y="30"/>
                    </a:lnTo>
                    <a:lnTo>
                      <a:pt x="438" y="36"/>
                    </a:lnTo>
                    <a:lnTo>
                      <a:pt x="435" y="45"/>
                    </a:lnTo>
                    <a:lnTo>
                      <a:pt x="431" y="59"/>
                    </a:lnTo>
                    <a:lnTo>
                      <a:pt x="423" y="62"/>
                    </a:lnTo>
                    <a:lnTo>
                      <a:pt x="413" y="59"/>
                    </a:lnTo>
                    <a:lnTo>
                      <a:pt x="387" y="53"/>
                    </a:lnTo>
                    <a:lnTo>
                      <a:pt x="372" y="53"/>
                    </a:lnTo>
                    <a:lnTo>
                      <a:pt x="364" y="59"/>
                    </a:lnTo>
                    <a:lnTo>
                      <a:pt x="360" y="69"/>
                    </a:lnTo>
                    <a:lnTo>
                      <a:pt x="350" y="76"/>
                    </a:lnTo>
                    <a:lnTo>
                      <a:pt x="343" y="76"/>
                    </a:lnTo>
                    <a:lnTo>
                      <a:pt x="339" y="75"/>
                    </a:lnTo>
                    <a:lnTo>
                      <a:pt x="333" y="78"/>
                    </a:lnTo>
                    <a:lnTo>
                      <a:pt x="333" y="90"/>
                    </a:lnTo>
                    <a:lnTo>
                      <a:pt x="329" y="103"/>
                    </a:lnTo>
                    <a:lnTo>
                      <a:pt x="328" y="112"/>
                    </a:lnTo>
                    <a:lnTo>
                      <a:pt x="319" y="132"/>
                    </a:lnTo>
                    <a:lnTo>
                      <a:pt x="333" y="134"/>
                    </a:lnTo>
                    <a:lnTo>
                      <a:pt x="348" y="137"/>
                    </a:lnTo>
                    <a:lnTo>
                      <a:pt x="350" y="143"/>
                    </a:lnTo>
                    <a:lnTo>
                      <a:pt x="345" y="146"/>
                    </a:lnTo>
                    <a:lnTo>
                      <a:pt x="341" y="146"/>
                    </a:lnTo>
                    <a:lnTo>
                      <a:pt x="337" y="157"/>
                    </a:lnTo>
                    <a:lnTo>
                      <a:pt x="336" y="169"/>
                    </a:lnTo>
                    <a:lnTo>
                      <a:pt x="328" y="169"/>
                    </a:lnTo>
                    <a:lnTo>
                      <a:pt x="324" y="164"/>
                    </a:lnTo>
                    <a:lnTo>
                      <a:pt x="317" y="167"/>
                    </a:lnTo>
                    <a:lnTo>
                      <a:pt x="307" y="164"/>
                    </a:lnTo>
                    <a:lnTo>
                      <a:pt x="300" y="167"/>
                    </a:lnTo>
                    <a:lnTo>
                      <a:pt x="292" y="190"/>
                    </a:lnTo>
                    <a:lnTo>
                      <a:pt x="280" y="194"/>
                    </a:lnTo>
                    <a:lnTo>
                      <a:pt x="262" y="194"/>
                    </a:lnTo>
                    <a:lnTo>
                      <a:pt x="251" y="213"/>
                    </a:lnTo>
                    <a:lnTo>
                      <a:pt x="250" y="224"/>
                    </a:lnTo>
                    <a:lnTo>
                      <a:pt x="245" y="236"/>
                    </a:lnTo>
                    <a:lnTo>
                      <a:pt x="250" y="250"/>
                    </a:lnTo>
                    <a:lnTo>
                      <a:pt x="246" y="259"/>
                    </a:lnTo>
                    <a:lnTo>
                      <a:pt x="237" y="271"/>
                    </a:lnTo>
                    <a:lnTo>
                      <a:pt x="237" y="280"/>
                    </a:lnTo>
                    <a:lnTo>
                      <a:pt x="230" y="296"/>
                    </a:lnTo>
                    <a:lnTo>
                      <a:pt x="238" y="300"/>
                    </a:lnTo>
                    <a:lnTo>
                      <a:pt x="246" y="300"/>
                    </a:lnTo>
                    <a:lnTo>
                      <a:pt x="253" y="314"/>
                    </a:lnTo>
                    <a:lnTo>
                      <a:pt x="250" y="328"/>
                    </a:lnTo>
                    <a:lnTo>
                      <a:pt x="238" y="330"/>
                    </a:lnTo>
                    <a:lnTo>
                      <a:pt x="227" y="324"/>
                    </a:lnTo>
                    <a:lnTo>
                      <a:pt x="227" y="312"/>
                    </a:lnTo>
                    <a:lnTo>
                      <a:pt x="226" y="307"/>
                    </a:lnTo>
                    <a:lnTo>
                      <a:pt x="221" y="301"/>
                    </a:lnTo>
                    <a:lnTo>
                      <a:pt x="214" y="305"/>
                    </a:lnTo>
                    <a:lnTo>
                      <a:pt x="209" y="312"/>
                    </a:lnTo>
                    <a:lnTo>
                      <a:pt x="196" y="309"/>
                    </a:lnTo>
                    <a:lnTo>
                      <a:pt x="193" y="319"/>
                    </a:lnTo>
                    <a:lnTo>
                      <a:pt x="182" y="328"/>
                    </a:lnTo>
                    <a:lnTo>
                      <a:pt x="176" y="328"/>
                    </a:lnTo>
                    <a:lnTo>
                      <a:pt x="168" y="324"/>
                    </a:lnTo>
                    <a:lnTo>
                      <a:pt x="156" y="333"/>
                    </a:lnTo>
                    <a:lnTo>
                      <a:pt x="159" y="346"/>
                    </a:lnTo>
                    <a:lnTo>
                      <a:pt x="156" y="354"/>
                    </a:lnTo>
                    <a:lnTo>
                      <a:pt x="148" y="356"/>
                    </a:lnTo>
                    <a:lnTo>
                      <a:pt x="143" y="354"/>
                    </a:lnTo>
                    <a:lnTo>
                      <a:pt x="134" y="358"/>
                    </a:lnTo>
                    <a:lnTo>
                      <a:pt x="118" y="369"/>
                    </a:lnTo>
                    <a:lnTo>
                      <a:pt x="104" y="369"/>
                    </a:lnTo>
                    <a:lnTo>
                      <a:pt x="102" y="362"/>
                    </a:lnTo>
                    <a:lnTo>
                      <a:pt x="95" y="358"/>
                    </a:lnTo>
                    <a:lnTo>
                      <a:pt x="85" y="362"/>
                    </a:lnTo>
                    <a:lnTo>
                      <a:pt x="69" y="362"/>
                    </a:lnTo>
                    <a:lnTo>
                      <a:pt x="58" y="365"/>
                    </a:lnTo>
                    <a:lnTo>
                      <a:pt x="45" y="362"/>
                    </a:lnTo>
                    <a:lnTo>
                      <a:pt x="39" y="365"/>
                    </a:lnTo>
                    <a:lnTo>
                      <a:pt x="34" y="362"/>
                    </a:lnTo>
                    <a:lnTo>
                      <a:pt x="42" y="384"/>
                    </a:lnTo>
                    <a:lnTo>
                      <a:pt x="76" y="527"/>
                    </a:lnTo>
                    <a:lnTo>
                      <a:pt x="74" y="543"/>
                    </a:lnTo>
                    <a:lnTo>
                      <a:pt x="63" y="559"/>
                    </a:lnTo>
                    <a:lnTo>
                      <a:pt x="43" y="561"/>
                    </a:lnTo>
                    <a:lnTo>
                      <a:pt x="18" y="579"/>
                    </a:lnTo>
                    <a:lnTo>
                      <a:pt x="6" y="602"/>
                    </a:lnTo>
                    <a:lnTo>
                      <a:pt x="0" y="621"/>
                    </a:lnTo>
                    <a:lnTo>
                      <a:pt x="14" y="623"/>
                    </a:lnTo>
                    <a:lnTo>
                      <a:pt x="32" y="633"/>
                    </a:lnTo>
                    <a:lnTo>
                      <a:pt x="37" y="646"/>
                    </a:lnTo>
                    <a:lnTo>
                      <a:pt x="47" y="656"/>
                    </a:lnTo>
                    <a:lnTo>
                      <a:pt x="47" y="674"/>
                    </a:lnTo>
                    <a:lnTo>
                      <a:pt x="34" y="725"/>
                    </a:lnTo>
                    <a:lnTo>
                      <a:pt x="41" y="736"/>
                    </a:lnTo>
                    <a:lnTo>
                      <a:pt x="41" y="732"/>
                    </a:lnTo>
                    <a:lnTo>
                      <a:pt x="42" y="723"/>
                    </a:lnTo>
                    <a:lnTo>
                      <a:pt x="70" y="725"/>
                    </a:lnTo>
                    <a:lnTo>
                      <a:pt x="74" y="732"/>
                    </a:lnTo>
                    <a:lnTo>
                      <a:pt x="107" y="706"/>
                    </a:lnTo>
                    <a:lnTo>
                      <a:pt x="108" y="695"/>
                    </a:lnTo>
                    <a:lnTo>
                      <a:pt x="119" y="681"/>
                    </a:lnTo>
                    <a:lnTo>
                      <a:pt x="140" y="679"/>
                    </a:lnTo>
                    <a:lnTo>
                      <a:pt x="160" y="683"/>
                    </a:lnTo>
                    <a:lnTo>
                      <a:pt x="193" y="674"/>
                    </a:lnTo>
                    <a:lnTo>
                      <a:pt x="208" y="679"/>
                    </a:lnTo>
                    <a:lnTo>
                      <a:pt x="230" y="679"/>
                    </a:lnTo>
                    <a:lnTo>
                      <a:pt x="250" y="674"/>
                    </a:lnTo>
                    <a:lnTo>
                      <a:pt x="274" y="679"/>
                    </a:lnTo>
                    <a:lnTo>
                      <a:pt x="284" y="679"/>
                    </a:lnTo>
                    <a:lnTo>
                      <a:pt x="294" y="690"/>
                    </a:lnTo>
                    <a:lnTo>
                      <a:pt x="316" y="690"/>
                    </a:lnTo>
                    <a:lnTo>
                      <a:pt x="320" y="695"/>
                    </a:lnTo>
                    <a:lnTo>
                      <a:pt x="345" y="699"/>
                    </a:lnTo>
                    <a:lnTo>
                      <a:pt x="368" y="706"/>
                    </a:lnTo>
                    <a:lnTo>
                      <a:pt x="380" y="700"/>
                    </a:lnTo>
                    <a:lnTo>
                      <a:pt x="392" y="704"/>
                    </a:lnTo>
                    <a:lnTo>
                      <a:pt x="390" y="720"/>
                    </a:lnTo>
                    <a:lnTo>
                      <a:pt x="399" y="720"/>
                    </a:lnTo>
                    <a:lnTo>
                      <a:pt x="399" y="730"/>
                    </a:lnTo>
                    <a:lnTo>
                      <a:pt x="423" y="722"/>
                    </a:lnTo>
                    <a:lnTo>
                      <a:pt x="442" y="729"/>
                    </a:lnTo>
                    <a:lnTo>
                      <a:pt x="439" y="745"/>
                    </a:lnTo>
                    <a:lnTo>
                      <a:pt x="443" y="748"/>
                    </a:lnTo>
                    <a:lnTo>
                      <a:pt x="451" y="741"/>
                    </a:lnTo>
                    <a:lnTo>
                      <a:pt x="452" y="727"/>
                    </a:lnTo>
                    <a:lnTo>
                      <a:pt x="457" y="727"/>
                    </a:lnTo>
                    <a:lnTo>
                      <a:pt x="468" y="736"/>
                    </a:lnTo>
                    <a:lnTo>
                      <a:pt x="484" y="730"/>
                    </a:lnTo>
                    <a:lnTo>
                      <a:pt x="490" y="723"/>
                    </a:lnTo>
                    <a:lnTo>
                      <a:pt x="500" y="730"/>
                    </a:lnTo>
                    <a:lnTo>
                      <a:pt x="505" y="743"/>
                    </a:lnTo>
                    <a:lnTo>
                      <a:pt x="515" y="736"/>
                    </a:lnTo>
                    <a:lnTo>
                      <a:pt x="524" y="736"/>
                    </a:lnTo>
                    <a:lnTo>
                      <a:pt x="529" y="739"/>
                    </a:lnTo>
                    <a:lnTo>
                      <a:pt x="534" y="753"/>
                    </a:lnTo>
                    <a:lnTo>
                      <a:pt x="541" y="753"/>
                    </a:lnTo>
                    <a:lnTo>
                      <a:pt x="548" y="743"/>
                    </a:lnTo>
                    <a:lnTo>
                      <a:pt x="561" y="732"/>
                    </a:lnTo>
                    <a:lnTo>
                      <a:pt x="568" y="732"/>
                    </a:lnTo>
                    <a:lnTo>
                      <a:pt x="574" y="727"/>
                    </a:lnTo>
                    <a:lnTo>
                      <a:pt x="580" y="725"/>
                    </a:lnTo>
                    <a:lnTo>
                      <a:pt x="587" y="734"/>
                    </a:lnTo>
                    <a:lnTo>
                      <a:pt x="592" y="743"/>
                    </a:lnTo>
                    <a:lnTo>
                      <a:pt x="593" y="757"/>
                    </a:lnTo>
                    <a:lnTo>
                      <a:pt x="602" y="760"/>
                    </a:lnTo>
                    <a:lnTo>
                      <a:pt x="615" y="757"/>
                    </a:lnTo>
                    <a:lnTo>
                      <a:pt x="624" y="750"/>
                    </a:lnTo>
                    <a:lnTo>
                      <a:pt x="634" y="745"/>
                    </a:lnTo>
                    <a:lnTo>
                      <a:pt x="640" y="755"/>
                    </a:lnTo>
                    <a:lnTo>
                      <a:pt x="654" y="753"/>
                    </a:lnTo>
                    <a:lnTo>
                      <a:pt x="664" y="748"/>
                    </a:lnTo>
                    <a:lnTo>
                      <a:pt x="675" y="745"/>
                    </a:lnTo>
                    <a:lnTo>
                      <a:pt x="684" y="748"/>
                    </a:lnTo>
                    <a:lnTo>
                      <a:pt x="693" y="753"/>
                    </a:lnTo>
                    <a:lnTo>
                      <a:pt x="697" y="757"/>
                    </a:lnTo>
                    <a:lnTo>
                      <a:pt x="704" y="771"/>
                    </a:lnTo>
                    <a:lnTo>
                      <a:pt x="711" y="775"/>
                    </a:lnTo>
                    <a:lnTo>
                      <a:pt x="722" y="776"/>
                    </a:lnTo>
                    <a:lnTo>
                      <a:pt x="728" y="762"/>
                    </a:lnTo>
                    <a:lnTo>
                      <a:pt x="725" y="752"/>
                    </a:lnTo>
                    <a:lnTo>
                      <a:pt x="715" y="738"/>
                    </a:lnTo>
                    <a:lnTo>
                      <a:pt x="716" y="723"/>
                    </a:lnTo>
                    <a:lnTo>
                      <a:pt x="728" y="708"/>
                    </a:lnTo>
                    <a:lnTo>
                      <a:pt x="737" y="690"/>
                    </a:lnTo>
                    <a:lnTo>
                      <a:pt x="757" y="669"/>
                    </a:lnTo>
                    <a:lnTo>
                      <a:pt x="758" y="660"/>
                    </a:lnTo>
                    <a:lnTo>
                      <a:pt x="773" y="655"/>
                    </a:lnTo>
                    <a:lnTo>
                      <a:pt x="782" y="656"/>
                    </a:lnTo>
                    <a:lnTo>
                      <a:pt x="790" y="660"/>
                    </a:lnTo>
                    <a:lnTo>
                      <a:pt x="795" y="651"/>
                    </a:lnTo>
                    <a:lnTo>
                      <a:pt x="819" y="648"/>
                    </a:lnTo>
                    <a:lnTo>
                      <a:pt x="840" y="648"/>
                    </a:lnTo>
                    <a:lnTo>
                      <a:pt x="840" y="637"/>
                    </a:lnTo>
                    <a:lnTo>
                      <a:pt x="834" y="633"/>
                    </a:lnTo>
                    <a:lnTo>
                      <a:pt x="831" y="625"/>
                    </a:lnTo>
                    <a:lnTo>
                      <a:pt x="823" y="619"/>
                    </a:lnTo>
                    <a:lnTo>
                      <a:pt x="824" y="612"/>
                    </a:lnTo>
                    <a:lnTo>
                      <a:pt x="822" y="584"/>
                    </a:lnTo>
                    <a:lnTo>
                      <a:pt x="824" y="577"/>
                    </a:lnTo>
                    <a:lnTo>
                      <a:pt x="819" y="568"/>
                    </a:lnTo>
                    <a:lnTo>
                      <a:pt x="814" y="557"/>
                    </a:lnTo>
                    <a:lnTo>
                      <a:pt x="820" y="552"/>
                    </a:lnTo>
                    <a:lnTo>
                      <a:pt x="820" y="542"/>
                    </a:lnTo>
                    <a:lnTo>
                      <a:pt x="807" y="529"/>
                    </a:lnTo>
                    <a:lnTo>
                      <a:pt x="795" y="512"/>
                    </a:lnTo>
                    <a:lnTo>
                      <a:pt x="794" y="499"/>
                    </a:lnTo>
                    <a:lnTo>
                      <a:pt x="803" y="478"/>
                    </a:lnTo>
                    <a:lnTo>
                      <a:pt x="820" y="476"/>
                    </a:lnTo>
                    <a:lnTo>
                      <a:pt x="835" y="480"/>
                    </a:lnTo>
                    <a:lnTo>
                      <a:pt x="844" y="490"/>
                    </a:lnTo>
                    <a:lnTo>
                      <a:pt x="867" y="490"/>
                    </a:lnTo>
                    <a:lnTo>
                      <a:pt x="888" y="483"/>
                    </a:lnTo>
                    <a:lnTo>
                      <a:pt x="909" y="466"/>
                    </a:lnTo>
                    <a:lnTo>
                      <a:pt x="910" y="462"/>
                    </a:lnTo>
                    <a:lnTo>
                      <a:pt x="918" y="455"/>
                    </a:lnTo>
                    <a:lnTo>
                      <a:pt x="930" y="455"/>
                    </a:lnTo>
                    <a:lnTo>
                      <a:pt x="933" y="444"/>
                    </a:lnTo>
                    <a:lnTo>
                      <a:pt x="932" y="434"/>
                    </a:lnTo>
                    <a:lnTo>
                      <a:pt x="920" y="430"/>
                    </a:lnTo>
                    <a:lnTo>
                      <a:pt x="906" y="420"/>
                    </a:lnTo>
                    <a:lnTo>
                      <a:pt x="901" y="406"/>
                    </a:lnTo>
                    <a:lnTo>
                      <a:pt x="906" y="406"/>
                    </a:lnTo>
                    <a:lnTo>
                      <a:pt x="909" y="402"/>
                    </a:lnTo>
                    <a:lnTo>
                      <a:pt x="910" y="397"/>
                    </a:lnTo>
                    <a:lnTo>
                      <a:pt x="883" y="384"/>
                    </a:lnTo>
                    <a:lnTo>
                      <a:pt x="867" y="381"/>
                    </a:lnTo>
                    <a:lnTo>
                      <a:pt x="850" y="384"/>
                    </a:lnTo>
                    <a:lnTo>
                      <a:pt x="843" y="381"/>
                    </a:lnTo>
                    <a:lnTo>
                      <a:pt x="850" y="353"/>
                    </a:lnTo>
                    <a:lnTo>
                      <a:pt x="847" y="342"/>
                    </a:lnTo>
                    <a:lnTo>
                      <a:pt x="839" y="335"/>
                    </a:lnTo>
                    <a:lnTo>
                      <a:pt x="826" y="330"/>
                    </a:lnTo>
                    <a:lnTo>
                      <a:pt x="818" y="324"/>
                    </a:lnTo>
                    <a:lnTo>
                      <a:pt x="797" y="309"/>
                    </a:lnTo>
                    <a:lnTo>
                      <a:pt x="785" y="273"/>
                    </a:lnTo>
                    <a:lnTo>
                      <a:pt x="775" y="271"/>
                    </a:lnTo>
                    <a:lnTo>
                      <a:pt x="774" y="264"/>
                    </a:lnTo>
                    <a:lnTo>
                      <a:pt x="777" y="256"/>
                    </a:lnTo>
                    <a:lnTo>
                      <a:pt x="782" y="247"/>
                    </a:lnTo>
                    <a:lnTo>
                      <a:pt x="775" y="245"/>
                    </a:lnTo>
                    <a:lnTo>
                      <a:pt x="769" y="249"/>
                    </a:lnTo>
                    <a:lnTo>
                      <a:pt x="758" y="227"/>
                    </a:lnTo>
                    <a:lnTo>
                      <a:pt x="743" y="224"/>
                    </a:lnTo>
                    <a:lnTo>
                      <a:pt x="746" y="213"/>
                    </a:lnTo>
                    <a:lnTo>
                      <a:pt x="748" y="201"/>
                    </a:lnTo>
                    <a:lnTo>
                      <a:pt x="752" y="197"/>
                    </a:lnTo>
                    <a:lnTo>
                      <a:pt x="757" y="190"/>
                    </a:lnTo>
                    <a:lnTo>
                      <a:pt x="757" y="185"/>
                    </a:lnTo>
                    <a:lnTo>
                      <a:pt x="761" y="185"/>
                    </a:lnTo>
                    <a:lnTo>
                      <a:pt x="764" y="174"/>
                    </a:lnTo>
                    <a:lnTo>
                      <a:pt x="762" y="164"/>
                    </a:lnTo>
                    <a:lnTo>
                      <a:pt x="755" y="157"/>
                    </a:lnTo>
                    <a:lnTo>
                      <a:pt x="748" y="137"/>
                    </a:lnTo>
                    <a:lnTo>
                      <a:pt x="752" y="127"/>
                    </a:lnTo>
                    <a:lnTo>
                      <a:pt x="753" y="113"/>
                    </a:lnTo>
                    <a:lnTo>
                      <a:pt x="753" y="106"/>
                    </a:lnTo>
                    <a:lnTo>
                      <a:pt x="757" y="97"/>
                    </a:lnTo>
                    <a:lnTo>
                      <a:pt x="755" y="90"/>
                    </a:lnTo>
                    <a:lnTo>
                      <a:pt x="749" y="92"/>
                    </a:lnTo>
                    <a:lnTo>
                      <a:pt x="741" y="90"/>
                    </a:lnTo>
                    <a:lnTo>
                      <a:pt x="734" y="83"/>
                    </a:lnTo>
                    <a:lnTo>
                      <a:pt x="729" y="75"/>
                    </a:lnTo>
                    <a:lnTo>
                      <a:pt x="718" y="67"/>
                    </a:lnTo>
                    <a:lnTo>
                      <a:pt x="712" y="59"/>
                    </a:lnTo>
                    <a:lnTo>
                      <a:pt x="688" y="50"/>
                    </a:lnTo>
                    <a:lnTo>
                      <a:pt x="678" y="53"/>
                    </a:lnTo>
                    <a:lnTo>
                      <a:pt x="673" y="50"/>
                    </a:lnTo>
                    <a:lnTo>
                      <a:pt x="667" y="46"/>
                    </a:lnTo>
                    <a:lnTo>
                      <a:pt x="657" y="52"/>
                    </a:lnTo>
                    <a:lnTo>
                      <a:pt x="651" y="59"/>
                    </a:lnTo>
                    <a:lnTo>
                      <a:pt x="644" y="59"/>
                    </a:lnTo>
                    <a:lnTo>
                      <a:pt x="630" y="60"/>
                    </a:lnTo>
                    <a:lnTo>
                      <a:pt x="622" y="75"/>
                    </a:lnTo>
                    <a:lnTo>
                      <a:pt x="613" y="75"/>
                    </a:lnTo>
                    <a:lnTo>
                      <a:pt x="605" y="64"/>
                    </a:lnTo>
                    <a:lnTo>
                      <a:pt x="602" y="53"/>
                    </a:lnTo>
                    <a:lnTo>
                      <a:pt x="603" y="46"/>
                    </a:lnTo>
                    <a:lnTo>
                      <a:pt x="611" y="39"/>
                    </a:lnTo>
                    <a:lnTo>
                      <a:pt x="611" y="30"/>
                    </a:lnTo>
                    <a:lnTo>
                      <a:pt x="590" y="25"/>
                    </a:lnTo>
                    <a:lnTo>
                      <a:pt x="577" y="20"/>
                    </a:lnTo>
                    <a:lnTo>
                      <a:pt x="543" y="32"/>
                    </a:lnTo>
                    <a:lnTo>
                      <a:pt x="540" y="20"/>
                    </a:lnTo>
                    <a:lnTo>
                      <a:pt x="534" y="9"/>
                    </a:lnTo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37" name="Freeform 225"/>
              <p:cNvSpPr>
                <a:spLocks/>
              </p:cNvSpPr>
              <p:nvPr>
                <p:custDataLst>
                  <p:tags r:id="rId162"/>
                </p:custDataLst>
              </p:nvPr>
            </p:nvSpPr>
            <p:spPr bwMode="auto">
              <a:xfrm>
                <a:off x="2607" y="1627"/>
                <a:ext cx="115" cy="205"/>
              </a:xfrm>
              <a:custGeom>
                <a:avLst/>
                <a:gdLst>
                  <a:gd name="T0" fmla="*/ 641 w 757"/>
                  <a:gd name="T1" fmla="*/ 940 h 1387"/>
                  <a:gd name="T2" fmla="*/ 616 w 757"/>
                  <a:gd name="T3" fmla="*/ 908 h 1387"/>
                  <a:gd name="T4" fmla="*/ 600 w 757"/>
                  <a:gd name="T5" fmla="*/ 853 h 1387"/>
                  <a:gd name="T6" fmla="*/ 563 w 757"/>
                  <a:gd name="T7" fmla="*/ 751 h 1387"/>
                  <a:gd name="T8" fmla="*/ 457 w 757"/>
                  <a:gd name="T9" fmla="*/ 647 h 1387"/>
                  <a:gd name="T10" fmla="*/ 428 w 757"/>
                  <a:gd name="T11" fmla="*/ 531 h 1387"/>
                  <a:gd name="T12" fmla="*/ 372 w 757"/>
                  <a:gd name="T13" fmla="*/ 460 h 1387"/>
                  <a:gd name="T14" fmla="*/ 305 w 757"/>
                  <a:gd name="T15" fmla="*/ 439 h 1387"/>
                  <a:gd name="T16" fmla="*/ 241 w 757"/>
                  <a:gd name="T17" fmla="*/ 450 h 1387"/>
                  <a:gd name="T18" fmla="*/ 269 w 757"/>
                  <a:gd name="T19" fmla="*/ 434 h 1387"/>
                  <a:gd name="T20" fmla="*/ 321 w 757"/>
                  <a:gd name="T21" fmla="*/ 402 h 1387"/>
                  <a:gd name="T22" fmla="*/ 282 w 757"/>
                  <a:gd name="T23" fmla="*/ 374 h 1387"/>
                  <a:gd name="T24" fmla="*/ 346 w 757"/>
                  <a:gd name="T25" fmla="*/ 319 h 1387"/>
                  <a:gd name="T26" fmla="*/ 376 w 757"/>
                  <a:gd name="T27" fmla="*/ 254 h 1387"/>
                  <a:gd name="T28" fmla="*/ 380 w 757"/>
                  <a:gd name="T29" fmla="*/ 169 h 1387"/>
                  <a:gd name="T30" fmla="*/ 260 w 757"/>
                  <a:gd name="T31" fmla="*/ 167 h 1387"/>
                  <a:gd name="T32" fmla="*/ 175 w 757"/>
                  <a:gd name="T33" fmla="*/ 157 h 1387"/>
                  <a:gd name="T34" fmla="*/ 281 w 757"/>
                  <a:gd name="T35" fmla="*/ 49 h 1387"/>
                  <a:gd name="T36" fmla="*/ 216 w 757"/>
                  <a:gd name="T37" fmla="*/ 10 h 1387"/>
                  <a:gd name="T38" fmla="*/ 109 w 757"/>
                  <a:gd name="T39" fmla="*/ 0 h 1387"/>
                  <a:gd name="T40" fmla="*/ 68 w 757"/>
                  <a:gd name="T41" fmla="*/ 81 h 1387"/>
                  <a:gd name="T42" fmla="*/ 45 w 757"/>
                  <a:gd name="T43" fmla="*/ 134 h 1387"/>
                  <a:gd name="T44" fmla="*/ 47 w 757"/>
                  <a:gd name="T45" fmla="*/ 215 h 1387"/>
                  <a:gd name="T46" fmla="*/ 37 w 757"/>
                  <a:gd name="T47" fmla="*/ 275 h 1387"/>
                  <a:gd name="T48" fmla="*/ 20 w 757"/>
                  <a:gd name="T49" fmla="*/ 363 h 1387"/>
                  <a:gd name="T50" fmla="*/ 56 w 757"/>
                  <a:gd name="T51" fmla="*/ 326 h 1387"/>
                  <a:gd name="T52" fmla="*/ 53 w 757"/>
                  <a:gd name="T53" fmla="*/ 400 h 1387"/>
                  <a:gd name="T54" fmla="*/ 69 w 757"/>
                  <a:gd name="T55" fmla="*/ 450 h 1387"/>
                  <a:gd name="T56" fmla="*/ 130 w 757"/>
                  <a:gd name="T57" fmla="*/ 409 h 1387"/>
                  <a:gd name="T58" fmla="*/ 113 w 757"/>
                  <a:gd name="T59" fmla="*/ 467 h 1387"/>
                  <a:gd name="T60" fmla="*/ 138 w 757"/>
                  <a:gd name="T61" fmla="*/ 524 h 1387"/>
                  <a:gd name="T62" fmla="*/ 111 w 757"/>
                  <a:gd name="T63" fmla="*/ 638 h 1387"/>
                  <a:gd name="T64" fmla="*/ 154 w 757"/>
                  <a:gd name="T65" fmla="*/ 617 h 1387"/>
                  <a:gd name="T66" fmla="*/ 241 w 757"/>
                  <a:gd name="T67" fmla="*/ 606 h 1387"/>
                  <a:gd name="T68" fmla="*/ 256 w 757"/>
                  <a:gd name="T69" fmla="*/ 652 h 1387"/>
                  <a:gd name="T70" fmla="*/ 273 w 757"/>
                  <a:gd name="T71" fmla="*/ 733 h 1387"/>
                  <a:gd name="T72" fmla="*/ 299 w 757"/>
                  <a:gd name="T73" fmla="*/ 784 h 1387"/>
                  <a:gd name="T74" fmla="*/ 204 w 757"/>
                  <a:gd name="T75" fmla="*/ 883 h 1387"/>
                  <a:gd name="T76" fmla="*/ 139 w 757"/>
                  <a:gd name="T77" fmla="*/ 942 h 1387"/>
                  <a:gd name="T78" fmla="*/ 191 w 757"/>
                  <a:gd name="T79" fmla="*/ 956 h 1387"/>
                  <a:gd name="T80" fmla="*/ 139 w 757"/>
                  <a:gd name="T81" fmla="*/ 1058 h 1387"/>
                  <a:gd name="T82" fmla="*/ 84 w 757"/>
                  <a:gd name="T83" fmla="*/ 1106 h 1387"/>
                  <a:gd name="T84" fmla="*/ 249 w 757"/>
                  <a:gd name="T85" fmla="*/ 1157 h 1387"/>
                  <a:gd name="T86" fmla="*/ 309 w 757"/>
                  <a:gd name="T87" fmla="*/ 1166 h 1387"/>
                  <a:gd name="T88" fmla="*/ 251 w 757"/>
                  <a:gd name="T89" fmla="*/ 1199 h 1387"/>
                  <a:gd name="T90" fmla="*/ 174 w 757"/>
                  <a:gd name="T91" fmla="*/ 1217 h 1387"/>
                  <a:gd name="T92" fmla="*/ 141 w 757"/>
                  <a:gd name="T93" fmla="*/ 1262 h 1387"/>
                  <a:gd name="T94" fmla="*/ 78 w 757"/>
                  <a:gd name="T95" fmla="*/ 1329 h 1387"/>
                  <a:gd name="T96" fmla="*/ 74 w 757"/>
                  <a:gd name="T97" fmla="*/ 1387 h 1387"/>
                  <a:gd name="T98" fmla="*/ 170 w 757"/>
                  <a:gd name="T99" fmla="*/ 1333 h 1387"/>
                  <a:gd name="T100" fmla="*/ 212 w 757"/>
                  <a:gd name="T101" fmla="*/ 1350 h 1387"/>
                  <a:gd name="T102" fmla="*/ 248 w 757"/>
                  <a:gd name="T103" fmla="*/ 1287 h 1387"/>
                  <a:gd name="T104" fmla="*/ 342 w 757"/>
                  <a:gd name="T105" fmla="*/ 1294 h 1387"/>
                  <a:gd name="T106" fmla="*/ 388 w 757"/>
                  <a:gd name="T107" fmla="*/ 1274 h 1387"/>
                  <a:gd name="T108" fmla="*/ 510 w 757"/>
                  <a:gd name="T109" fmla="*/ 1271 h 1387"/>
                  <a:gd name="T110" fmla="*/ 658 w 757"/>
                  <a:gd name="T111" fmla="*/ 1239 h 1387"/>
                  <a:gd name="T112" fmla="*/ 723 w 757"/>
                  <a:gd name="T113" fmla="*/ 1208 h 1387"/>
                  <a:gd name="T114" fmla="*/ 694 w 757"/>
                  <a:gd name="T115" fmla="*/ 1171 h 1387"/>
                  <a:gd name="T116" fmla="*/ 660 w 757"/>
                  <a:gd name="T117" fmla="*/ 1141 h 1387"/>
                  <a:gd name="T118" fmla="*/ 755 w 757"/>
                  <a:gd name="T119" fmla="*/ 1039 h 1387"/>
                  <a:gd name="T120" fmla="*/ 726 w 757"/>
                  <a:gd name="T121" fmla="*/ 945 h 1387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757"/>
                  <a:gd name="T184" fmla="*/ 0 h 1387"/>
                  <a:gd name="T185" fmla="*/ 757 w 757"/>
                  <a:gd name="T186" fmla="*/ 1387 h 1387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757" h="1387">
                    <a:moveTo>
                      <a:pt x="690" y="933"/>
                    </a:moveTo>
                    <a:lnTo>
                      <a:pt x="665" y="931"/>
                    </a:lnTo>
                    <a:lnTo>
                      <a:pt x="641" y="940"/>
                    </a:lnTo>
                    <a:lnTo>
                      <a:pt x="624" y="961"/>
                    </a:lnTo>
                    <a:lnTo>
                      <a:pt x="593" y="949"/>
                    </a:lnTo>
                    <a:lnTo>
                      <a:pt x="616" y="908"/>
                    </a:lnTo>
                    <a:lnTo>
                      <a:pt x="618" y="896"/>
                    </a:lnTo>
                    <a:lnTo>
                      <a:pt x="609" y="869"/>
                    </a:lnTo>
                    <a:lnTo>
                      <a:pt x="600" y="853"/>
                    </a:lnTo>
                    <a:lnTo>
                      <a:pt x="560" y="823"/>
                    </a:lnTo>
                    <a:lnTo>
                      <a:pt x="569" y="788"/>
                    </a:lnTo>
                    <a:lnTo>
                      <a:pt x="563" y="751"/>
                    </a:lnTo>
                    <a:lnTo>
                      <a:pt x="507" y="668"/>
                    </a:lnTo>
                    <a:lnTo>
                      <a:pt x="476" y="661"/>
                    </a:lnTo>
                    <a:lnTo>
                      <a:pt x="457" y="647"/>
                    </a:lnTo>
                    <a:lnTo>
                      <a:pt x="440" y="608"/>
                    </a:lnTo>
                    <a:lnTo>
                      <a:pt x="425" y="550"/>
                    </a:lnTo>
                    <a:lnTo>
                      <a:pt x="428" y="531"/>
                    </a:lnTo>
                    <a:lnTo>
                      <a:pt x="424" y="520"/>
                    </a:lnTo>
                    <a:lnTo>
                      <a:pt x="401" y="503"/>
                    </a:lnTo>
                    <a:lnTo>
                      <a:pt x="372" y="460"/>
                    </a:lnTo>
                    <a:lnTo>
                      <a:pt x="342" y="450"/>
                    </a:lnTo>
                    <a:lnTo>
                      <a:pt x="323" y="437"/>
                    </a:lnTo>
                    <a:lnTo>
                      <a:pt x="305" y="439"/>
                    </a:lnTo>
                    <a:lnTo>
                      <a:pt x="281" y="455"/>
                    </a:lnTo>
                    <a:lnTo>
                      <a:pt x="264" y="455"/>
                    </a:lnTo>
                    <a:lnTo>
                      <a:pt x="241" y="450"/>
                    </a:lnTo>
                    <a:lnTo>
                      <a:pt x="228" y="450"/>
                    </a:lnTo>
                    <a:lnTo>
                      <a:pt x="211" y="432"/>
                    </a:lnTo>
                    <a:lnTo>
                      <a:pt x="269" y="434"/>
                    </a:lnTo>
                    <a:lnTo>
                      <a:pt x="281" y="420"/>
                    </a:lnTo>
                    <a:lnTo>
                      <a:pt x="309" y="416"/>
                    </a:lnTo>
                    <a:lnTo>
                      <a:pt x="321" y="402"/>
                    </a:lnTo>
                    <a:lnTo>
                      <a:pt x="326" y="400"/>
                    </a:lnTo>
                    <a:lnTo>
                      <a:pt x="302" y="388"/>
                    </a:lnTo>
                    <a:lnTo>
                      <a:pt x="282" y="374"/>
                    </a:lnTo>
                    <a:lnTo>
                      <a:pt x="299" y="372"/>
                    </a:lnTo>
                    <a:lnTo>
                      <a:pt x="330" y="353"/>
                    </a:lnTo>
                    <a:lnTo>
                      <a:pt x="346" y="319"/>
                    </a:lnTo>
                    <a:lnTo>
                      <a:pt x="355" y="312"/>
                    </a:lnTo>
                    <a:lnTo>
                      <a:pt x="380" y="263"/>
                    </a:lnTo>
                    <a:lnTo>
                      <a:pt x="376" y="254"/>
                    </a:lnTo>
                    <a:lnTo>
                      <a:pt x="386" y="229"/>
                    </a:lnTo>
                    <a:lnTo>
                      <a:pt x="401" y="197"/>
                    </a:lnTo>
                    <a:lnTo>
                      <a:pt x="380" y="169"/>
                    </a:lnTo>
                    <a:lnTo>
                      <a:pt x="313" y="173"/>
                    </a:lnTo>
                    <a:lnTo>
                      <a:pt x="289" y="167"/>
                    </a:lnTo>
                    <a:lnTo>
                      <a:pt x="260" y="167"/>
                    </a:lnTo>
                    <a:lnTo>
                      <a:pt x="219" y="174"/>
                    </a:lnTo>
                    <a:lnTo>
                      <a:pt x="186" y="171"/>
                    </a:lnTo>
                    <a:lnTo>
                      <a:pt x="175" y="157"/>
                    </a:lnTo>
                    <a:lnTo>
                      <a:pt x="186" y="125"/>
                    </a:lnTo>
                    <a:lnTo>
                      <a:pt x="206" y="104"/>
                    </a:lnTo>
                    <a:lnTo>
                      <a:pt x="281" y="49"/>
                    </a:lnTo>
                    <a:lnTo>
                      <a:pt x="294" y="28"/>
                    </a:lnTo>
                    <a:lnTo>
                      <a:pt x="281" y="7"/>
                    </a:lnTo>
                    <a:lnTo>
                      <a:pt x="216" y="10"/>
                    </a:lnTo>
                    <a:lnTo>
                      <a:pt x="187" y="21"/>
                    </a:lnTo>
                    <a:lnTo>
                      <a:pt x="150" y="28"/>
                    </a:lnTo>
                    <a:lnTo>
                      <a:pt x="109" y="0"/>
                    </a:lnTo>
                    <a:lnTo>
                      <a:pt x="90" y="30"/>
                    </a:lnTo>
                    <a:lnTo>
                      <a:pt x="111" y="67"/>
                    </a:lnTo>
                    <a:lnTo>
                      <a:pt x="68" y="81"/>
                    </a:lnTo>
                    <a:lnTo>
                      <a:pt x="96" y="139"/>
                    </a:lnTo>
                    <a:lnTo>
                      <a:pt x="80" y="144"/>
                    </a:lnTo>
                    <a:lnTo>
                      <a:pt x="45" y="134"/>
                    </a:lnTo>
                    <a:lnTo>
                      <a:pt x="27" y="160"/>
                    </a:lnTo>
                    <a:lnTo>
                      <a:pt x="56" y="199"/>
                    </a:lnTo>
                    <a:lnTo>
                      <a:pt x="47" y="215"/>
                    </a:lnTo>
                    <a:lnTo>
                      <a:pt x="31" y="222"/>
                    </a:lnTo>
                    <a:lnTo>
                      <a:pt x="40" y="264"/>
                    </a:lnTo>
                    <a:lnTo>
                      <a:pt x="37" y="275"/>
                    </a:lnTo>
                    <a:lnTo>
                      <a:pt x="14" y="309"/>
                    </a:lnTo>
                    <a:lnTo>
                      <a:pt x="0" y="351"/>
                    </a:lnTo>
                    <a:lnTo>
                      <a:pt x="20" y="363"/>
                    </a:lnTo>
                    <a:lnTo>
                      <a:pt x="39" y="346"/>
                    </a:lnTo>
                    <a:lnTo>
                      <a:pt x="49" y="323"/>
                    </a:lnTo>
                    <a:lnTo>
                      <a:pt x="56" y="326"/>
                    </a:lnTo>
                    <a:lnTo>
                      <a:pt x="76" y="340"/>
                    </a:lnTo>
                    <a:lnTo>
                      <a:pt x="72" y="360"/>
                    </a:lnTo>
                    <a:lnTo>
                      <a:pt x="53" y="400"/>
                    </a:lnTo>
                    <a:lnTo>
                      <a:pt x="40" y="439"/>
                    </a:lnTo>
                    <a:lnTo>
                      <a:pt x="45" y="471"/>
                    </a:lnTo>
                    <a:lnTo>
                      <a:pt x="69" y="450"/>
                    </a:lnTo>
                    <a:lnTo>
                      <a:pt x="89" y="448"/>
                    </a:lnTo>
                    <a:lnTo>
                      <a:pt x="117" y="414"/>
                    </a:lnTo>
                    <a:lnTo>
                      <a:pt x="130" y="409"/>
                    </a:lnTo>
                    <a:lnTo>
                      <a:pt x="139" y="444"/>
                    </a:lnTo>
                    <a:lnTo>
                      <a:pt x="126" y="460"/>
                    </a:lnTo>
                    <a:lnTo>
                      <a:pt x="113" y="467"/>
                    </a:lnTo>
                    <a:lnTo>
                      <a:pt x="111" y="485"/>
                    </a:lnTo>
                    <a:lnTo>
                      <a:pt x="125" y="513"/>
                    </a:lnTo>
                    <a:lnTo>
                      <a:pt x="138" y="524"/>
                    </a:lnTo>
                    <a:lnTo>
                      <a:pt x="94" y="603"/>
                    </a:lnTo>
                    <a:lnTo>
                      <a:pt x="90" y="627"/>
                    </a:lnTo>
                    <a:lnTo>
                      <a:pt x="111" y="638"/>
                    </a:lnTo>
                    <a:lnTo>
                      <a:pt x="141" y="645"/>
                    </a:lnTo>
                    <a:lnTo>
                      <a:pt x="151" y="631"/>
                    </a:lnTo>
                    <a:lnTo>
                      <a:pt x="154" y="617"/>
                    </a:lnTo>
                    <a:lnTo>
                      <a:pt x="188" y="633"/>
                    </a:lnTo>
                    <a:lnTo>
                      <a:pt x="208" y="629"/>
                    </a:lnTo>
                    <a:lnTo>
                      <a:pt x="241" y="606"/>
                    </a:lnTo>
                    <a:lnTo>
                      <a:pt x="268" y="613"/>
                    </a:lnTo>
                    <a:lnTo>
                      <a:pt x="282" y="620"/>
                    </a:lnTo>
                    <a:lnTo>
                      <a:pt x="256" y="652"/>
                    </a:lnTo>
                    <a:lnTo>
                      <a:pt x="241" y="689"/>
                    </a:lnTo>
                    <a:lnTo>
                      <a:pt x="251" y="712"/>
                    </a:lnTo>
                    <a:lnTo>
                      <a:pt x="273" y="733"/>
                    </a:lnTo>
                    <a:lnTo>
                      <a:pt x="310" y="728"/>
                    </a:lnTo>
                    <a:lnTo>
                      <a:pt x="311" y="751"/>
                    </a:lnTo>
                    <a:lnTo>
                      <a:pt x="299" y="784"/>
                    </a:lnTo>
                    <a:lnTo>
                      <a:pt x="292" y="834"/>
                    </a:lnTo>
                    <a:lnTo>
                      <a:pt x="306" y="873"/>
                    </a:lnTo>
                    <a:lnTo>
                      <a:pt x="204" y="883"/>
                    </a:lnTo>
                    <a:lnTo>
                      <a:pt x="169" y="901"/>
                    </a:lnTo>
                    <a:lnTo>
                      <a:pt x="151" y="917"/>
                    </a:lnTo>
                    <a:lnTo>
                      <a:pt x="139" y="942"/>
                    </a:lnTo>
                    <a:lnTo>
                      <a:pt x="154" y="945"/>
                    </a:lnTo>
                    <a:lnTo>
                      <a:pt x="186" y="942"/>
                    </a:lnTo>
                    <a:lnTo>
                      <a:pt x="191" y="956"/>
                    </a:lnTo>
                    <a:lnTo>
                      <a:pt x="188" y="1014"/>
                    </a:lnTo>
                    <a:lnTo>
                      <a:pt x="170" y="1040"/>
                    </a:lnTo>
                    <a:lnTo>
                      <a:pt x="139" y="1058"/>
                    </a:lnTo>
                    <a:lnTo>
                      <a:pt x="96" y="1070"/>
                    </a:lnTo>
                    <a:lnTo>
                      <a:pt x="77" y="1093"/>
                    </a:lnTo>
                    <a:lnTo>
                      <a:pt x="84" y="1106"/>
                    </a:lnTo>
                    <a:lnTo>
                      <a:pt x="102" y="1118"/>
                    </a:lnTo>
                    <a:lnTo>
                      <a:pt x="183" y="1123"/>
                    </a:lnTo>
                    <a:lnTo>
                      <a:pt x="249" y="1157"/>
                    </a:lnTo>
                    <a:lnTo>
                      <a:pt x="281" y="1155"/>
                    </a:lnTo>
                    <a:lnTo>
                      <a:pt x="323" y="1127"/>
                    </a:lnTo>
                    <a:lnTo>
                      <a:pt x="309" y="1166"/>
                    </a:lnTo>
                    <a:lnTo>
                      <a:pt x="294" y="1176"/>
                    </a:lnTo>
                    <a:lnTo>
                      <a:pt x="292" y="1199"/>
                    </a:lnTo>
                    <a:lnTo>
                      <a:pt x="251" y="1199"/>
                    </a:lnTo>
                    <a:lnTo>
                      <a:pt x="216" y="1190"/>
                    </a:lnTo>
                    <a:lnTo>
                      <a:pt x="171" y="1199"/>
                    </a:lnTo>
                    <a:lnTo>
                      <a:pt x="174" y="1217"/>
                    </a:lnTo>
                    <a:lnTo>
                      <a:pt x="157" y="1233"/>
                    </a:lnTo>
                    <a:lnTo>
                      <a:pt x="145" y="1228"/>
                    </a:lnTo>
                    <a:lnTo>
                      <a:pt x="141" y="1262"/>
                    </a:lnTo>
                    <a:lnTo>
                      <a:pt x="120" y="1289"/>
                    </a:lnTo>
                    <a:lnTo>
                      <a:pt x="101" y="1296"/>
                    </a:lnTo>
                    <a:lnTo>
                      <a:pt x="78" y="1329"/>
                    </a:lnTo>
                    <a:lnTo>
                      <a:pt x="25" y="1361"/>
                    </a:lnTo>
                    <a:lnTo>
                      <a:pt x="59" y="1372"/>
                    </a:lnTo>
                    <a:lnTo>
                      <a:pt x="74" y="1387"/>
                    </a:lnTo>
                    <a:lnTo>
                      <a:pt x="105" y="1349"/>
                    </a:lnTo>
                    <a:lnTo>
                      <a:pt x="146" y="1327"/>
                    </a:lnTo>
                    <a:lnTo>
                      <a:pt x="170" y="1333"/>
                    </a:lnTo>
                    <a:lnTo>
                      <a:pt x="176" y="1322"/>
                    </a:lnTo>
                    <a:lnTo>
                      <a:pt x="200" y="1334"/>
                    </a:lnTo>
                    <a:lnTo>
                      <a:pt x="212" y="1350"/>
                    </a:lnTo>
                    <a:lnTo>
                      <a:pt x="228" y="1349"/>
                    </a:lnTo>
                    <a:lnTo>
                      <a:pt x="243" y="1326"/>
                    </a:lnTo>
                    <a:lnTo>
                      <a:pt x="248" y="1287"/>
                    </a:lnTo>
                    <a:lnTo>
                      <a:pt x="288" y="1281"/>
                    </a:lnTo>
                    <a:lnTo>
                      <a:pt x="302" y="1271"/>
                    </a:lnTo>
                    <a:lnTo>
                      <a:pt x="342" y="1294"/>
                    </a:lnTo>
                    <a:lnTo>
                      <a:pt x="354" y="1283"/>
                    </a:lnTo>
                    <a:lnTo>
                      <a:pt x="395" y="1294"/>
                    </a:lnTo>
                    <a:lnTo>
                      <a:pt x="388" y="1274"/>
                    </a:lnTo>
                    <a:lnTo>
                      <a:pt x="458" y="1264"/>
                    </a:lnTo>
                    <a:lnTo>
                      <a:pt x="485" y="1257"/>
                    </a:lnTo>
                    <a:lnTo>
                      <a:pt x="510" y="1271"/>
                    </a:lnTo>
                    <a:lnTo>
                      <a:pt x="559" y="1257"/>
                    </a:lnTo>
                    <a:lnTo>
                      <a:pt x="611" y="1269"/>
                    </a:lnTo>
                    <a:lnTo>
                      <a:pt x="658" y="1239"/>
                    </a:lnTo>
                    <a:lnTo>
                      <a:pt x="678" y="1244"/>
                    </a:lnTo>
                    <a:lnTo>
                      <a:pt x="678" y="1229"/>
                    </a:lnTo>
                    <a:lnTo>
                      <a:pt x="723" y="1208"/>
                    </a:lnTo>
                    <a:lnTo>
                      <a:pt x="726" y="1173"/>
                    </a:lnTo>
                    <a:lnTo>
                      <a:pt x="709" y="1164"/>
                    </a:lnTo>
                    <a:lnTo>
                      <a:pt x="694" y="1171"/>
                    </a:lnTo>
                    <a:lnTo>
                      <a:pt x="671" y="1169"/>
                    </a:lnTo>
                    <a:lnTo>
                      <a:pt x="616" y="1157"/>
                    </a:lnTo>
                    <a:lnTo>
                      <a:pt x="660" y="1141"/>
                    </a:lnTo>
                    <a:lnTo>
                      <a:pt x="694" y="1102"/>
                    </a:lnTo>
                    <a:lnTo>
                      <a:pt x="739" y="1069"/>
                    </a:lnTo>
                    <a:lnTo>
                      <a:pt x="755" y="1039"/>
                    </a:lnTo>
                    <a:lnTo>
                      <a:pt x="757" y="1023"/>
                    </a:lnTo>
                    <a:lnTo>
                      <a:pt x="747" y="970"/>
                    </a:lnTo>
                    <a:lnTo>
                      <a:pt x="726" y="945"/>
                    </a:lnTo>
                    <a:lnTo>
                      <a:pt x="690" y="933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38" name="Freeform 226"/>
              <p:cNvSpPr>
                <a:spLocks/>
              </p:cNvSpPr>
              <p:nvPr>
                <p:custDataLst>
                  <p:tags r:id="rId163"/>
                </p:custDataLst>
              </p:nvPr>
            </p:nvSpPr>
            <p:spPr bwMode="auto">
              <a:xfrm>
                <a:off x="2576" y="1711"/>
                <a:ext cx="38" cy="28"/>
              </a:xfrm>
              <a:custGeom>
                <a:avLst/>
                <a:gdLst>
                  <a:gd name="T0" fmla="*/ 69 w 242"/>
                  <a:gd name="T1" fmla="*/ 25 h 203"/>
                  <a:gd name="T2" fmla="*/ 70 w 242"/>
                  <a:gd name="T3" fmla="*/ 41 h 203"/>
                  <a:gd name="T4" fmla="*/ 53 w 242"/>
                  <a:gd name="T5" fmla="*/ 76 h 203"/>
                  <a:gd name="T6" fmla="*/ 16 w 242"/>
                  <a:gd name="T7" fmla="*/ 85 h 203"/>
                  <a:gd name="T8" fmla="*/ 39 w 242"/>
                  <a:gd name="T9" fmla="*/ 103 h 203"/>
                  <a:gd name="T10" fmla="*/ 0 w 242"/>
                  <a:gd name="T11" fmla="*/ 124 h 203"/>
                  <a:gd name="T12" fmla="*/ 4 w 242"/>
                  <a:gd name="T13" fmla="*/ 143 h 203"/>
                  <a:gd name="T14" fmla="*/ 23 w 242"/>
                  <a:gd name="T15" fmla="*/ 164 h 203"/>
                  <a:gd name="T16" fmla="*/ 57 w 242"/>
                  <a:gd name="T17" fmla="*/ 177 h 203"/>
                  <a:gd name="T18" fmla="*/ 89 w 242"/>
                  <a:gd name="T19" fmla="*/ 159 h 203"/>
                  <a:gd name="T20" fmla="*/ 101 w 242"/>
                  <a:gd name="T21" fmla="*/ 133 h 203"/>
                  <a:gd name="T22" fmla="*/ 116 w 242"/>
                  <a:gd name="T23" fmla="*/ 140 h 203"/>
                  <a:gd name="T24" fmla="*/ 127 w 242"/>
                  <a:gd name="T25" fmla="*/ 159 h 203"/>
                  <a:gd name="T26" fmla="*/ 144 w 242"/>
                  <a:gd name="T27" fmla="*/ 170 h 203"/>
                  <a:gd name="T28" fmla="*/ 138 w 242"/>
                  <a:gd name="T29" fmla="*/ 189 h 203"/>
                  <a:gd name="T30" fmla="*/ 181 w 242"/>
                  <a:gd name="T31" fmla="*/ 184 h 203"/>
                  <a:gd name="T32" fmla="*/ 188 w 242"/>
                  <a:gd name="T33" fmla="*/ 203 h 203"/>
                  <a:gd name="T34" fmla="*/ 202 w 242"/>
                  <a:gd name="T35" fmla="*/ 200 h 203"/>
                  <a:gd name="T36" fmla="*/ 217 w 242"/>
                  <a:gd name="T37" fmla="*/ 191 h 203"/>
                  <a:gd name="T38" fmla="*/ 235 w 242"/>
                  <a:gd name="T39" fmla="*/ 168 h 203"/>
                  <a:gd name="T40" fmla="*/ 242 w 242"/>
                  <a:gd name="T41" fmla="*/ 143 h 203"/>
                  <a:gd name="T42" fmla="*/ 228 w 242"/>
                  <a:gd name="T43" fmla="*/ 111 h 203"/>
                  <a:gd name="T44" fmla="*/ 232 w 242"/>
                  <a:gd name="T45" fmla="*/ 90 h 203"/>
                  <a:gd name="T46" fmla="*/ 230 w 242"/>
                  <a:gd name="T47" fmla="*/ 78 h 203"/>
                  <a:gd name="T48" fmla="*/ 207 w 242"/>
                  <a:gd name="T49" fmla="*/ 20 h 203"/>
                  <a:gd name="T50" fmla="*/ 197 w 242"/>
                  <a:gd name="T51" fmla="*/ 9 h 203"/>
                  <a:gd name="T52" fmla="*/ 181 w 242"/>
                  <a:gd name="T53" fmla="*/ 13 h 203"/>
                  <a:gd name="T54" fmla="*/ 164 w 242"/>
                  <a:gd name="T55" fmla="*/ 4 h 203"/>
                  <a:gd name="T56" fmla="*/ 146 w 242"/>
                  <a:gd name="T57" fmla="*/ 0 h 203"/>
                  <a:gd name="T58" fmla="*/ 111 w 242"/>
                  <a:gd name="T59" fmla="*/ 7 h 203"/>
                  <a:gd name="T60" fmla="*/ 69 w 242"/>
                  <a:gd name="T61" fmla="*/ 25 h 203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242"/>
                  <a:gd name="T94" fmla="*/ 0 h 203"/>
                  <a:gd name="T95" fmla="*/ 242 w 242"/>
                  <a:gd name="T96" fmla="*/ 203 h 203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242" h="203">
                    <a:moveTo>
                      <a:pt x="69" y="25"/>
                    </a:moveTo>
                    <a:lnTo>
                      <a:pt x="70" y="41"/>
                    </a:lnTo>
                    <a:lnTo>
                      <a:pt x="53" y="76"/>
                    </a:lnTo>
                    <a:lnTo>
                      <a:pt x="16" y="85"/>
                    </a:lnTo>
                    <a:lnTo>
                      <a:pt x="39" y="103"/>
                    </a:lnTo>
                    <a:lnTo>
                      <a:pt x="0" y="124"/>
                    </a:lnTo>
                    <a:lnTo>
                      <a:pt x="4" y="143"/>
                    </a:lnTo>
                    <a:lnTo>
                      <a:pt x="23" y="164"/>
                    </a:lnTo>
                    <a:lnTo>
                      <a:pt x="57" y="177"/>
                    </a:lnTo>
                    <a:lnTo>
                      <a:pt x="89" y="159"/>
                    </a:lnTo>
                    <a:lnTo>
                      <a:pt x="101" y="133"/>
                    </a:lnTo>
                    <a:lnTo>
                      <a:pt x="116" y="140"/>
                    </a:lnTo>
                    <a:lnTo>
                      <a:pt x="127" y="159"/>
                    </a:lnTo>
                    <a:lnTo>
                      <a:pt x="144" y="170"/>
                    </a:lnTo>
                    <a:lnTo>
                      <a:pt x="138" y="189"/>
                    </a:lnTo>
                    <a:lnTo>
                      <a:pt x="181" y="184"/>
                    </a:lnTo>
                    <a:lnTo>
                      <a:pt x="188" y="203"/>
                    </a:lnTo>
                    <a:lnTo>
                      <a:pt x="202" y="200"/>
                    </a:lnTo>
                    <a:lnTo>
                      <a:pt x="217" y="191"/>
                    </a:lnTo>
                    <a:lnTo>
                      <a:pt x="235" y="168"/>
                    </a:lnTo>
                    <a:lnTo>
                      <a:pt x="242" y="143"/>
                    </a:lnTo>
                    <a:lnTo>
                      <a:pt x="228" y="111"/>
                    </a:lnTo>
                    <a:lnTo>
                      <a:pt x="232" y="90"/>
                    </a:lnTo>
                    <a:lnTo>
                      <a:pt x="230" y="78"/>
                    </a:lnTo>
                    <a:lnTo>
                      <a:pt x="207" y="20"/>
                    </a:lnTo>
                    <a:lnTo>
                      <a:pt x="197" y="9"/>
                    </a:lnTo>
                    <a:lnTo>
                      <a:pt x="181" y="13"/>
                    </a:lnTo>
                    <a:lnTo>
                      <a:pt x="164" y="4"/>
                    </a:lnTo>
                    <a:lnTo>
                      <a:pt x="146" y="0"/>
                    </a:lnTo>
                    <a:lnTo>
                      <a:pt x="111" y="7"/>
                    </a:lnTo>
                    <a:lnTo>
                      <a:pt x="69" y="25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39" name="Freeform 227"/>
              <p:cNvSpPr>
                <a:spLocks/>
              </p:cNvSpPr>
              <p:nvPr>
                <p:custDataLst>
                  <p:tags r:id="rId164"/>
                </p:custDataLst>
              </p:nvPr>
            </p:nvSpPr>
            <p:spPr bwMode="auto">
              <a:xfrm>
                <a:off x="2611" y="1698"/>
                <a:ext cx="5" cy="9"/>
              </a:xfrm>
              <a:custGeom>
                <a:avLst/>
                <a:gdLst>
                  <a:gd name="T0" fmla="*/ 0 w 27"/>
                  <a:gd name="T1" fmla="*/ 30 h 56"/>
                  <a:gd name="T2" fmla="*/ 6 w 27"/>
                  <a:gd name="T3" fmla="*/ 56 h 56"/>
                  <a:gd name="T4" fmla="*/ 13 w 27"/>
                  <a:gd name="T5" fmla="*/ 56 h 56"/>
                  <a:gd name="T6" fmla="*/ 27 w 27"/>
                  <a:gd name="T7" fmla="*/ 37 h 56"/>
                  <a:gd name="T8" fmla="*/ 24 w 27"/>
                  <a:gd name="T9" fmla="*/ 0 h 56"/>
                  <a:gd name="T10" fmla="*/ 6 w 27"/>
                  <a:gd name="T11" fmla="*/ 5 h 56"/>
                  <a:gd name="T12" fmla="*/ 0 w 27"/>
                  <a:gd name="T13" fmla="*/ 30 h 5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7"/>
                  <a:gd name="T22" fmla="*/ 0 h 56"/>
                  <a:gd name="T23" fmla="*/ 27 w 27"/>
                  <a:gd name="T24" fmla="*/ 56 h 5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7" h="56">
                    <a:moveTo>
                      <a:pt x="0" y="30"/>
                    </a:moveTo>
                    <a:lnTo>
                      <a:pt x="6" y="56"/>
                    </a:lnTo>
                    <a:lnTo>
                      <a:pt x="13" y="56"/>
                    </a:lnTo>
                    <a:lnTo>
                      <a:pt x="27" y="37"/>
                    </a:lnTo>
                    <a:lnTo>
                      <a:pt x="24" y="0"/>
                    </a:lnTo>
                    <a:lnTo>
                      <a:pt x="6" y="5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40" name="Freeform 228"/>
              <p:cNvSpPr>
                <a:spLocks/>
              </p:cNvSpPr>
              <p:nvPr>
                <p:custDataLst>
                  <p:tags r:id="rId165"/>
                </p:custDataLst>
              </p:nvPr>
            </p:nvSpPr>
            <p:spPr bwMode="auto">
              <a:xfrm>
                <a:off x="2611" y="1698"/>
                <a:ext cx="5" cy="9"/>
              </a:xfrm>
              <a:custGeom>
                <a:avLst/>
                <a:gdLst>
                  <a:gd name="T0" fmla="*/ 6 w 27"/>
                  <a:gd name="T1" fmla="*/ 56 h 56"/>
                  <a:gd name="T2" fmla="*/ 13 w 27"/>
                  <a:gd name="T3" fmla="*/ 56 h 56"/>
                  <a:gd name="T4" fmla="*/ 27 w 27"/>
                  <a:gd name="T5" fmla="*/ 37 h 56"/>
                  <a:gd name="T6" fmla="*/ 24 w 27"/>
                  <a:gd name="T7" fmla="*/ 0 h 56"/>
                  <a:gd name="T8" fmla="*/ 6 w 27"/>
                  <a:gd name="T9" fmla="*/ 5 h 56"/>
                  <a:gd name="T10" fmla="*/ 0 w 27"/>
                  <a:gd name="T11" fmla="*/ 30 h 56"/>
                  <a:gd name="T12" fmla="*/ 6 w 27"/>
                  <a:gd name="T13" fmla="*/ 56 h 5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7"/>
                  <a:gd name="T22" fmla="*/ 0 h 56"/>
                  <a:gd name="T23" fmla="*/ 27 w 27"/>
                  <a:gd name="T24" fmla="*/ 56 h 5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7" h="56">
                    <a:moveTo>
                      <a:pt x="6" y="56"/>
                    </a:moveTo>
                    <a:lnTo>
                      <a:pt x="13" y="56"/>
                    </a:lnTo>
                    <a:lnTo>
                      <a:pt x="27" y="37"/>
                    </a:lnTo>
                    <a:lnTo>
                      <a:pt x="24" y="0"/>
                    </a:lnTo>
                    <a:lnTo>
                      <a:pt x="6" y="5"/>
                    </a:lnTo>
                    <a:lnTo>
                      <a:pt x="0" y="30"/>
                    </a:lnTo>
                    <a:lnTo>
                      <a:pt x="6" y="56"/>
                    </a:lnTo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41" name="Freeform 229"/>
              <p:cNvSpPr>
                <a:spLocks/>
              </p:cNvSpPr>
              <p:nvPr>
                <p:custDataLst>
                  <p:tags r:id="rId166"/>
                </p:custDataLst>
              </p:nvPr>
            </p:nvSpPr>
            <p:spPr bwMode="auto">
              <a:xfrm>
                <a:off x="2541" y="1710"/>
                <a:ext cx="66" cy="89"/>
              </a:xfrm>
              <a:custGeom>
                <a:avLst/>
                <a:gdLst>
                  <a:gd name="T0" fmla="*/ 60 w 438"/>
                  <a:gd name="T1" fmla="*/ 150 h 607"/>
                  <a:gd name="T2" fmla="*/ 32 w 438"/>
                  <a:gd name="T3" fmla="*/ 217 h 607"/>
                  <a:gd name="T4" fmla="*/ 80 w 438"/>
                  <a:gd name="T5" fmla="*/ 223 h 607"/>
                  <a:gd name="T6" fmla="*/ 69 w 438"/>
                  <a:gd name="T7" fmla="*/ 261 h 607"/>
                  <a:gd name="T8" fmla="*/ 48 w 438"/>
                  <a:gd name="T9" fmla="*/ 281 h 607"/>
                  <a:gd name="T10" fmla="*/ 61 w 438"/>
                  <a:gd name="T11" fmla="*/ 314 h 607"/>
                  <a:gd name="T12" fmla="*/ 86 w 438"/>
                  <a:gd name="T13" fmla="*/ 307 h 607"/>
                  <a:gd name="T14" fmla="*/ 119 w 438"/>
                  <a:gd name="T15" fmla="*/ 318 h 607"/>
                  <a:gd name="T16" fmla="*/ 147 w 438"/>
                  <a:gd name="T17" fmla="*/ 314 h 607"/>
                  <a:gd name="T18" fmla="*/ 147 w 438"/>
                  <a:gd name="T19" fmla="*/ 343 h 607"/>
                  <a:gd name="T20" fmla="*/ 96 w 438"/>
                  <a:gd name="T21" fmla="*/ 378 h 607"/>
                  <a:gd name="T22" fmla="*/ 86 w 438"/>
                  <a:gd name="T23" fmla="*/ 419 h 607"/>
                  <a:gd name="T24" fmla="*/ 129 w 438"/>
                  <a:gd name="T25" fmla="*/ 433 h 607"/>
                  <a:gd name="T26" fmla="*/ 76 w 438"/>
                  <a:gd name="T27" fmla="*/ 443 h 607"/>
                  <a:gd name="T28" fmla="*/ 69 w 438"/>
                  <a:gd name="T29" fmla="*/ 482 h 607"/>
                  <a:gd name="T30" fmla="*/ 3 w 438"/>
                  <a:gd name="T31" fmla="*/ 487 h 607"/>
                  <a:gd name="T32" fmla="*/ 52 w 438"/>
                  <a:gd name="T33" fmla="*/ 505 h 607"/>
                  <a:gd name="T34" fmla="*/ 28 w 438"/>
                  <a:gd name="T35" fmla="*/ 556 h 607"/>
                  <a:gd name="T36" fmla="*/ 70 w 438"/>
                  <a:gd name="T37" fmla="*/ 581 h 607"/>
                  <a:gd name="T38" fmla="*/ 123 w 438"/>
                  <a:gd name="T39" fmla="*/ 600 h 607"/>
                  <a:gd name="T40" fmla="*/ 191 w 438"/>
                  <a:gd name="T41" fmla="*/ 579 h 607"/>
                  <a:gd name="T42" fmla="*/ 258 w 438"/>
                  <a:gd name="T43" fmla="*/ 524 h 607"/>
                  <a:gd name="T44" fmla="*/ 307 w 438"/>
                  <a:gd name="T45" fmla="*/ 505 h 607"/>
                  <a:gd name="T46" fmla="*/ 355 w 438"/>
                  <a:gd name="T47" fmla="*/ 487 h 607"/>
                  <a:gd name="T48" fmla="*/ 393 w 438"/>
                  <a:gd name="T49" fmla="*/ 489 h 607"/>
                  <a:gd name="T50" fmla="*/ 408 w 438"/>
                  <a:gd name="T51" fmla="*/ 452 h 607"/>
                  <a:gd name="T52" fmla="*/ 435 w 438"/>
                  <a:gd name="T53" fmla="*/ 399 h 607"/>
                  <a:gd name="T54" fmla="*/ 424 w 438"/>
                  <a:gd name="T55" fmla="*/ 291 h 607"/>
                  <a:gd name="T56" fmla="*/ 397 w 438"/>
                  <a:gd name="T57" fmla="*/ 219 h 607"/>
                  <a:gd name="T58" fmla="*/ 421 w 438"/>
                  <a:gd name="T59" fmla="*/ 210 h 607"/>
                  <a:gd name="T60" fmla="*/ 371 w 438"/>
                  <a:gd name="T61" fmla="*/ 196 h 607"/>
                  <a:gd name="T62" fmla="*/ 360 w 438"/>
                  <a:gd name="T63" fmla="*/ 166 h 607"/>
                  <a:gd name="T64" fmla="*/ 334 w 438"/>
                  <a:gd name="T65" fmla="*/ 140 h 607"/>
                  <a:gd name="T66" fmla="*/ 290 w 438"/>
                  <a:gd name="T67" fmla="*/ 184 h 607"/>
                  <a:gd name="T68" fmla="*/ 237 w 438"/>
                  <a:gd name="T69" fmla="*/ 150 h 607"/>
                  <a:gd name="T70" fmla="*/ 272 w 438"/>
                  <a:gd name="T71" fmla="*/ 110 h 607"/>
                  <a:gd name="T72" fmla="*/ 286 w 438"/>
                  <a:gd name="T73" fmla="*/ 83 h 607"/>
                  <a:gd name="T74" fmla="*/ 302 w 438"/>
                  <a:gd name="T75" fmla="*/ 32 h 607"/>
                  <a:gd name="T76" fmla="*/ 279 w 438"/>
                  <a:gd name="T77" fmla="*/ 23 h 607"/>
                  <a:gd name="T78" fmla="*/ 235 w 438"/>
                  <a:gd name="T79" fmla="*/ 12 h 607"/>
                  <a:gd name="T80" fmla="*/ 199 w 438"/>
                  <a:gd name="T81" fmla="*/ 60 h 607"/>
                  <a:gd name="T82" fmla="*/ 171 w 438"/>
                  <a:gd name="T83" fmla="*/ 90 h 607"/>
                  <a:gd name="T84" fmla="*/ 224 w 438"/>
                  <a:gd name="T85" fmla="*/ 101 h 607"/>
                  <a:gd name="T86" fmla="*/ 179 w 438"/>
                  <a:gd name="T87" fmla="*/ 145 h 607"/>
                  <a:gd name="T88" fmla="*/ 139 w 438"/>
                  <a:gd name="T89" fmla="*/ 161 h 607"/>
                  <a:gd name="T90" fmla="*/ 101 w 438"/>
                  <a:gd name="T91" fmla="*/ 164 h 607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438"/>
                  <a:gd name="T139" fmla="*/ 0 h 607"/>
                  <a:gd name="T140" fmla="*/ 438 w 438"/>
                  <a:gd name="T141" fmla="*/ 607 h 607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438" h="607">
                    <a:moveTo>
                      <a:pt x="101" y="164"/>
                    </a:moveTo>
                    <a:lnTo>
                      <a:pt x="60" y="150"/>
                    </a:lnTo>
                    <a:lnTo>
                      <a:pt x="35" y="182"/>
                    </a:lnTo>
                    <a:lnTo>
                      <a:pt x="32" y="217"/>
                    </a:lnTo>
                    <a:lnTo>
                      <a:pt x="58" y="208"/>
                    </a:lnTo>
                    <a:lnTo>
                      <a:pt x="80" y="223"/>
                    </a:lnTo>
                    <a:lnTo>
                      <a:pt x="63" y="240"/>
                    </a:lnTo>
                    <a:lnTo>
                      <a:pt x="69" y="261"/>
                    </a:lnTo>
                    <a:lnTo>
                      <a:pt x="35" y="270"/>
                    </a:lnTo>
                    <a:lnTo>
                      <a:pt x="48" y="281"/>
                    </a:lnTo>
                    <a:lnTo>
                      <a:pt x="33" y="302"/>
                    </a:lnTo>
                    <a:lnTo>
                      <a:pt x="61" y="314"/>
                    </a:lnTo>
                    <a:lnTo>
                      <a:pt x="69" y="307"/>
                    </a:lnTo>
                    <a:lnTo>
                      <a:pt x="86" y="307"/>
                    </a:lnTo>
                    <a:lnTo>
                      <a:pt x="105" y="320"/>
                    </a:lnTo>
                    <a:lnTo>
                      <a:pt x="119" y="318"/>
                    </a:lnTo>
                    <a:lnTo>
                      <a:pt x="133" y="327"/>
                    </a:lnTo>
                    <a:lnTo>
                      <a:pt x="147" y="314"/>
                    </a:lnTo>
                    <a:lnTo>
                      <a:pt x="155" y="337"/>
                    </a:lnTo>
                    <a:lnTo>
                      <a:pt x="147" y="343"/>
                    </a:lnTo>
                    <a:lnTo>
                      <a:pt x="118" y="344"/>
                    </a:lnTo>
                    <a:lnTo>
                      <a:pt x="96" y="378"/>
                    </a:lnTo>
                    <a:lnTo>
                      <a:pt x="105" y="389"/>
                    </a:lnTo>
                    <a:lnTo>
                      <a:pt x="86" y="419"/>
                    </a:lnTo>
                    <a:lnTo>
                      <a:pt x="134" y="411"/>
                    </a:lnTo>
                    <a:lnTo>
                      <a:pt x="129" y="433"/>
                    </a:lnTo>
                    <a:lnTo>
                      <a:pt x="98" y="434"/>
                    </a:lnTo>
                    <a:lnTo>
                      <a:pt x="76" y="443"/>
                    </a:lnTo>
                    <a:lnTo>
                      <a:pt x="70" y="466"/>
                    </a:lnTo>
                    <a:lnTo>
                      <a:pt x="69" y="482"/>
                    </a:lnTo>
                    <a:lnTo>
                      <a:pt x="60" y="489"/>
                    </a:lnTo>
                    <a:lnTo>
                      <a:pt x="3" y="487"/>
                    </a:lnTo>
                    <a:lnTo>
                      <a:pt x="0" y="503"/>
                    </a:lnTo>
                    <a:lnTo>
                      <a:pt x="52" y="505"/>
                    </a:lnTo>
                    <a:lnTo>
                      <a:pt x="21" y="523"/>
                    </a:lnTo>
                    <a:lnTo>
                      <a:pt x="28" y="556"/>
                    </a:lnTo>
                    <a:lnTo>
                      <a:pt x="65" y="549"/>
                    </a:lnTo>
                    <a:lnTo>
                      <a:pt x="70" y="581"/>
                    </a:lnTo>
                    <a:lnTo>
                      <a:pt x="68" y="607"/>
                    </a:lnTo>
                    <a:lnTo>
                      <a:pt x="123" y="600"/>
                    </a:lnTo>
                    <a:lnTo>
                      <a:pt x="162" y="581"/>
                    </a:lnTo>
                    <a:lnTo>
                      <a:pt x="191" y="579"/>
                    </a:lnTo>
                    <a:lnTo>
                      <a:pt x="231" y="544"/>
                    </a:lnTo>
                    <a:lnTo>
                      <a:pt x="258" y="524"/>
                    </a:lnTo>
                    <a:lnTo>
                      <a:pt x="270" y="514"/>
                    </a:lnTo>
                    <a:lnTo>
                      <a:pt x="307" y="505"/>
                    </a:lnTo>
                    <a:lnTo>
                      <a:pt x="347" y="502"/>
                    </a:lnTo>
                    <a:lnTo>
                      <a:pt x="355" y="487"/>
                    </a:lnTo>
                    <a:lnTo>
                      <a:pt x="381" y="484"/>
                    </a:lnTo>
                    <a:lnTo>
                      <a:pt x="393" y="489"/>
                    </a:lnTo>
                    <a:lnTo>
                      <a:pt x="403" y="486"/>
                    </a:lnTo>
                    <a:lnTo>
                      <a:pt x="408" y="452"/>
                    </a:lnTo>
                    <a:lnTo>
                      <a:pt x="419" y="424"/>
                    </a:lnTo>
                    <a:lnTo>
                      <a:pt x="435" y="399"/>
                    </a:lnTo>
                    <a:lnTo>
                      <a:pt x="438" y="380"/>
                    </a:lnTo>
                    <a:lnTo>
                      <a:pt x="424" y="291"/>
                    </a:lnTo>
                    <a:lnTo>
                      <a:pt x="408" y="237"/>
                    </a:lnTo>
                    <a:lnTo>
                      <a:pt x="397" y="219"/>
                    </a:lnTo>
                    <a:lnTo>
                      <a:pt x="408" y="212"/>
                    </a:lnTo>
                    <a:lnTo>
                      <a:pt x="421" y="210"/>
                    </a:lnTo>
                    <a:lnTo>
                      <a:pt x="414" y="191"/>
                    </a:lnTo>
                    <a:lnTo>
                      <a:pt x="371" y="196"/>
                    </a:lnTo>
                    <a:lnTo>
                      <a:pt x="377" y="177"/>
                    </a:lnTo>
                    <a:lnTo>
                      <a:pt x="360" y="166"/>
                    </a:lnTo>
                    <a:lnTo>
                      <a:pt x="349" y="147"/>
                    </a:lnTo>
                    <a:lnTo>
                      <a:pt x="334" y="140"/>
                    </a:lnTo>
                    <a:lnTo>
                      <a:pt x="322" y="166"/>
                    </a:lnTo>
                    <a:lnTo>
                      <a:pt x="290" y="184"/>
                    </a:lnTo>
                    <a:lnTo>
                      <a:pt x="256" y="171"/>
                    </a:lnTo>
                    <a:lnTo>
                      <a:pt x="237" y="150"/>
                    </a:lnTo>
                    <a:lnTo>
                      <a:pt x="233" y="131"/>
                    </a:lnTo>
                    <a:lnTo>
                      <a:pt x="272" y="110"/>
                    </a:lnTo>
                    <a:lnTo>
                      <a:pt x="249" y="92"/>
                    </a:lnTo>
                    <a:lnTo>
                      <a:pt x="286" y="83"/>
                    </a:lnTo>
                    <a:lnTo>
                      <a:pt x="303" y="48"/>
                    </a:lnTo>
                    <a:lnTo>
                      <a:pt x="302" y="32"/>
                    </a:lnTo>
                    <a:lnTo>
                      <a:pt x="295" y="34"/>
                    </a:lnTo>
                    <a:lnTo>
                      <a:pt x="279" y="23"/>
                    </a:lnTo>
                    <a:lnTo>
                      <a:pt x="269" y="0"/>
                    </a:lnTo>
                    <a:lnTo>
                      <a:pt x="235" y="12"/>
                    </a:lnTo>
                    <a:lnTo>
                      <a:pt x="212" y="27"/>
                    </a:lnTo>
                    <a:lnTo>
                      <a:pt x="199" y="60"/>
                    </a:lnTo>
                    <a:lnTo>
                      <a:pt x="196" y="81"/>
                    </a:lnTo>
                    <a:lnTo>
                      <a:pt x="171" y="90"/>
                    </a:lnTo>
                    <a:lnTo>
                      <a:pt x="163" y="101"/>
                    </a:lnTo>
                    <a:lnTo>
                      <a:pt x="224" y="101"/>
                    </a:lnTo>
                    <a:lnTo>
                      <a:pt x="216" y="124"/>
                    </a:lnTo>
                    <a:lnTo>
                      <a:pt x="179" y="145"/>
                    </a:lnTo>
                    <a:lnTo>
                      <a:pt x="187" y="170"/>
                    </a:lnTo>
                    <a:lnTo>
                      <a:pt x="139" y="161"/>
                    </a:lnTo>
                    <a:lnTo>
                      <a:pt x="117" y="159"/>
                    </a:lnTo>
                    <a:lnTo>
                      <a:pt x="101" y="164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42" name="Freeform 230"/>
              <p:cNvSpPr>
                <a:spLocks/>
              </p:cNvSpPr>
              <p:nvPr>
                <p:custDataLst>
                  <p:tags r:id="rId167"/>
                </p:custDataLst>
              </p:nvPr>
            </p:nvSpPr>
            <p:spPr bwMode="auto">
              <a:xfrm>
                <a:off x="3022" y="1775"/>
                <a:ext cx="265" cy="178"/>
              </a:xfrm>
              <a:custGeom>
                <a:avLst/>
                <a:gdLst>
                  <a:gd name="T0" fmla="*/ 1677 w 1768"/>
                  <a:gd name="T1" fmla="*/ 407 h 1187"/>
                  <a:gd name="T2" fmla="*/ 1575 w 1768"/>
                  <a:gd name="T3" fmla="*/ 376 h 1187"/>
                  <a:gd name="T4" fmla="*/ 1518 w 1768"/>
                  <a:gd name="T5" fmla="*/ 331 h 1187"/>
                  <a:gd name="T6" fmla="*/ 1402 w 1768"/>
                  <a:gd name="T7" fmla="*/ 326 h 1187"/>
                  <a:gd name="T8" fmla="*/ 1307 w 1768"/>
                  <a:gd name="T9" fmla="*/ 296 h 1187"/>
                  <a:gd name="T10" fmla="*/ 1276 w 1768"/>
                  <a:gd name="T11" fmla="*/ 186 h 1187"/>
                  <a:gd name="T12" fmla="*/ 1178 w 1768"/>
                  <a:gd name="T13" fmla="*/ 115 h 1187"/>
                  <a:gd name="T14" fmla="*/ 1150 w 1768"/>
                  <a:gd name="T15" fmla="*/ 20 h 1187"/>
                  <a:gd name="T16" fmla="*/ 998 w 1768"/>
                  <a:gd name="T17" fmla="*/ 41 h 1187"/>
                  <a:gd name="T18" fmla="*/ 888 w 1768"/>
                  <a:gd name="T19" fmla="*/ 53 h 1187"/>
                  <a:gd name="T20" fmla="*/ 821 w 1768"/>
                  <a:gd name="T21" fmla="*/ 135 h 1187"/>
                  <a:gd name="T22" fmla="*/ 799 w 1768"/>
                  <a:gd name="T23" fmla="*/ 150 h 1187"/>
                  <a:gd name="T24" fmla="*/ 730 w 1768"/>
                  <a:gd name="T25" fmla="*/ 147 h 1187"/>
                  <a:gd name="T26" fmla="*/ 680 w 1768"/>
                  <a:gd name="T27" fmla="*/ 124 h 1187"/>
                  <a:gd name="T28" fmla="*/ 630 w 1768"/>
                  <a:gd name="T29" fmla="*/ 133 h 1187"/>
                  <a:gd name="T30" fmla="*/ 563 w 1768"/>
                  <a:gd name="T31" fmla="*/ 124 h 1187"/>
                  <a:gd name="T32" fmla="*/ 505 w 1768"/>
                  <a:gd name="T33" fmla="*/ 127 h 1187"/>
                  <a:gd name="T34" fmla="*/ 426 w 1768"/>
                  <a:gd name="T35" fmla="*/ 92 h 1187"/>
                  <a:gd name="T36" fmla="*/ 314 w 1768"/>
                  <a:gd name="T37" fmla="*/ 76 h 1187"/>
                  <a:gd name="T38" fmla="*/ 180 w 1768"/>
                  <a:gd name="T39" fmla="*/ 129 h 1187"/>
                  <a:gd name="T40" fmla="*/ 186 w 1768"/>
                  <a:gd name="T41" fmla="*/ 219 h 1187"/>
                  <a:gd name="T42" fmla="*/ 167 w 1768"/>
                  <a:gd name="T43" fmla="*/ 307 h 1187"/>
                  <a:gd name="T44" fmla="*/ 0 w 1768"/>
                  <a:gd name="T45" fmla="*/ 612 h 1187"/>
                  <a:gd name="T46" fmla="*/ 185 w 1768"/>
                  <a:gd name="T47" fmla="*/ 679 h 1187"/>
                  <a:gd name="T48" fmla="*/ 299 w 1768"/>
                  <a:gd name="T49" fmla="*/ 699 h 1187"/>
                  <a:gd name="T50" fmla="*/ 450 w 1768"/>
                  <a:gd name="T51" fmla="*/ 623 h 1187"/>
                  <a:gd name="T52" fmla="*/ 493 w 1768"/>
                  <a:gd name="T53" fmla="*/ 619 h 1187"/>
                  <a:gd name="T54" fmla="*/ 549 w 1768"/>
                  <a:gd name="T55" fmla="*/ 607 h 1187"/>
                  <a:gd name="T56" fmla="*/ 590 w 1768"/>
                  <a:gd name="T57" fmla="*/ 640 h 1187"/>
                  <a:gd name="T58" fmla="*/ 607 w 1768"/>
                  <a:gd name="T59" fmla="*/ 653 h 1187"/>
                  <a:gd name="T60" fmla="*/ 637 w 1768"/>
                  <a:gd name="T61" fmla="*/ 649 h 1187"/>
                  <a:gd name="T62" fmla="*/ 691 w 1768"/>
                  <a:gd name="T63" fmla="*/ 686 h 1187"/>
                  <a:gd name="T64" fmla="*/ 693 w 1768"/>
                  <a:gd name="T65" fmla="*/ 730 h 1187"/>
                  <a:gd name="T66" fmla="*/ 716 w 1768"/>
                  <a:gd name="T67" fmla="*/ 778 h 1187"/>
                  <a:gd name="T68" fmla="*/ 723 w 1768"/>
                  <a:gd name="T69" fmla="*/ 805 h 1187"/>
                  <a:gd name="T70" fmla="*/ 744 w 1768"/>
                  <a:gd name="T71" fmla="*/ 836 h 1187"/>
                  <a:gd name="T72" fmla="*/ 768 w 1768"/>
                  <a:gd name="T73" fmla="*/ 886 h 1187"/>
                  <a:gd name="T74" fmla="*/ 778 w 1768"/>
                  <a:gd name="T75" fmla="*/ 914 h 1187"/>
                  <a:gd name="T76" fmla="*/ 740 w 1768"/>
                  <a:gd name="T77" fmla="*/ 909 h 1187"/>
                  <a:gd name="T78" fmla="*/ 711 w 1768"/>
                  <a:gd name="T79" fmla="*/ 902 h 1187"/>
                  <a:gd name="T80" fmla="*/ 695 w 1768"/>
                  <a:gd name="T81" fmla="*/ 911 h 1187"/>
                  <a:gd name="T82" fmla="*/ 672 w 1768"/>
                  <a:gd name="T83" fmla="*/ 923 h 1187"/>
                  <a:gd name="T84" fmla="*/ 672 w 1768"/>
                  <a:gd name="T85" fmla="*/ 968 h 1187"/>
                  <a:gd name="T86" fmla="*/ 642 w 1768"/>
                  <a:gd name="T87" fmla="*/ 1003 h 1187"/>
                  <a:gd name="T88" fmla="*/ 628 w 1768"/>
                  <a:gd name="T89" fmla="*/ 1035 h 1187"/>
                  <a:gd name="T90" fmla="*/ 605 w 1768"/>
                  <a:gd name="T91" fmla="*/ 1046 h 1187"/>
                  <a:gd name="T92" fmla="*/ 736 w 1768"/>
                  <a:gd name="T93" fmla="*/ 1055 h 1187"/>
                  <a:gd name="T94" fmla="*/ 925 w 1768"/>
                  <a:gd name="T95" fmla="*/ 865 h 1187"/>
                  <a:gd name="T96" fmla="*/ 1022 w 1768"/>
                  <a:gd name="T97" fmla="*/ 950 h 1187"/>
                  <a:gd name="T98" fmla="*/ 1027 w 1768"/>
                  <a:gd name="T99" fmla="*/ 1062 h 1187"/>
                  <a:gd name="T100" fmla="*/ 1134 w 1768"/>
                  <a:gd name="T101" fmla="*/ 1183 h 1187"/>
                  <a:gd name="T102" fmla="*/ 1323 w 1768"/>
                  <a:gd name="T103" fmla="*/ 1099 h 1187"/>
                  <a:gd name="T104" fmla="*/ 1395 w 1768"/>
                  <a:gd name="T105" fmla="*/ 1051 h 1187"/>
                  <a:gd name="T106" fmla="*/ 1179 w 1768"/>
                  <a:gd name="T107" fmla="*/ 959 h 1187"/>
                  <a:gd name="T108" fmla="*/ 1285 w 1768"/>
                  <a:gd name="T109" fmla="*/ 875 h 1187"/>
                  <a:gd name="T110" fmla="*/ 1502 w 1768"/>
                  <a:gd name="T111" fmla="*/ 810 h 1187"/>
                  <a:gd name="T112" fmla="*/ 1611 w 1768"/>
                  <a:gd name="T113" fmla="*/ 727 h 1187"/>
                  <a:gd name="T114" fmla="*/ 1733 w 1768"/>
                  <a:gd name="T115" fmla="*/ 683 h 1187"/>
                  <a:gd name="T116" fmla="*/ 1726 w 1768"/>
                  <a:gd name="T117" fmla="*/ 554 h 1187"/>
                  <a:gd name="T118" fmla="*/ 1767 w 1768"/>
                  <a:gd name="T119" fmla="*/ 490 h 1187"/>
                  <a:gd name="T120" fmla="*/ 1748 w 1768"/>
                  <a:gd name="T121" fmla="*/ 437 h 1187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768"/>
                  <a:gd name="T184" fmla="*/ 0 h 1187"/>
                  <a:gd name="T185" fmla="*/ 1768 w 1768"/>
                  <a:gd name="T186" fmla="*/ 1187 h 1187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768" h="1187">
                    <a:moveTo>
                      <a:pt x="1748" y="437"/>
                    </a:moveTo>
                    <a:lnTo>
                      <a:pt x="1743" y="441"/>
                    </a:lnTo>
                    <a:lnTo>
                      <a:pt x="1731" y="441"/>
                    </a:lnTo>
                    <a:lnTo>
                      <a:pt x="1715" y="430"/>
                    </a:lnTo>
                    <a:lnTo>
                      <a:pt x="1710" y="414"/>
                    </a:lnTo>
                    <a:lnTo>
                      <a:pt x="1690" y="413"/>
                    </a:lnTo>
                    <a:lnTo>
                      <a:pt x="1677" y="407"/>
                    </a:lnTo>
                    <a:lnTo>
                      <a:pt x="1668" y="395"/>
                    </a:lnTo>
                    <a:lnTo>
                      <a:pt x="1653" y="399"/>
                    </a:lnTo>
                    <a:lnTo>
                      <a:pt x="1641" y="392"/>
                    </a:lnTo>
                    <a:lnTo>
                      <a:pt x="1600" y="379"/>
                    </a:lnTo>
                    <a:lnTo>
                      <a:pt x="1587" y="362"/>
                    </a:lnTo>
                    <a:lnTo>
                      <a:pt x="1579" y="365"/>
                    </a:lnTo>
                    <a:lnTo>
                      <a:pt x="1575" y="376"/>
                    </a:lnTo>
                    <a:lnTo>
                      <a:pt x="1563" y="384"/>
                    </a:lnTo>
                    <a:lnTo>
                      <a:pt x="1554" y="377"/>
                    </a:lnTo>
                    <a:lnTo>
                      <a:pt x="1546" y="365"/>
                    </a:lnTo>
                    <a:lnTo>
                      <a:pt x="1528" y="362"/>
                    </a:lnTo>
                    <a:lnTo>
                      <a:pt x="1526" y="353"/>
                    </a:lnTo>
                    <a:lnTo>
                      <a:pt x="1518" y="340"/>
                    </a:lnTo>
                    <a:lnTo>
                      <a:pt x="1518" y="331"/>
                    </a:lnTo>
                    <a:lnTo>
                      <a:pt x="1506" y="319"/>
                    </a:lnTo>
                    <a:lnTo>
                      <a:pt x="1501" y="309"/>
                    </a:lnTo>
                    <a:lnTo>
                      <a:pt x="1461" y="323"/>
                    </a:lnTo>
                    <a:lnTo>
                      <a:pt x="1449" y="323"/>
                    </a:lnTo>
                    <a:lnTo>
                      <a:pt x="1417" y="339"/>
                    </a:lnTo>
                    <a:lnTo>
                      <a:pt x="1409" y="326"/>
                    </a:lnTo>
                    <a:lnTo>
                      <a:pt x="1402" y="326"/>
                    </a:lnTo>
                    <a:lnTo>
                      <a:pt x="1394" y="330"/>
                    </a:lnTo>
                    <a:lnTo>
                      <a:pt x="1372" y="310"/>
                    </a:lnTo>
                    <a:lnTo>
                      <a:pt x="1361" y="305"/>
                    </a:lnTo>
                    <a:lnTo>
                      <a:pt x="1339" y="310"/>
                    </a:lnTo>
                    <a:lnTo>
                      <a:pt x="1328" y="323"/>
                    </a:lnTo>
                    <a:lnTo>
                      <a:pt x="1314" y="301"/>
                    </a:lnTo>
                    <a:lnTo>
                      <a:pt x="1307" y="296"/>
                    </a:lnTo>
                    <a:lnTo>
                      <a:pt x="1302" y="280"/>
                    </a:lnTo>
                    <a:lnTo>
                      <a:pt x="1307" y="268"/>
                    </a:lnTo>
                    <a:lnTo>
                      <a:pt x="1302" y="252"/>
                    </a:lnTo>
                    <a:lnTo>
                      <a:pt x="1294" y="233"/>
                    </a:lnTo>
                    <a:lnTo>
                      <a:pt x="1294" y="207"/>
                    </a:lnTo>
                    <a:lnTo>
                      <a:pt x="1276" y="207"/>
                    </a:lnTo>
                    <a:lnTo>
                      <a:pt x="1276" y="186"/>
                    </a:lnTo>
                    <a:lnTo>
                      <a:pt x="1259" y="184"/>
                    </a:lnTo>
                    <a:lnTo>
                      <a:pt x="1236" y="188"/>
                    </a:lnTo>
                    <a:lnTo>
                      <a:pt x="1228" y="180"/>
                    </a:lnTo>
                    <a:lnTo>
                      <a:pt x="1200" y="180"/>
                    </a:lnTo>
                    <a:lnTo>
                      <a:pt x="1188" y="161"/>
                    </a:lnTo>
                    <a:lnTo>
                      <a:pt x="1184" y="135"/>
                    </a:lnTo>
                    <a:lnTo>
                      <a:pt x="1178" y="115"/>
                    </a:lnTo>
                    <a:lnTo>
                      <a:pt x="1191" y="106"/>
                    </a:lnTo>
                    <a:lnTo>
                      <a:pt x="1204" y="108"/>
                    </a:lnTo>
                    <a:lnTo>
                      <a:pt x="1204" y="89"/>
                    </a:lnTo>
                    <a:lnTo>
                      <a:pt x="1191" y="78"/>
                    </a:lnTo>
                    <a:lnTo>
                      <a:pt x="1182" y="66"/>
                    </a:lnTo>
                    <a:lnTo>
                      <a:pt x="1165" y="29"/>
                    </a:lnTo>
                    <a:lnTo>
                      <a:pt x="1150" y="20"/>
                    </a:lnTo>
                    <a:lnTo>
                      <a:pt x="1141" y="0"/>
                    </a:lnTo>
                    <a:lnTo>
                      <a:pt x="1118" y="9"/>
                    </a:lnTo>
                    <a:lnTo>
                      <a:pt x="1088" y="2"/>
                    </a:lnTo>
                    <a:lnTo>
                      <a:pt x="1059" y="18"/>
                    </a:lnTo>
                    <a:lnTo>
                      <a:pt x="1035" y="20"/>
                    </a:lnTo>
                    <a:lnTo>
                      <a:pt x="1011" y="2"/>
                    </a:lnTo>
                    <a:lnTo>
                      <a:pt x="998" y="41"/>
                    </a:lnTo>
                    <a:lnTo>
                      <a:pt x="983" y="52"/>
                    </a:lnTo>
                    <a:lnTo>
                      <a:pt x="963" y="52"/>
                    </a:lnTo>
                    <a:lnTo>
                      <a:pt x="946" y="45"/>
                    </a:lnTo>
                    <a:lnTo>
                      <a:pt x="925" y="45"/>
                    </a:lnTo>
                    <a:lnTo>
                      <a:pt x="901" y="48"/>
                    </a:lnTo>
                    <a:lnTo>
                      <a:pt x="896" y="57"/>
                    </a:lnTo>
                    <a:lnTo>
                      <a:pt x="888" y="53"/>
                    </a:lnTo>
                    <a:lnTo>
                      <a:pt x="879" y="52"/>
                    </a:lnTo>
                    <a:lnTo>
                      <a:pt x="864" y="57"/>
                    </a:lnTo>
                    <a:lnTo>
                      <a:pt x="863" y="66"/>
                    </a:lnTo>
                    <a:lnTo>
                      <a:pt x="843" y="87"/>
                    </a:lnTo>
                    <a:lnTo>
                      <a:pt x="834" y="105"/>
                    </a:lnTo>
                    <a:lnTo>
                      <a:pt x="822" y="120"/>
                    </a:lnTo>
                    <a:lnTo>
                      <a:pt x="821" y="135"/>
                    </a:lnTo>
                    <a:lnTo>
                      <a:pt x="831" y="149"/>
                    </a:lnTo>
                    <a:lnTo>
                      <a:pt x="834" y="159"/>
                    </a:lnTo>
                    <a:lnTo>
                      <a:pt x="828" y="173"/>
                    </a:lnTo>
                    <a:lnTo>
                      <a:pt x="817" y="172"/>
                    </a:lnTo>
                    <a:lnTo>
                      <a:pt x="810" y="168"/>
                    </a:lnTo>
                    <a:lnTo>
                      <a:pt x="803" y="154"/>
                    </a:lnTo>
                    <a:lnTo>
                      <a:pt x="799" y="150"/>
                    </a:lnTo>
                    <a:lnTo>
                      <a:pt x="790" y="145"/>
                    </a:lnTo>
                    <a:lnTo>
                      <a:pt x="781" y="142"/>
                    </a:lnTo>
                    <a:lnTo>
                      <a:pt x="770" y="145"/>
                    </a:lnTo>
                    <a:lnTo>
                      <a:pt x="760" y="150"/>
                    </a:lnTo>
                    <a:lnTo>
                      <a:pt x="746" y="152"/>
                    </a:lnTo>
                    <a:lnTo>
                      <a:pt x="740" y="142"/>
                    </a:lnTo>
                    <a:lnTo>
                      <a:pt x="730" y="147"/>
                    </a:lnTo>
                    <a:lnTo>
                      <a:pt x="721" y="154"/>
                    </a:lnTo>
                    <a:lnTo>
                      <a:pt x="708" y="157"/>
                    </a:lnTo>
                    <a:lnTo>
                      <a:pt x="699" y="154"/>
                    </a:lnTo>
                    <a:lnTo>
                      <a:pt x="698" y="140"/>
                    </a:lnTo>
                    <a:lnTo>
                      <a:pt x="693" y="131"/>
                    </a:lnTo>
                    <a:lnTo>
                      <a:pt x="686" y="122"/>
                    </a:lnTo>
                    <a:lnTo>
                      <a:pt x="680" y="124"/>
                    </a:lnTo>
                    <a:lnTo>
                      <a:pt x="674" y="129"/>
                    </a:lnTo>
                    <a:lnTo>
                      <a:pt x="667" y="129"/>
                    </a:lnTo>
                    <a:lnTo>
                      <a:pt x="654" y="140"/>
                    </a:lnTo>
                    <a:lnTo>
                      <a:pt x="647" y="150"/>
                    </a:lnTo>
                    <a:lnTo>
                      <a:pt x="640" y="150"/>
                    </a:lnTo>
                    <a:lnTo>
                      <a:pt x="635" y="136"/>
                    </a:lnTo>
                    <a:lnTo>
                      <a:pt x="630" y="133"/>
                    </a:lnTo>
                    <a:lnTo>
                      <a:pt x="621" y="133"/>
                    </a:lnTo>
                    <a:lnTo>
                      <a:pt x="611" y="140"/>
                    </a:lnTo>
                    <a:lnTo>
                      <a:pt x="606" y="127"/>
                    </a:lnTo>
                    <a:lnTo>
                      <a:pt x="596" y="120"/>
                    </a:lnTo>
                    <a:lnTo>
                      <a:pt x="590" y="127"/>
                    </a:lnTo>
                    <a:lnTo>
                      <a:pt x="574" y="133"/>
                    </a:lnTo>
                    <a:lnTo>
                      <a:pt x="563" y="124"/>
                    </a:lnTo>
                    <a:lnTo>
                      <a:pt x="558" y="124"/>
                    </a:lnTo>
                    <a:lnTo>
                      <a:pt x="557" y="138"/>
                    </a:lnTo>
                    <a:lnTo>
                      <a:pt x="549" y="145"/>
                    </a:lnTo>
                    <a:lnTo>
                      <a:pt x="545" y="142"/>
                    </a:lnTo>
                    <a:lnTo>
                      <a:pt x="548" y="126"/>
                    </a:lnTo>
                    <a:lnTo>
                      <a:pt x="529" y="119"/>
                    </a:lnTo>
                    <a:lnTo>
                      <a:pt x="505" y="127"/>
                    </a:lnTo>
                    <a:lnTo>
                      <a:pt x="505" y="117"/>
                    </a:lnTo>
                    <a:lnTo>
                      <a:pt x="496" y="117"/>
                    </a:lnTo>
                    <a:lnTo>
                      <a:pt x="498" y="101"/>
                    </a:lnTo>
                    <a:lnTo>
                      <a:pt x="486" y="97"/>
                    </a:lnTo>
                    <a:lnTo>
                      <a:pt x="474" y="103"/>
                    </a:lnTo>
                    <a:lnTo>
                      <a:pt x="451" y="96"/>
                    </a:lnTo>
                    <a:lnTo>
                      <a:pt x="426" y="92"/>
                    </a:lnTo>
                    <a:lnTo>
                      <a:pt x="422" y="87"/>
                    </a:lnTo>
                    <a:lnTo>
                      <a:pt x="400" y="87"/>
                    </a:lnTo>
                    <a:lnTo>
                      <a:pt x="390" y="76"/>
                    </a:lnTo>
                    <a:lnTo>
                      <a:pt x="380" y="76"/>
                    </a:lnTo>
                    <a:lnTo>
                      <a:pt x="356" y="71"/>
                    </a:lnTo>
                    <a:lnTo>
                      <a:pt x="336" y="76"/>
                    </a:lnTo>
                    <a:lnTo>
                      <a:pt x="314" y="76"/>
                    </a:lnTo>
                    <a:lnTo>
                      <a:pt x="299" y="71"/>
                    </a:lnTo>
                    <a:lnTo>
                      <a:pt x="266" y="80"/>
                    </a:lnTo>
                    <a:lnTo>
                      <a:pt x="246" y="76"/>
                    </a:lnTo>
                    <a:lnTo>
                      <a:pt x="225" y="78"/>
                    </a:lnTo>
                    <a:lnTo>
                      <a:pt x="214" y="92"/>
                    </a:lnTo>
                    <a:lnTo>
                      <a:pt x="213" y="103"/>
                    </a:lnTo>
                    <a:lnTo>
                      <a:pt x="180" y="129"/>
                    </a:lnTo>
                    <a:lnTo>
                      <a:pt x="176" y="122"/>
                    </a:lnTo>
                    <a:lnTo>
                      <a:pt x="148" y="120"/>
                    </a:lnTo>
                    <a:lnTo>
                      <a:pt x="147" y="129"/>
                    </a:lnTo>
                    <a:lnTo>
                      <a:pt x="147" y="133"/>
                    </a:lnTo>
                    <a:lnTo>
                      <a:pt x="152" y="145"/>
                    </a:lnTo>
                    <a:lnTo>
                      <a:pt x="149" y="161"/>
                    </a:lnTo>
                    <a:lnTo>
                      <a:pt x="186" y="219"/>
                    </a:lnTo>
                    <a:lnTo>
                      <a:pt x="200" y="234"/>
                    </a:lnTo>
                    <a:lnTo>
                      <a:pt x="186" y="238"/>
                    </a:lnTo>
                    <a:lnTo>
                      <a:pt x="184" y="247"/>
                    </a:lnTo>
                    <a:lnTo>
                      <a:pt x="197" y="268"/>
                    </a:lnTo>
                    <a:lnTo>
                      <a:pt x="197" y="289"/>
                    </a:lnTo>
                    <a:lnTo>
                      <a:pt x="186" y="305"/>
                    </a:lnTo>
                    <a:lnTo>
                      <a:pt x="167" y="307"/>
                    </a:lnTo>
                    <a:lnTo>
                      <a:pt x="127" y="347"/>
                    </a:lnTo>
                    <a:lnTo>
                      <a:pt x="62" y="430"/>
                    </a:lnTo>
                    <a:lnTo>
                      <a:pt x="58" y="452"/>
                    </a:lnTo>
                    <a:lnTo>
                      <a:pt x="59" y="489"/>
                    </a:lnTo>
                    <a:lnTo>
                      <a:pt x="75" y="515"/>
                    </a:lnTo>
                    <a:lnTo>
                      <a:pt x="46" y="513"/>
                    </a:lnTo>
                    <a:lnTo>
                      <a:pt x="0" y="612"/>
                    </a:lnTo>
                    <a:lnTo>
                      <a:pt x="7" y="612"/>
                    </a:lnTo>
                    <a:lnTo>
                      <a:pt x="61" y="646"/>
                    </a:lnTo>
                    <a:lnTo>
                      <a:pt x="91" y="670"/>
                    </a:lnTo>
                    <a:lnTo>
                      <a:pt x="98" y="665"/>
                    </a:lnTo>
                    <a:lnTo>
                      <a:pt x="132" y="674"/>
                    </a:lnTo>
                    <a:lnTo>
                      <a:pt x="142" y="667"/>
                    </a:lnTo>
                    <a:lnTo>
                      <a:pt x="185" y="679"/>
                    </a:lnTo>
                    <a:lnTo>
                      <a:pt x="234" y="685"/>
                    </a:lnTo>
                    <a:lnTo>
                      <a:pt x="250" y="681"/>
                    </a:lnTo>
                    <a:lnTo>
                      <a:pt x="251" y="697"/>
                    </a:lnTo>
                    <a:lnTo>
                      <a:pt x="265" y="697"/>
                    </a:lnTo>
                    <a:lnTo>
                      <a:pt x="274" y="711"/>
                    </a:lnTo>
                    <a:lnTo>
                      <a:pt x="288" y="708"/>
                    </a:lnTo>
                    <a:lnTo>
                      <a:pt x="299" y="699"/>
                    </a:lnTo>
                    <a:lnTo>
                      <a:pt x="308" y="685"/>
                    </a:lnTo>
                    <a:lnTo>
                      <a:pt x="396" y="672"/>
                    </a:lnTo>
                    <a:lnTo>
                      <a:pt x="407" y="660"/>
                    </a:lnTo>
                    <a:lnTo>
                      <a:pt x="414" y="639"/>
                    </a:lnTo>
                    <a:lnTo>
                      <a:pt x="443" y="633"/>
                    </a:lnTo>
                    <a:lnTo>
                      <a:pt x="445" y="630"/>
                    </a:lnTo>
                    <a:lnTo>
                      <a:pt x="450" y="623"/>
                    </a:lnTo>
                    <a:lnTo>
                      <a:pt x="454" y="626"/>
                    </a:lnTo>
                    <a:lnTo>
                      <a:pt x="459" y="626"/>
                    </a:lnTo>
                    <a:lnTo>
                      <a:pt x="459" y="619"/>
                    </a:lnTo>
                    <a:lnTo>
                      <a:pt x="462" y="612"/>
                    </a:lnTo>
                    <a:lnTo>
                      <a:pt x="478" y="621"/>
                    </a:lnTo>
                    <a:lnTo>
                      <a:pt x="483" y="617"/>
                    </a:lnTo>
                    <a:lnTo>
                      <a:pt x="493" y="619"/>
                    </a:lnTo>
                    <a:lnTo>
                      <a:pt x="503" y="619"/>
                    </a:lnTo>
                    <a:lnTo>
                      <a:pt x="511" y="609"/>
                    </a:lnTo>
                    <a:lnTo>
                      <a:pt x="519" y="610"/>
                    </a:lnTo>
                    <a:lnTo>
                      <a:pt x="533" y="605"/>
                    </a:lnTo>
                    <a:lnTo>
                      <a:pt x="542" y="610"/>
                    </a:lnTo>
                    <a:lnTo>
                      <a:pt x="544" y="609"/>
                    </a:lnTo>
                    <a:lnTo>
                      <a:pt x="549" y="607"/>
                    </a:lnTo>
                    <a:lnTo>
                      <a:pt x="552" y="609"/>
                    </a:lnTo>
                    <a:lnTo>
                      <a:pt x="561" y="614"/>
                    </a:lnTo>
                    <a:lnTo>
                      <a:pt x="568" y="623"/>
                    </a:lnTo>
                    <a:lnTo>
                      <a:pt x="573" y="626"/>
                    </a:lnTo>
                    <a:lnTo>
                      <a:pt x="580" y="626"/>
                    </a:lnTo>
                    <a:lnTo>
                      <a:pt x="586" y="635"/>
                    </a:lnTo>
                    <a:lnTo>
                      <a:pt x="590" y="640"/>
                    </a:lnTo>
                    <a:lnTo>
                      <a:pt x="594" y="640"/>
                    </a:lnTo>
                    <a:lnTo>
                      <a:pt x="600" y="642"/>
                    </a:lnTo>
                    <a:lnTo>
                      <a:pt x="607" y="639"/>
                    </a:lnTo>
                    <a:lnTo>
                      <a:pt x="611" y="639"/>
                    </a:lnTo>
                    <a:lnTo>
                      <a:pt x="614" y="644"/>
                    </a:lnTo>
                    <a:lnTo>
                      <a:pt x="610" y="649"/>
                    </a:lnTo>
                    <a:lnTo>
                      <a:pt x="607" y="653"/>
                    </a:lnTo>
                    <a:lnTo>
                      <a:pt x="611" y="651"/>
                    </a:lnTo>
                    <a:lnTo>
                      <a:pt x="617" y="653"/>
                    </a:lnTo>
                    <a:lnTo>
                      <a:pt x="617" y="658"/>
                    </a:lnTo>
                    <a:lnTo>
                      <a:pt x="619" y="662"/>
                    </a:lnTo>
                    <a:lnTo>
                      <a:pt x="622" y="655"/>
                    </a:lnTo>
                    <a:lnTo>
                      <a:pt x="626" y="651"/>
                    </a:lnTo>
                    <a:lnTo>
                      <a:pt x="637" y="649"/>
                    </a:lnTo>
                    <a:lnTo>
                      <a:pt x="656" y="655"/>
                    </a:lnTo>
                    <a:lnTo>
                      <a:pt x="658" y="667"/>
                    </a:lnTo>
                    <a:lnTo>
                      <a:pt x="664" y="681"/>
                    </a:lnTo>
                    <a:lnTo>
                      <a:pt x="679" y="685"/>
                    </a:lnTo>
                    <a:lnTo>
                      <a:pt x="682" y="678"/>
                    </a:lnTo>
                    <a:lnTo>
                      <a:pt x="688" y="678"/>
                    </a:lnTo>
                    <a:lnTo>
                      <a:pt x="691" y="686"/>
                    </a:lnTo>
                    <a:lnTo>
                      <a:pt x="693" y="690"/>
                    </a:lnTo>
                    <a:lnTo>
                      <a:pt x="699" y="692"/>
                    </a:lnTo>
                    <a:lnTo>
                      <a:pt x="692" y="702"/>
                    </a:lnTo>
                    <a:lnTo>
                      <a:pt x="696" y="706"/>
                    </a:lnTo>
                    <a:lnTo>
                      <a:pt x="695" y="709"/>
                    </a:lnTo>
                    <a:lnTo>
                      <a:pt x="693" y="718"/>
                    </a:lnTo>
                    <a:lnTo>
                      <a:pt x="693" y="730"/>
                    </a:lnTo>
                    <a:lnTo>
                      <a:pt x="686" y="739"/>
                    </a:lnTo>
                    <a:lnTo>
                      <a:pt x="688" y="748"/>
                    </a:lnTo>
                    <a:lnTo>
                      <a:pt x="692" y="759"/>
                    </a:lnTo>
                    <a:lnTo>
                      <a:pt x="699" y="759"/>
                    </a:lnTo>
                    <a:lnTo>
                      <a:pt x="707" y="766"/>
                    </a:lnTo>
                    <a:lnTo>
                      <a:pt x="711" y="773"/>
                    </a:lnTo>
                    <a:lnTo>
                      <a:pt x="716" y="778"/>
                    </a:lnTo>
                    <a:lnTo>
                      <a:pt x="720" y="776"/>
                    </a:lnTo>
                    <a:lnTo>
                      <a:pt x="725" y="773"/>
                    </a:lnTo>
                    <a:lnTo>
                      <a:pt x="729" y="773"/>
                    </a:lnTo>
                    <a:lnTo>
                      <a:pt x="732" y="785"/>
                    </a:lnTo>
                    <a:lnTo>
                      <a:pt x="728" y="790"/>
                    </a:lnTo>
                    <a:lnTo>
                      <a:pt x="729" y="803"/>
                    </a:lnTo>
                    <a:lnTo>
                      <a:pt x="723" y="805"/>
                    </a:lnTo>
                    <a:lnTo>
                      <a:pt x="726" y="812"/>
                    </a:lnTo>
                    <a:lnTo>
                      <a:pt x="732" y="810"/>
                    </a:lnTo>
                    <a:lnTo>
                      <a:pt x="733" y="813"/>
                    </a:lnTo>
                    <a:lnTo>
                      <a:pt x="732" y="819"/>
                    </a:lnTo>
                    <a:lnTo>
                      <a:pt x="730" y="829"/>
                    </a:lnTo>
                    <a:lnTo>
                      <a:pt x="736" y="831"/>
                    </a:lnTo>
                    <a:lnTo>
                      <a:pt x="744" y="836"/>
                    </a:lnTo>
                    <a:lnTo>
                      <a:pt x="750" y="843"/>
                    </a:lnTo>
                    <a:lnTo>
                      <a:pt x="753" y="843"/>
                    </a:lnTo>
                    <a:lnTo>
                      <a:pt x="762" y="849"/>
                    </a:lnTo>
                    <a:lnTo>
                      <a:pt x="766" y="854"/>
                    </a:lnTo>
                    <a:lnTo>
                      <a:pt x="769" y="872"/>
                    </a:lnTo>
                    <a:lnTo>
                      <a:pt x="766" y="877"/>
                    </a:lnTo>
                    <a:lnTo>
                      <a:pt x="768" y="886"/>
                    </a:lnTo>
                    <a:lnTo>
                      <a:pt x="763" y="889"/>
                    </a:lnTo>
                    <a:lnTo>
                      <a:pt x="763" y="891"/>
                    </a:lnTo>
                    <a:lnTo>
                      <a:pt x="766" y="895"/>
                    </a:lnTo>
                    <a:lnTo>
                      <a:pt x="770" y="898"/>
                    </a:lnTo>
                    <a:lnTo>
                      <a:pt x="778" y="907"/>
                    </a:lnTo>
                    <a:lnTo>
                      <a:pt x="784" y="907"/>
                    </a:lnTo>
                    <a:lnTo>
                      <a:pt x="778" y="914"/>
                    </a:lnTo>
                    <a:lnTo>
                      <a:pt x="762" y="914"/>
                    </a:lnTo>
                    <a:lnTo>
                      <a:pt x="758" y="918"/>
                    </a:lnTo>
                    <a:lnTo>
                      <a:pt x="752" y="916"/>
                    </a:lnTo>
                    <a:lnTo>
                      <a:pt x="753" y="903"/>
                    </a:lnTo>
                    <a:lnTo>
                      <a:pt x="745" y="903"/>
                    </a:lnTo>
                    <a:lnTo>
                      <a:pt x="741" y="905"/>
                    </a:lnTo>
                    <a:lnTo>
                      <a:pt x="740" y="909"/>
                    </a:lnTo>
                    <a:lnTo>
                      <a:pt x="733" y="919"/>
                    </a:lnTo>
                    <a:lnTo>
                      <a:pt x="728" y="909"/>
                    </a:lnTo>
                    <a:lnTo>
                      <a:pt x="725" y="909"/>
                    </a:lnTo>
                    <a:lnTo>
                      <a:pt x="720" y="903"/>
                    </a:lnTo>
                    <a:lnTo>
                      <a:pt x="720" y="900"/>
                    </a:lnTo>
                    <a:lnTo>
                      <a:pt x="714" y="900"/>
                    </a:lnTo>
                    <a:lnTo>
                      <a:pt x="711" y="902"/>
                    </a:lnTo>
                    <a:lnTo>
                      <a:pt x="709" y="907"/>
                    </a:lnTo>
                    <a:lnTo>
                      <a:pt x="707" y="903"/>
                    </a:lnTo>
                    <a:lnTo>
                      <a:pt x="703" y="902"/>
                    </a:lnTo>
                    <a:lnTo>
                      <a:pt x="704" y="905"/>
                    </a:lnTo>
                    <a:lnTo>
                      <a:pt x="704" y="912"/>
                    </a:lnTo>
                    <a:lnTo>
                      <a:pt x="698" y="912"/>
                    </a:lnTo>
                    <a:lnTo>
                      <a:pt x="695" y="911"/>
                    </a:lnTo>
                    <a:lnTo>
                      <a:pt x="696" y="896"/>
                    </a:lnTo>
                    <a:lnTo>
                      <a:pt x="695" y="891"/>
                    </a:lnTo>
                    <a:lnTo>
                      <a:pt x="691" y="889"/>
                    </a:lnTo>
                    <a:lnTo>
                      <a:pt x="684" y="895"/>
                    </a:lnTo>
                    <a:lnTo>
                      <a:pt x="674" y="896"/>
                    </a:lnTo>
                    <a:lnTo>
                      <a:pt x="666" y="907"/>
                    </a:lnTo>
                    <a:lnTo>
                      <a:pt x="672" y="923"/>
                    </a:lnTo>
                    <a:lnTo>
                      <a:pt x="670" y="930"/>
                    </a:lnTo>
                    <a:lnTo>
                      <a:pt x="674" y="938"/>
                    </a:lnTo>
                    <a:lnTo>
                      <a:pt x="676" y="943"/>
                    </a:lnTo>
                    <a:lnTo>
                      <a:pt x="674" y="949"/>
                    </a:lnTo>
                    <a:lnTo>
                      <a:pt x="668" y="956"/>
                    </a:lnTo>
                    <a:lnTo>
                      <a:pt x="671" y="961"/>
                    </a:lnTo>
                    <a:lnTo>
                      <a:pt x="672" y="968"/>
                    </a:lnTo>
                    <a:lnTo>
                      <a:pt x="668" y="972"/>
                    </a:lnTo>
                    <a:lnTo>
                      <a:pt x="656" y="977"/>
                    </a:lnTo>
                    <a:lnTo>
                      <a:pt x="651" y="977"/>
                    </a:lnTo>
                    <a:lnTo>
                      <a:pt x="651" y="984"/>
                    </a:lnTo>
                    <a:lnTo>
                      <a:pt x="649" y="993"/>
                    </a:lnTo>
                    <a:lnTo>
                      <a:pt x="646" y="998"/>
                    </a:lnTo>
                    <a:lnTo>
                      <a:pt x="642" y="1003"/>
                    </a:lnTo>
                    <a:lnTo>
                      <a:pt x="637" y="1005"/>
                    </a:lnTo>
                    <a:lnTo>
                      <a:pt x="634" y="1005"/>
                    </a:lnTo>
                    <a:lnTo>
                      <a:pt x="633" y="1009"/>
                    </a:lnTo>
                    <a:lnTo>
                      <a:pt x="627" y="1014"/>
                    </a:lnTo>
                    <a:lnTo>
                      <a:pt x="626" y="1021"/>
                    </a:lnTo>
                    <a:lnTo>
                      <a:pt x="628" y="1028"/>
                    </a:lnTo>
                    <a:lnTo>
                      <a:pt x="628" y="1035"/>
                    </a:lnTo>
                    <a:lnTo>
                      <a:pt x="623" y="1042"/>
                    </a:lnTo>
                    <a:lnTo>
                      <a:pt x="617" y="1042"/>
                    </a:lnTo>
                    <a:lnTo>
                      <a:pt x="610" y="1040"/>
                    </a:lnTo>
                    <a:lnTo>
                      <a:pt x="606" y="1040"/>
                    </a:lnTo>
                    <a:lnTo>
                      <a:pt x="602" y="1042"/>
                    </a:lnTo>
                    <a:lnTo>
                      <a:pt x="598" y="1047"/>
                    </a:lnTo>
                    <a:lnTo>
                      <a:pt x="605" y="1046"/>
                    </a:lnTo>
                    <a:lnTo>
                      <a:pt x="610" y="1062"/>
                    </a:lnTo>
                    <a:lnTo>
                      <a:pt x="628" y="1072"/>
                    </a:lnTo>
                    <a:lnTo>
                      <a:pt x="655" y="1076"/>
                    </a:lnTo>
                    <a:lnTo>
                      <a:pt x="656" y="1063"/>
                    </a:lnTo>
                    <a:lnTo>
                      <a:pt x="677" y="1063"/>
                    </a:lnTo>
                    <a:lnTo>
                      <a:pt x="705" y="1046"/>
                    </a:lnTo>
                    <a:lnTo>
                      <a:pt x="736" y="1055"/>
                    </a:lnTo>
                    <a:lnTo>
                      <a:pt x="729" y="1049"/>
                    </a:lnTo>
                    <a:lnTo>
                      <a:pt x="726" y="1039"/>
                    </a:lnTo>
                    <a:lnTo>
                      <a:pt x="738" y="1005"/>
                    </a:lnTo>
                    <a:lnTo>
                      <a:pt x="748" y="1003"/>
                    </a:lnTo>
                    <a:lnTo>
                      <a:pt x="781" y="989"/>
                    </a:lnTo>
                    <a:lnTo>
                      <a:pt x="856" y="884"/>
                    </a:lnTo>
                    <a:lnTo>
                      <a:pt x="925" y="865"/>
                    </a:lnTo>
                    <a:lnTo>
                      <a:pt x="950" y="865"/>
                    </a:lnTo>
                    <a:lnTo>
                      <a:pt x="966" y="842"/>
                    </a:lnTo>
                    <a:lnTo>
                      <a:pt x="990" y="881"/>
                    </a:lnTo>
                    <a:lnTo>
                      <a:pt x="963" y="909"/>
                    </a:lnTo>
                    <a:lnTo>
                      <a:pt x="982" y="938"/>
                    </a:lnTo>
                    <a:lnTo>
                      <a:pt x="990" y="943"/>
                    </a:lnTo>
                    <a:lnTo>
                      <a:pt x="1022" y="950"/>
                    </a:lnTo>
                    <a:lnTo>
                      <a:pt x="1101" y="945"/>
                    </a:lnTo>
                    <a:lnTo>
                      <a:pt x="1121" y="949"/>
                    </a:lnTo>
                    <a:lnTo>
                      <a:pt x="1130" y="980"/>
                    </a:lnTo>
                    <a:lnTo>
                      <a:pt x="1122" y="987"/>
                    </a:lnTo>
                    <a:lnTo>
                      <a:pt x="1088" y="1000"/>
                    </a:lnTo>
                    <a:lnTo>
                      <a:pt x="1019" y="1049"/>
                    </a:lnTo>
                    <a:lnTo>
                      <a:pt x="1027" y="1062"/>
                    </a:lnTo>
                    <a:lnTo>
                      <a:pt x="1035" y="1060"/>
                    </a:lnTo>
                    <a:lnTo>
                      <a:pt x="1069" y="1058"/>
                    </a:lnTo>
                    <a:lnTo>
                      <a:pt x="1108" y="1077"/>
                    </a:lnTo>
                    <a:lnTo>
                      <a:pt x="1118" y="1097"/>
                    </a:lnTo>
                    <a:lnTo>
                      <a:pt x="1124" y="1123"/>
                    </a:lnTo>
                    <a:lnTo>
                      <a:pt x="1108" y="1171"/>
                    </a:lnTo>
                    <a:lnTo>
                      <a:pt x="1134" y="1183"/>
                    </a:lnTo>
                    <a:lnTo>
                      <a:pt x="1167" y="1187"/>
                    </a:lnTo>
                    <a:lnTo>
                      <a:pt x="1179" y="1180"/>
                    </a:lnTo>
                    <a:lnTo>
                      <a:pt x="1203" y="1150"/>
                    </a:lnTo>
                    <a:lnTo>
                      <a:pt x="1227" y="1138"/>
                    </a:lnTo>
                    <a:lnTo>
                      <a:pt x="1272" y="1134"/>
                    </a:lnTo>
                    <a:lnTo>
                      <a:pt x="1302" y="1102"/>
                    </a:lnTo>
                    <a:lnTo>
                      <a:pt x="1323" y="1099"/>
                    </a:lnTo>
                    <a:lnTo>
                      <a:pt x="1350" y="1109"/>
                    </a:lnTo>
                    <a:lnTo>
                      <a:pt x="1363" y="1108"/>
                    </a:lnTo>
                    <a:lnTo>
                      <a:pt x="1388" y="1100"/>
                    </a:lnTo>
                    <a:lnTo>
                      <a:pt x="1399" y="1092"/>
                    </a:lnTo>
                    <a:lnTo>
                      <a:pt x="1403" y="1074"/>
                    </a:lnTo>
                    <a:lnTo>
                      <a:pt x="1414" y="1058"/>
                    </a:lnTo>
                    <a:lnTo>
                      <a:pt x="1395" y="1051"/>
                    </a:lnTo>
                    <a:lnTo>
                      <a:pt x="1349" y="1049"/>
                    </a:lnTo>
                    <a:lnTo>
                      <a:pt x="1296" y="1067"/>
                    </a:lnTo>
                    <a:lnTo>
                      <a:pt x="1272" y="1065"/>
                    </a:lnTo>
                    <a:lnTo>
                      <a:pt x="1264" y="1049"/>
                    </a:lnTo>
                    <a:lnTo>
                      <a:pt x="1269" y="1037"/>
                    </a:lnTo>
                    <a:lnTo>
                      <a:pt x="1265" y="1026"/>
                    </a:lnTo>
                    <a:lnTo>
                      <a:pt x="1179" y="959"/>
                    </a:lnTo>
                    <a:lnTo>
                      <a:pt x="1151" y="942"/>
                    </a:lnTo>
                    <a:lnTo>
                      <a:pt x="1174" y="930"/>
                    </a:lnTo>
                    <a:lnTo>
                      <a:pt x="1215" y="926"/>
                    </a:lnTo>
                    <a:lnTo>
                      <a:pt x="1235" y="933"/>
                    </a:lnTo>
                    <a:lnTo>
                      <a:pt x="1255" y="928"/>
                    </a:lnTo>
                    <a:lnTo>
                      <a:pt x="1270" y="916"/>
                    </a:lnTo>
                    <a:lnTo>
                      <a:pt x="1285" y="875"/>
                    </a:lnTo>
                    <a:lnTo>
                      <a:pt x="1306" y="896"/>
                    </a:lnTo>
                    <a:lnTo>
                      <a:pt x="1326" y="891"/>
                    </a:lnTo>
                    <a:lnTo>
                      <a:pt x="1349" y="870"/>
                    </a:lnTo>
                    <a:lnTo>
                      <a:pt x="1398" y="854"/>
                    </a:lnTo>
                    <a:lnTo>
                      <a:pt x="1448" y="849"/>
                    </a:lnTo>
                    <a:lnTo>
                      <a:pt x="1480" y="836"/>
                    </a:lnTo>
                    <a:lnTo>
                      <a:pt x="1502" y="810"/>
                    </a:lnTo>
                    <a:lnTo>
                      <a:pt x="1580" y="799"/>
                    </a:lnTo>
                    <a:lnTo>
                      <a:pt x="1580" y="790"/>
                    </a:lnTo>
                    <a:lnTo>
                      <a:pt x="1582" y="783"/>
                    </a:lnTo>
                    <a:lnTo>
                      <a:pt x="1582" y="769"/>
                    </a:lnTo>
                    <a:lnTo>
                      <a:pt x="1584" y="734"/>
                    </a:lnTo>
                    <a:lnTo>
                      <a:pt x="1595" y="729"/>
                    </a:lnTo>
                    <a:lnTo>
                      <a:pt x="1611" y="727"/>
                    </a:lnTo>
                    <a:lnTo>
                      <a:pt x="1628" y="718"/>
                    </a:lnTo>
                    <a:lnTo>
                      <a:pt x="1637" y="706"/>
                    </a:lnTo>
                    <a:lnTo>
                      <a:pt x="1637" y="693"/>
                    </a:lnTo>
                    <a:lnTo>
                      <a:pt x="1682" y="692"/>
                    </a:lnTo>
                    <a:lnTo>
                      <a:pt x="1718" y="702"/>
                    </a:lnTo>
                    <a:lnTo>
                      <a:pt x="1733" y="692"/>
                    </a:lnTo>
                    <a:lnTo>
                      <a:pt x="1733" y="683"/>
                    </a:lnTo>
                    <a:lnTo>
                      <a:pt x="1740" y="662"/>
                    </a:lnTo>
                    <a:lnTo>
                      <a:pt x="1746" y="630"/>
                    </a:lnTo>
                    <a:lnTo>
                      <a:pt x="1743" y="625"/>
                    </a:lnTo>
                    <a:lnTo>
                      <a:pt x="1735" y="591"/>
                    </a:lnTo>
                    <a:lnTo>
                      <a:pt x="1721" y="580"/>
                    </a:lnTo>
                    <a:lnTo>
                      <a:pt x="1722" y="566"/>
                    </a:lnTo>
                    <a:lnTo>
                      <a:pt x="1726" y="554"/>
                    </a:lnTo>
                    <a:lnTo>
                      <a:pt x="1748" y="554"/>
                    </a:lnTo>
                    <a:lnTo>
                      <a:pt x="1755" y="543"/>
                    </a:lnTo>
                    <a:lnTo>
                      <a:pt x="1731" y="535"/>
                    </a:lnTo>
                    <a:lnTo>
                      <a:pt x="1721" y="519"/>
                    </a:lnTo>
                    <a:lnTo>
                      <a:pt x="1734" y="515"/>
                    </a:lnTo>
                    <a:lnTo>
                      <a:pt x="1758" y="496"/>
                    </a:lnTo>
                    <a:lnTo>
                      <a:pt x="1767" y="490"/>
                    </a:lnTo>
                    <a:lnTo>
                      <a:pt x="1768" y="474"/>
                    </a:lnTo>
                    <a:lnTo>
                      <a:pt x="1764" y="464"/>
                    </a:lnTo>
                    <a:lnTo>
                      <a:pt x="1759" y="457"/>
                    </a:lnTo>
                    <a:lnTo>
                      <a:pt x="1760" y="444"/>
                    </a:lnTo>
                    <a:lnTo>
                      <a:pt x="1764" y="437"/>
                    </a:lnTo>
                    <a:lnTo>
                      <a:pt x="1758" y="430"/>
                    </a:lnTo>
                    <a:lnTo>
                      <a:pt x="1748" y="437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43" name="Freeform 231"/>
              <p:cNvSpPr>
                <a:spLocks/>
              </p:cNvSpPr>
              <p:nvPr>
                <p:custDataLst>
                  <p:tags r:id="rId168"/>
                </p:custDataLst>
              </p:nvPr>
            </p:nvSpPr>
            <p:spPr bwMode="auto">
              <a:xfrm>
                <a:off x="2734" y="1797"/>
                <a:ext cx="55" cy="47"/>
              </a:xfrm>
              <a:custGeom>
                <a:avLst/>
                <a:gdLst>
                  <a:gd name="T0" fmla="*/ 212 w 371"/>
                  <a:gd name="T1" fmla="*/ 12 h 310"/>
                  <a:gd name="T2" fmla="*/ 184 w 371"/>
                  <a:gd name="T3" fmla="*/ 12 h 310"/>
                  <a:gd name="T4" fmla="*/ 186 w 371"/>
                  <a:gd name="T5" fmla="*/ 23 h 310"/>
                  <a:gd name="T6" fmla="*/ 163 w 371"/>
                  <a:gd name="T7" fmla="*/ 24 h 310"/>
                  <a:gd name="T8" fmla="*/ 145 w 371"/>
                  <a:gd name="T9" fmla="*/ 23 h 310"/>
                  <a:gd name="T10" fmla="*/ 123 w 371"/>
                  <a:gd name="T11" fmla="*/ 15 h 310"/>
                  <a:gd name="T12" fmla="*/ 115 w 371"/>
                  <a:gd name="T13" fmla="*/ 26 h 310"/>
                  <a:gd name="T14" fmla="*/ 94 w 371"/>
                  <a:gd name="T15" fmla="*/ 26 h 310"/>
                  <a:gd name="T16" fmla="*/ 69 w 371"/>
                  <a:gd name="T17" fmla="*/ 21 h 310"/>
                  <a:gd name="T18" fmla="*/ 48 w 371"/>
                  <a:gd name="T19" fmla="*/ 26 h 310"/>
                  <a:gd name="T20" fmla="*/ 0 w 371"/>
                  <a:gd name="T21" fmla="*/ 61 h 310"/>
                  <a:gd name="T22" fmla="*/ 10 w 371"/>
                  <a:gd name="T23" fmla="*/ 92 h 310"/>
                  <a:gd name="T24" fmla="*/ 24 w 371"/>
                  <a:gd name="T25" fmla="*/ 117 h 310"/>
                  <a:gd name="T26" fmla="*/ 36 w 371"/>
                  <a:gd name="T27" fmla="*/ 126 h 310"/>
                  <a:gd name="T28" fmla="*/ 60 w 371"/>
                  <a:gd name="T29" fmla="*/ 107 h 310"/>
                  <a:gd name="T30" fmla="*/ 68 w 371"/>
                  <a:gd name="T31" fmla="*/ 117 h 310"/>
                  <a:gd name="T32" fmla="*/ 77 w 371"/>
                  <a:gd name="T33" fmla="*/ 149 h 310"/>
                  <a:gd name="T34" fmla="*/ 84 w 371"/>
                  <a:gd name="T35" fmla="*/ 159 h 310"/>
                  <a:gd name="T36" fmla="*/ 108 w 371"/>
                  <a:gd name="T37" fmla="*/ 158 h 310"/>
                  <a:gd name="T38" fmla="*/ 115 w 371"/>
                  <a:gd name="T39" fmla="*/ 179 h 310"/>
                  <a:gd name="T40" fmla="*/ 126 w 371"/>
                  <a:gd name="T41" fmla="*/ 177 h 310"/>
                  <a:gd name="T42" fmla="*/ 151 w 371"/>
                  <a:gd name="T43" fmla="*/ 181 h 310"/>
                  <a:gd name="T44" fmla="*/ 168 w 371"/>
                  <a:gd name="T45" fmla="*/ 193 h 310"/>
                  <a:gd name="T46" fmla="*/ 161 w 371"/>
                  <a:gd name="T47" fmla="*/ 209 h 310"/>
                  <a:gd name="T48" fmla="*/ 166 w 371"/>
                  <a:gd name="T49" fmla="*/ 221 h 310"/>
                  <a:gd name="T50" fmla="*/ 161 w 371"/>
                  <a:gd name="T51" fmla="*/ 235 h 310"/>
                  <a:gd name="T52" fmla="*/ 175 w 371"/>
                  <a:gd name="T53" fmla="*/ 242 h 310"/>
                  <a:gd name="T54" fmla="*/ 212 w 371"/>
                  <a:gd name="T55" fmla="*/ 235 h 310"/>
                  <a:gd name="T56" fmla="*/ 220 w 371"/>
                  <a:gd name="T57" fmla="*/ 214 h 310"/>
                  <a:gd name="T58" fmla="*/ 231 w 371"/>
                  <a:gd name="T59" fmla="*/ 209 h 310"/>
                  <a:gd name="T60" fmla="*/ 227 w 371"/>
                  <a:gd name="T61" fmla="*/ 235 h 310"/>
                  <a:gd name="T62" fmla="*/ 232 w 371"/>
                  <a:gd name="T63" fmla="*/ 248 h 310"/>
                  <a:gd name="T64" fmla="*/ 231 w 371"/>
                  <a:gd name="T65" fmla="*/ 264 h 310"/>
                  <a:gd name="T66" fmla="*/ 254 w 371"/>
                  <a:gd name="T67" fmla="*/ 265 h 310"/>
                  <a:gd name="T68" fmla="*/ 286 w 371"/>
                  <a:gd name="T69" fmla="*/ 294 h 310"/>
                  <a:gd name="T70" fmla="*/ 291 w 371"/>
                  <a:gd name="T71" fmla="*/ 310 h 310"/>
                  <a:gd name="T72" fmla="*/ 321 w 371"/>
                  <a:gd name="T73" fmla="*/ 297 h 310"/>
                  <a:gd name="T74" fmla="*/ 326 w 371"/>
                  <a:gd name="T75" fmla="*/ 304 h 310"/>
                  <a:gd name="T76" fmla="*/ 331 w 371"/>
                  <a:gd name="T77" fmla="*/ 281 h 310"/>
                  <a:gd name="T78" fmla="*/ 317 w 371"/>
                  <a:gd name="T79" fmla="*/ 267 h 310"/>
                  <a:gd name="T80" fmla="*/ 317 w 371"/>
                  <a:gd name="T81" fmla="*/ 244 h 310"/>
                  <a:gd name="T82" fmla="*/ 326 w 371"/>
                  <a:gd name="T83" fmla="*/ 223 h 310"/>
                  <a:gd name="T84" fmla="*/ 343 w 371"/>
                  <a:gd name="T85" fmla="*/ 207 h 310"/>
                  <a:gd name="T86" fmla="*/ 354 w 371"/>
                  <a:gd name="T87" fmla="*/ 212 h 310"/>
                  <a:gd name="T88" fmla="*/ 371 w 371"/>
                  <a:gd name="T89" fmla="*/ 186 h 310"/>
                  <a:gd name="T90" fmla="*/ 370 w 371"/>
                  <a:gd name="T91" fmla="*/ 154 h 310"/>
                  <a:gd name="T92" fmla="*/ 358 w 371"/>
                  <a:gd name="T93" fmla="*/ 128 h 310"/>
                  <a:gd name="T94" fmla="*/ 342 w 371"/>
                  <a:gd name="T95" fmla="*/ 115 h 310"/>
                  <a:gd name="T96" fmla="*/ 313 w 371"/>
                  <a:gd name="T97" fmla="*/ 117 h 310"/>
                  <a:gd name="T98" fmla="*/ 313 w 371"/>
                  <a:gd name="T99" fmla="*/ 94 h 310"/>
                  <a:gd name="T100" fmla="*/ 319 w 371"/>
                  <a:gd name="T101" fmla="*/ 87 h 310"/>
                  <a:gd name="T102" fmla="*/ 326 w 371"/>
                  <a:gd name="T103" fmla="*/ 58 h 310"/>
                  <a:gd name="T104" fmla="*/ 291 w 371"/>
                  <a:gd name="T105" fmla="*/ 31 h 310"/>
                  <a:gd name="T106" fmla="*/ 268 w 371"/>
                  <a:gd name="T107" fmla="*/ 38 h 310"/>
                  <a:gd name="T108" fmla="*/ 256 w 371"/>
                  <a:gd name="T109" fmla="*/ 12 h 310"/>
                  <a:gd name="T110" fmla="*/ 245 w 371"/>
                  <a:gd name="T111" fmla="*/ 8 h 310"/>
                  <a:gd name="T112" fmla="*/ 238 w 371"/>
                  <a:gd name="T113" fmla="*/ 17 h 310"/>
                  <a:gd name="T114" fmla="*/ 223 w 371"/>
                  <a:gd name="T115" fmla="*/ 0 h 310"/>
                  <a:gd name="T116" fmla="*/ 212 w 371"/>
                  <a:gd name="T117" fmla="*/ 12 h 31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371"/>
                  <a:gd name="T178" fmla="*/ 0 h 310"/>
                  <a:gd name="T179" fmla="*/ 371 w 371"/>
                  <a:gd name="T180" fmla="*/ 310 h 310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371" h="310">
                    <a:moveTo>
                      <a:pt x="212" y="12"/>
                    </a:moveTo>
                    <a:lnTo>
                      <a:pt x="184" y="12"/>
                    </a:lnTo>
                    <a:lnTo>
                      <a:pt x="186" y="23"/>
                    </a:lnTo>
                    <a:lnTo>
                      <a:pt x="163" y="24"/>
                    </a:lnTo>
                    <a:lnTo>
                      <a:pt x="145" y="23"/>
                    </a:lnTo>
                    <a:lnTo>
                      <a:pt x="123" y="15"/>
                    </a:lnTo>
                    <a:lnTo>
                      <a:pt x="115" y="26"/>
                    </a:lnTo>
                    <a:lnTo>
                      <a:pt x="94" y="26"/>
                    </a:lnTo>
                    <a:lnTo>
                      <a:pt x="69" y="21"/>
                    </a:lnTo>
                    <a:lnTo>
                      <a:pt x="48" y="26"/>
                    </a:lnTo>
                    <a:lnTo>
                      <a:pt x="0" y="61"/>
                    </a:lnTo>
                    <a:lnTo>
                      <a:pt x="10" y="92"/>
                    </a:lnTo>
                    <a:lnTo>
                      <a:pt x="24" y="117"/>
                    </a:lnTo>
                    <a:lnTo>
                      <a:pt x="36" y="126"/>
                    </a:lnTo>
                    <a:lnTo>
                      <a:pt x="60" y="107"/>
                    </a:lnTo>
                    <a:lnTo>
                      <a:pt x="68" y="117"/>
                    </a:lnTo>
                    <a:lnTo>
                      <a:pt x="77" y="149"/>
                    </a:lnTo>
                    <a:lnTo>
                      <a:pt x="84" y="159"/>
                    </a:lnTo>
                    <a:lnTo>
                      <a:pt x="108" y="158"/>
                    </a:lnTo>
                    <a:lnTo>
                      <a:pt x="115" y="179"/>
                    </a:lnTo>
                    <a:lnTo>
                      <a:pt x="126" y="177"/>
                    </a:lnTo>
                    <a:lnTo>
                      <a:pt x="151" y="181"/>
                    </a:lnTo>
                    <a:lnTo>
                      <a:pt x="168" y="193"/>
                    </a:lnTo>
                    <a:lnTo>
                      <a:pt x="161" y="209"/>
                    </a:lnTo>
                    <a:lnTo>
                      <a:pt x="166" y="221"/>
                    </a:lnTo>
                    <a:lnTo>
                      <a:pt x="161" y="235"/>
                    </a:lnTo>
                    <a:lnTo>
                      <a:pt x="175" y="242"/>
                    </a:lnTo>
                    <a:lnTo>
                      <a:pt x="212" y="235"/>
                    </a:lnTo>
                    <a:lnTo>
                      <a:pt x="220" y="214"/>
                    </a:lnTo>
                    <a:lnTo>
                      <a:pt x="231" y="209"/>
                    </a:lnTo>
                    <a:lnTo>
                      <a:pt x="227" y="235"/>
                    </a:lnTo>
                    <a:lnTo>
                      <a:pt x="232" y="248"/>
                    </a:lnTo>
                    <a:lnTo>
                      <a:pt x="231" y="264"/>
                    </a:lnTo>
                    <a:lnTo>
                      <a:pt x="254" y="265"/>
                    </a:lnTo>
                    <a:lnTo>
                      <a:pt x="286" y="294"/>
                    </a:lnTo>
                    <a:lnTo>
                      <a:pt x="291" y="310"/>
                    </a:lnTo>
                    <a:lnTo>
                      <a:pt x="321" y="297"/>
                    </a:lnTo>
                    <a:lnTo>
                      <a:pt x="326" y="304"/>
                    </a:lnTo>
                    <a:lnTo>
                      <a:pt x="331" y="281"/>
                    </a:lnTo>
                    <a:lnTo>
                      <a:pt x="317" y="267"/>
                    </a:lnTo>
                    <a:lnTo>
                      <a:pt x="317" y="244"/>
                    </a:lnTo>
                    <a:lnTo>
                      <a:pt x="326" y="223"/>
                    </a:lnTo>
                    <a:lnTo>
                      <a:pt x="343" y="207"/>
                    </a:lnTo>
                    <a:lnTo>
                      <a:pt x="354" y="212"/>
                    </a:lnTo>
                    <a:lnTo>
                      <a:pt x="371" y="186"/>
                    </a:lnTo>
                    <a:lnTo>
                      <a:pt x="370" y="154"/>
                    </a:lnTo>
                    <a:lnTo>
                      <a:pt x="358" y="128"/>
                    </a:lnTo>
                    <a:lnTo>
                      <a:pt x="342" y="115"/>
                    </a:lnTo>
                    <a:lnTo>
                      <a:pt x="313" y="117"/>
                    </a:lnTo>
                    <a:lnTo>
                      <a:pt x="313" y="94"/>
                    </a:lnTo>
                    <a:lnTo>
                      <a:pt x="319" y="87"/>
                    </a:lnTo>
                    <a:lnTo>
                      <a:pt x="326" y="58"/>
                    </a:lnTo>
                    <a:lnTo>
                      <a:pt x="291" y="31"/>
                    </a:lnTo>
                    <a:lnTo>
                      <a:pt x="268" y="38"/>
                    </a:lnTo>
                    <a:lnTo>
                      <a:pt x="256" y="12"/>
                    </a:lnTo>
                    <a:lnTo>
                      <a:pt x="245" y="8"/>
                    </a:lnTo>
                    <a:lnTo>
                      <a:pt x="238" y="17"/>
                    </a:lnTo>
                    <a:lnTo>
                      <a:pt x="223" y="0"/>
                    </a:lnTo>
                    <a:lnTo>
                      <a:pt x="212" y="12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44" name="Freeform 232"/>
              <p:cNvSpPr>
                <a:spLocks/>
              </p:cNvSpPr>
              <p:nvPr>
                <p:custDataLst>
                  <p:tags r:id="rId169"/>
                </p:custDataLst>
              </p:nvPr>
            </p:nvSpPr>
            <p:spPr bwMode="auto">
              <a:xfrm>
                <a:off x="2946" y="1841"/>
                <a:ext cx="82" cy="38"/>
              </a:xfrm>
              <a:custGeom>
                <a:avLst/>
                <a:gdLst>
                  <a:gd name="T0" fmla="*/ 494 w 553"/>
                  <a:gd name="T1" fmla="*/ 40 h 263"/>
                  <a:gd name="T2" fmla="*/ 456 w 553"/>
                  <a:gd name="T3" fmla="*/ 19 h 263"/>
                  <a:gd name="T4" fmla="*/ 409 w 553"/>
                  <a:gd name="T5" fmla="*/ 21 h 263"/>
                  <a:gd name="T6" fmla="*/ 389 w 553"/>
                  <a:gd name="T7" fmla="*/ 42 h 263"/>
                  <a:gd name="T8" fmla="*/ 348 w 553"/>
                  <a:gd name="T9" fmla="*/ 28 h 263"/>
                  <a:gd name="T10" fmla="*/ 315 w 553"/>
                  <a:gd name="T11" fmla="*/ 38 h 263"/>
                  <a:gd name="T12" fmla="*/ 306 w 553"/>
                  <a:gd name="T13" fmla="*/ 60 h 263"/>
                  <a:gd name="T14" fmla="*/ 279 w 553"/>
                  <a:gd name="T15" fmla="*/ 58 h 263"/>
                  <a:gd name="T16" fmla="*/ 282 w 553"/>
                  <a:gd name="T17" fmla="*/ 38 h 263"/>
                  <a:gd name="T18" fmla="*/ 263 w 553"/>
                  <a:gd name="T19" fmla="*/ 28 h 263"/>
                  <a:gd name="T20" fmla="*/ 251 w 553"/>
                  <a:gd name="T21" fmla="*/ 0 h 263"/>
                  <a:gd name="T22" fmla="*/ 237 w 553"/>
                  <a:gd name="T23" fmla="*/ 8 h 263"/>
                  <a:gd name="T24" fmla="*/ 221 w 553"/>
                  <a:gd name="T25" fmla="*/ 24 h 263"/>
                  <a:gd name="T26" fmla="*/ 200 w 553"/>
                  <a:gd name="T27" fmla="*/ 12 h 263"/>
                  <a:gd name="T28" fmla="*/ 185 w 553"/>
                  <a:gd name="T29" fmla="*/ 8 h 263"/>
                  <a:gd name="T30" fmla="*/ 175 w 553"/>
                  <a:gd name="T31" fmla="*/ 14 h 263"/>
                  <a:gd name="T32" fmla="*/ 163 w 553"/>
                  <a:gd name="T33" fmla="*/ 14 h 263"/>
                  <a:gd name="T34" fmla="*/ 154 w 553"/>
                  <a:gd name="T35" fmla="*/ 21 h 263"/>
                  <a:gd name="T36" fmla="*/ 140 w 553"/>
                  <a:gd name="T37" fmla="*/ 37 h 263"/>
                  <a:gd name="T38" fmla="*/ 130 w 553"/>
                  <a:gd name="T39" fmla="*/ 42 h 263"/>
                  <a:gd name="T40" fmla="*/ 123 w 553"/>
                  <a:gd name="T41" fmla="*/ 49 h 263"/>
                  <a:gd name="T42" fmla="*/ 122 w 553"/>
                  <a:gd name="T43" fmla="*/ 65 h 263"/>
                  <a:gd name="T44" fmla="*/ 115 w 553"/>
                  <a:gd name="T45" fmla="*/ 77 h 263"/>
                  <a:gd name="T46" fmla="*/ 105 w 553"/>
                  <a:gd name="T47" fmla="*/ 84 h 263"/>
                  <a:gd name="T48" fmla="*/ 98 w 553"/>
                  <a:gd name="T49" fmla="*/ 88 h 263"/>
                  <a:gd name="T50" fmla="*/ 93 w 553"/>
                  <a:gd name="T51" fmla="*/ 100 h 263"/>
                  <a:gd name="T52" fmla="*/ 87 w 553"/>
                  <a:gd name="T53" fmla="*/ 102 h 263"/>
                  <a:gd name="T54" fmla="*/ 81 w 553"/>
                  <a:gd name="T55" fmla="*/ 107 h 263"/>
                  <a:gd name="T56" fmla="*/ 69 w 553"/>
                  <a:gd name="T57" fmla="*/ 111 h 263"/>
                  <a:gd name="T58" fmla="*/ 53 w 553"/>
                  <a:gd name="T59" fmla="*/ 111 h 263"/>
                  <a:gd name="T60" fmla="*/ 46 w 553"/>
                  <a:gd name="T61" fmla="*/ 113 h 263"/>
                  <a:gd name="T62" fmla="*/ 34 w 553"/>
                  <a:gd name="T63" fmla="*/ 109 h 263"/>
                  <a:gd name="T64" fmla="*/ 17 w 553"/>
                  <a:gd name="T65" fmla="*/ 111 h 263"/>
                  <a:gd name="T66" fmla="*/ 5 w 553"/>
                  <a:gd name="T67" fmla="*/ 127 h 263"/>
                  <a:gd name="T68" fmla="*/ 1 w 553"/>
                  <a:gd name="T69" fmla="*/ 146 h 263"/>
                  <a:gd name="T70" fmla="*/ 0 w 553"/>
                  <a:gd name="T71" fmla="*/ 190 h 263"/>
                  <a:gd name="T72" fmla="*/ 40 w 553"/>
                  <a:gd name="T73" fmla="*/ 245 h 263"/>
                  <a:gd name="T74" fmla="*/ 68 w 553"/>
                  <a:gd name="T75" fmla="*/ 247 h 263"/>
                  <a:gd name="T76" fmla="*/ 187 w 553"/>
                  <a:gd name="T77" fmla="*/ 263 h 263"/>
                  <a:gd name="T78" fmla="*/ 212 w 553"/>
                  <a:gd name="T79" fmla="*/ 224 h 263"/>
                  <a:gd name="T80" fmla="*/ 294 w 553"/>
                  <a:gd name="T81" fmla="*/ 217 h 263"/>
                  <a:gd name="T82" fmla="*/ 359 w 553"/>
                  <a:gd name="T83" fmla="*/ 160 h 263"/>
                  <a:gd name="T84" fmla="*/ 459 w 553"/>
                  <a:gd name="T85" fmla="*/ 180 h 263"/>
                  <a:gd name="T86" fmla="*/ 507 w 553"/>
                  <a:gd name="T87" fmla="*/ 183 h 263"/>
                  <a:gd name="T88" fmla="*/ 517 w 553"/>
                  <a:gd name="T89" fmla="*/ 61 h 263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553"/>
                  <a:gd name="T136" fmla="*/ 0 h 263"/>
                  <a:gd name="T137" fmla="*/ 553 w 553"/>
                  <a:gd name="T138" fmla="*/ 263 h 263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553" h="263">
                    <a:moveTo>
                      <a:pt x="498" y="54"/>
                    </a:moveTo>
                    <a:lnTo>
                      <a:pt x="494" y="40"/>
                    </a:lnTo>
                    <a:lnTo>
                      <a:pt x="462" y="28"/>
                    </a:lnTo>
                    <a:lnTo>
                      <a:pt x="456" y="19"/>
                    </a:lnTo>
                    <a:lnTo>
                      <a:pt x="431" y="24"/>
                    </a:lnTo>
                    <a:lnTo>
                      <a:pt x="409" y="21"/>
                    </a:lnTo>
                    <a:lnTo>
                      <a:pt x="406" y="31"/>
                    </a:lnTo>
                    <a:lnTo>
                      <a:pt x="389" y="42"/>
                    </a:lnTo>
                    <a:lnTo>
                      <a:pt x="369" y="26"/>
                    </a:lnTo>
                    <a:lnTo>
                      <a:pt x="348" y="28"/>
                    </a:lnTo>
                    <a:lnTo>
                      <a:pt x="340" y="24"/>
                    </a:lnTo>
                    <a:lnTo>
                      <a:pt x="315" y="38"/>
                    </a:lnTo>
                    <a:lnTo>
                      <a:pt x="311" y="51"/>
                    </a:lnTo>
                    <a:lnTo>
                      <a:pt x="306" y="60"/>
                    </a:lnTo>
                    <a:lnTo>
                      <a:pt x="296" y="53"/>
                    </a:lnTo>
                    <a:lnTo>
                      <a:pt x="279" y="58"/>
                    </a:lnTo>
                    <a:lnTo>
                      <a:pt x="279" y="44"/>
                    </a:lnTo>
                    <a:lnTo>
                      <a:pt x="282" y="38"/>
                    </a:lnTo>
                    <a:lnTo>
                      <a:pt x="278" y="26"/>
                    </a:lnTo>
                    <a:lnTo>
                      <a:pt x="263" y="28"/>
                    </a:lnTo>
                    <a:lnTo>
                      <a:pt x="261" y="15"/>
                    </a:lnTo>
                    <a:lnTo>
                      <a:pt x="251" y="0"/>
                    </a:lnTo>
                    <a:lnTo>
                      <a:pt x="240" y="1"/>
                    </a:lnTo>
                    <a:lnTo>
                      <a:pt x="237" y="8"/>
                    </a:lnTo>
                    <a:lnTo>
                      <a:pt x="228" y="8"/>
                    </a:lnTo>
                    <a:lnTo>
                      <a:pt x="221" y="24"/>
                    </a:lnTo>
                    <a:lnTo>
                      <a:pt x="201" y="28"/>
                    </a:lnTo>
                    <a:lnTo>
                      <a:pt x="200" y="12"/>
                    </a:lnTo>
                    <a:lnTo>
                      <a:pt x="188" y="8"/>
                    </a:lnTo>
                    <a:lnTo>
                      <a:pt x="185" y="8"/>
                    </a:lnTo>
                    <a:lnTo>
                      <a:pt x="179" y="15"/>
                    </a:lnTo>
                    <a:lnTo>
                      <a:pt x="175" y="14"/>
                    </a:lnTo>
                    <a:lnTo>
                      <a:pt x="167" y="12"/>
                    </a:lnTo>
                    <a:lnTo>
                      <a:pt x="163" y="14"/>
                    </a:lnTo>
                    <a:lnTo>
                      <a:pt x="160" y="15"/>
                    </a:lnTo>
                    <a:lnTo>
                      <a:pt x="154" y="21"/>
                    </a:lnTo>
                    <a:lnTo>
                      <a:pt x="147" y="33"/>
                    </a:lnTo>
                    <a:lnTo>
                      <a:pt x="140" y="37"/>
                    </a:lnTo>
                    <a:lnTo>
                      <a:pt x="135" y="42"/>
                    </a:lnTo>
                    <a:lnTo>
                      <a:pt x="130" y="42"/>
                    </a:lnTo>
                    <a:lnTo>
                      <a:pt x="126" y="44"/>
                    </a:lnTo>
                    <a:lnTo>
                      <a:pt x="123" y="49"/>
                    </a:lnTo>
                    <a:lnTo>
                      <a:pt x="122" y="56"/>
                    </a:lnTo>
                    <a:lnTo>
                      <a:pt x="122" y="65"/>
                    </a:lnTo>
                    <a:lnTo>
                      <a:pt x="118" y="70"/>
                    </a:lnTo>
                    <a:lnTo>
                      <a:pt x="115" y="77"/>
                    </a:lnTo>
                    <a:lnTo>
                      <a:pt x="110" y="81"/>
                    </a:lnTo>
                    <a:lnTo>
                      <a:pt x="105" y="84"/>
                    </a:lnTo>
                    <a:lnTo>
                      <a:pt x="100" y="83"/>
                    </a:lnTo>
                    <a:lnTo>
                      <a:pt x="98" y="88"/>
                    </a:lnTo>
                    <a:lnTo>
                      <a:pt x="96" y="95"/>
                    </a:lnTo>
                    <a:lnTo>
                      <a:pt x="93" y="100"/>
                    </a:lnTo>
                    <a:lnTo>
                      <a:pt x="91" y="100"/>
                    </a:lnTo>
                    <a:lnTo>
                      <a:pt x="87" y="102"/>
                    </a:lnTo>
                    <a:lnTo>
                      <a:pt x="84" y="104"/>
                    </a:lnTo>
                    <a:lnTo>
                      <a:pt x="81" y="107"/>
                    </a:lnTo>
                    <a:lnTo>
                      <a:pt x="75" y="111"/>
                    </a:lnTo>
                    <a:lnTo>
                      <a:pt x="69" y="111"/>
                    </a:lnTo>
                    <a:lnTo>
                      <a:pt x="59" y="114"/>
                    </a:lnTo>
                    <a:lnTo>
                      <a:pt x="53" y="111"/>
                    </a:lnTo>
                    <a:lnTo>
                      <a:pt x="49" y="111"/>
                    </a:lnTo>
                    <a:lnTo>
                      <a:pt x="46" y="113"/>
                    </a:lnTo>
                    <a:lnTo>
                      <a:pt x="40" y="113"/>
                    </a:lnTo>
                    <a:lnTo>
                      <a:pt x="34" y="109"/>
                    </a:lnTo>
                    <a:lnTo>
                      <a:pt x="29" y="106"/>
                    </a:lnTo>
                    <a:lnTo>
                      <a:pt x="17" y="111"/>
                    </a:lnTo>
                    <a:lnTo>
                      <a:pt x="16" y="114"/>
                    </a:lnTo>
                    <a:lnTo>
                      <a:pt x="5" y="127"/>
                    </a:lnTo>
                    <a:lnTo>
                      <a:pt x="5" y="136"/>
                    </a:lnTo>
                    <a:lnTo>
                      <a:pt x="1" y="146"/>
                    </a:lnTo>
                    <a:lnTo>
                      <a:pt x="3" y="151"/>
                    </a:lnTo>
                    <a:lnTo>
                      <a:pt x="0" y="190"/>
                    </a:lnTo>
                    <a:lnTo>
                      <a:pt x="5" y="208"/>
                    </a:lnTo>
                    <a:lnTo>
                      <a:pt x="40" y="245"/>
                    </a:lnTo>
                    <a:lnTo>
                      <a:pt x="50" y="234"/>
                    </a:lnTo>
                    <a:lnTo>
                      <a:pt x="68" y="247"/>
                    </a:lnTo>
                    <a:lnTo>
                      <a:pt x="94" y="257"/>
                    </a:lnTo>
                    <a:lnTo>
                      <a:pt x="187" y="263"/>
                    </a:lnTo>
                    <a:lnTo>
                      <a:pt x="201" y="224"/>
                    </a:lnTo>
                    <a:lnTo>
                      <a:pt x="212" y="224"/>
                    </a:lnTo>
                    <a:lnTo>
                      <a:pt x="267" y="211"/>
                    </a:lnTo>
                    <a:lnTo>
                      <a:pt x="294" y="217"/>
                    </a:lnTo>
                    <a:lnTo>
                      <a:pt x="312" y="211"/>
                    </a:lnTo>
                    <a:lnTo>
                      <a:pt x="359" y="160"/>
                    </a:lnTo>
                    <a:lnTo>
                      <a:pt x="437" y="155"/>
                    </a:lnTo>
                    <a:lnTo>
                      <a:pt x="459" y="180"/>
                    </a:lnTo>
                    <a:lnTo>
                      <a:pt x="479" y="188"/>
                    </a:lnTo>
                    <a:lnTo>
                      <a:pt x="507" y="183"/>
                    </a:lnTo>
                    <a:lnTo>
                      <a:pt x="553" y="84"/>
                    </a:lnTo>
                    <a:lnTo>
                      <a:pt x="517" y="61"/>
                    </a:lnTo>
                    <a:lnTo>
                      <a:pt x="498" y="54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45" name="Freeform 233"/>
              <p:cNvSpPr>
                <a:spLocks/>
              </p:cNvSpPr>
              <p:nvPr>
                <p:custDataLst>
                  <p:tags r:id="rId170"/>
                </p:custDataLst>
              </p:nvPr>
            </p:nvSpPr>
            <p:spPr bwMode="auto">
              <a:xfrm>
                <a:off x="2937" y="1863"/>
                <a:ext cx="99" cy="64"/>
              </a:xfrm>
              <a:custGeom>
                <a:avLst/>
                <a:gdLst>
                  <a:gd name="T0" fmla="*/ 502 w 663"/>
                  <a:gd name="T1" fmla="*/ 0 h 419"/>
                  <a:gd name="T2" fmla="*/ 424 w 663"/>
                  <a:gd name="T3" fmla="*/ 5 h 419"/>
                  <a:gd name="T4" fmla="*/ 377 w 663"/>
                  <a:gd name="T5" fmla="*/ 56 h 419"/>
                  <a:gd name="T6" fmla="*/ 359 w 663"/>
                  <a:gd name="T7" fmla="*/ 62 h 419"/>
                  <a:gd name="T8" fmla="*/ 332 w 663"/>
                  <a:gd name="T9" fmla="*/ 56 h 419"/>
                  <a:gd name="T10" fmla="*/ 277 w 663"/>
                  <a:gd name="T11" fmla="*/ 69 h 419"/>
                  <a:gd name="T12" fmla="*/ 266 w 663"/>
                  <a:gd name="T13" fmla="*/ 69 h 419"/>
                  <a:gd name="T14" fmla="*/ 252 w 663"/>
                  <a:gd name="T15" fmla="*/ 108 h 419"/>
                  <a:gd name="T16" fmla="*/ 159 w 663"/>
                  <a:gd name="T17" fmla="*/ 102 h 419"/>
                  <a:gd name="T18" fmla="*/ 133 w 663"/>
                  <a:gd name="T19" fmla="*/ 92 h 419"/>
                  <a:gd name="T20" fmla="*/ 115 w 663"/>
                  <a:gd name="T21" fmla="*/ 79 h 419"/>
                  <a:gd name="T22" fmla="*/ 105 w 663"/>
                  <a:gd name="T23" fmla="*/ 90 h 419"/>
                  <a:gd name="T24" fmla="*/ 77 w 663"/>
                  <a:gd name="T25" fmla="*/ 109 h 419"/>
                  <a:gd name="T26" fmla="*/ 75 w 663"/>
                  <a:gd name="T27" fmla="*/ 134 h 419"/>
                  <a:gd name="T28" fmla="*/ 44 w 663"/>
                  <a:gd name="T29" fmla="*/ 138 h 419"/>
                  <a:gd name="T30" fmla="*/ 38 w 663"/>
                  <a:gd name="T31" fmla="*/ 129 h 419"/>
                  <a:gd name="T32" fmla="*/ 23 w 663"/>
                  <a:gd name="T33" fmla="*/ 129 h 419"/>
                  <a:gd name="T34" fmla="*/ 13 w 663"/>
                  <a:gd name="T35" fmla="*/ 141 h 419"/>
                  <a:gd name="T36" fmla="*/ 33 w 663"/>
                  <a:gd name="T37" fmla="*/ 146 h 419"/>
                  <a:gd name="T38" fmla="*/ 40 w 663"/>
                  <a:gd name="T39" fmla="*/ 159 h 419"/>
                  <a:gd name="T40" fmla="*/ 32 w 663"/>
                  <a:gd name="T41" fmla="*/ 173 h 419"/>
                  <a:gd name="T42" fmla="*/ 15 w 663"/>
                  <a:gd name="T43" fmla="*/ 176 h 419"/>
                  <a:gd name="T44" fmla="*/ 13 w 663"/>
                  <a:gd name="T45" fmla="*/ 201 h 419"/>
                  <a:gd name="T46" fmla="*/ 21 w 663"/>
                  <a:gd name="T47" fmla="*/ 214 h 419"/>
                  <a:gd name="T48" fmla="*/ 15 w 663"/>
                  <a:gd name="T49" fmla="*/ 235 h 419"/>
                  <a:gd name="T50" fmla="*/ 0 w 663"/>
                  <a:gd name="T51" fmla="*/ 254 h 419"/>
                  <a:gd name="T52" fmla="*/ 13 w 663"/>
                  <a:gd name="T53" fmla="*/ 293 h 419"/>
                  <a:gd name="T54" fmla="*/ 38 w 663"/>
                  <a:gd name="T55" fmla="*/ 328 h 419"/>
                  <a:gd name="T56" fmla="*/ 101 w 663"/>
                  <a:gd name="T57" fmla="*/ 370 h 419"/>
                  <a:gd name="T58" fmla="*/ 149 w 663"/>
                  <a:gd name="T59" fmla="*/ 412 h 419"/>
                  <a:gd name="T60" fmla="*/ 176 w 663"/>
                  <a:gd name="T61" fmla="*/ 419 h 419"/>
                  <a:gd name="T62" fmla="*/ 224 w 663"/>
                  <a:gd name="T63" fmla="*/ 414 h 419"/>
                  <a:gd name="T64" fmla="*/ 318 w 663"/>
                  <a:gd name="T65" fmla="*/ 366 h 419"/>
                  <a:gd name="T66" fmla="*/ 356 w 663"/>
                  <a:gd name="T67" fmla="*/ 361 h 419"/>
                  <a:gd name="T68" fmla="*/ 397 w 663"/>
                  <a:gd name="T69" fmla="*/ 366 h 419"/>
                  <a:gd name="T70" fmla="*/ 404 w 663"/>
                  <a:gd name="T71" fmla="*/ 366 h 419"/>
                  <a:gd name="T72" fmla="*/ 416 w 663"/>
                  <a:gd name="T73" fmla="*/ 359 h 419"/>
                  <a:gd name="T74" fmla="*/ 449 w 663"/>
                  <a:gd name="T75" fmla="*/ 356 h 419"/>
                  <a:gd name="T76" fmla="*/ 465 w 663"/>
                  <a:gd name="T77" fmla="*/ 344 h 419"/>
                  <a:gd name="T78" fmla="*/ 498 w 663"/>
                  <a:gd name="T79" fmla="*/ 307 h 419"/>
                  <a:gd name="T80" fmla="*/ 568 w 663"/>
                  <a:gd name="T81" fmla="*/ 155 h 419"/>
                  <a:gd name="T82" fmla="*/ 594 w 663"/>
                  <a:gd name="T83" fmla="*/ 127 h 419"/>
                  <a:gd name="T84" fmla="*/ 643 w 663"/>
                  <a:gd name="T85" fmla="*/ 109 h 419"/>
                  <a:gd name="T86" fmla="*/ 663 w 663"/>
                  <a:gd name="T87" fmla="*/ 86 h 419"/>
                  <a:gd name="T88" fmla="*/ 633 w 663"/>
                  <a:gd name="T89" fmla="*/ 62 h 419"/>
                  <a:gd name="T90" fmla="*/ 579 w 663"/>
                  <a:gd name="T91" fmla="*/ 28 h 419"/>
                  <a:gd name="T92" fmla="*/ 572 w 663"/>
                  <a:gd name="T93" fmla="*/ 28 h 419"/>
                  <a:gd name="T94" fmla="*/ 544 w 663"/>
                  <a:gd name="T95" fmla="*/ 33 h 419"/>
                  <a:gd name="T96" fmla="*/ 524 w 663"/>
                  <a:gd name="T97" fmla="*/ 25 h 419"/>
                  <a:gd name="T98" fmla="*/ 502 w 663"/>
                  <a:gd name="T99" fmla="*/ 0 h 419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663"/>
                  <a:gd name="T151" fmla="*/ 0 h 419"/>
                  <a:gd name="T152" fmla="*/ 663 w 663"/>
                  <a:gd name="T153" fmla="*/ 419 h 419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663" h="419">
                    <a:moveTo>
                      <a:pt x="502" y="0"/>
                    </a:moveTo>
                    <a:lnTo>
                      <a:pt x="424" y="5"/>
                    </a:lnTo>
                    <a:lnTo>
                      <a:pt x="377" y="56"/>
                    </a:lnTo>
                    <a:lnTo>
                      <a:pt x="359" y="62"/>
                    </a:lnTo>
                    <a:lnTo>
                      <a:pt x="332" y="56"/>
                    </a:lnTo>
                    <a:lnTo>
                      <a:pt x="277" y="69"/>
                    </a:lnTo>
                    <a:lnTo>
                      <a:pt x="266" y="69"/>
                    </a:lnTo>
                    <a:lnTo>
                      <a:pt x="252" y="108"/>
                    </a:lnTo>
                    <a:lnTo>
                      <a:pt x="159" y="102"/>
                    </a:lnTo>
                    <a:lnTo>
                      <a:pt x="133" y="92"/>
                    </a:lnTo>
                    <a:lnTo>
                      <a:pt x="115" y="79"/>
                    </a:lnTo>
                    <a:lnTo>
                      <a:pt x="105" y="90"/>
                    </a:lnTo>
                    <a:lnTo>
                      <a:pt x="77" y="109"/>
                    </a:lnTo>
                    <a:lnTo>
                      <a:pt x="75" y="134"/>
                    </a:lnTo>
                    <a:lnTo>
                      <a:pt x="44" y="138"/>
                    </a:lnTo>
                    <a:lnTo>
                      <a:pt x="38" y="129"/>
                    </a:lnTo>
                    <a:lnTo>
                      <a:pt x="23" y="129"/>
                    </a:lnTo>
                    <a:lnTo>
                      <a:pt x="13" y="141"/>
                    </a:lnTo>
                    <a:lnTo>
                      <a:pt x="33" y="146"/>
                    </a:lnTo>
                    <a:lnTo>
                      <a:pt x="40" y="159"/>
                    </a:lnTo>
                    <a:lnTo>
                      <a:pt x="32" y="173"/>
                    </a:lnTo>
                    <a:lnTo>
                      <a:pt x="15" y="176"/>
                    </a:lnTo>
                    <a:lnTo>
                      <a:pt x="13" y="201"/>
                    </a:lnTo>
                    <a:lnTo>
                      <a:pt x="21" y="214"/>
                    </a:lnTo>
                    <a:lnTo>
                      <a:pt x="15" y="235"/>
                    </a:lnTo>
                    <a:lnTo>
                      <a:pt x="0" y="254"/>
                    </a:lnTo>
                    <a:lnTo>
                      <a:pt x="13" y="293"/>
                    </a:lnTo>
                    <a:lnTo>
                      <a:pt x="38" y="328"/>
                    </a:lnTo>
                    <a:lnTo>
                      <a:pt x="101" y="370"/>
                    </a:lnTo>
                    <a:lnTo>
                      <a:pt x="149" y="412"/>
                    </a:lnTo>
                    <a:lnTo>
                      <a:pt x="176" y="419"/>
                    </a:lnTo>
                    <a:lnTo>
                      <a:pt x="224" y="414"/>
                    </a:lnTo>
                    <a:lnTo>
                      <a:pt x="318" y="366"/>
                    </a:lnTo>
                    <a:lnTo>
                      <a:pt x="356" y="361"/>
                    </a:lnTo>
                    <a:lnTo>
                      <a:pt x="397" y="366"/>
                    </a:lnTo>
                    <a:lnTo>
                      <a:pt x="404" y="366"/>
                    </a:lnTo>
                    <a:lnTo>
                      <a:pt x="416" y="359"/>
                    </a:lnTo>
                    <a:lnTo>
                      <a:pt x="449" y="356"/>
                    </a:lnTo>
                    <a:lnTo>
                      <a:pt x="465" y="344"/>
                    </a:lnTo>
                    <a:lnTo>
                      <a:pt x="498" y="307"/>
                    </a:lnTo>
                    <a:lnTo>
                      <a:pt x="568" y="155"/>
                    </a:lnTo>
                    <a:lnTo>
                      <a:pt x="594" y="127"/>
                    </a:lnTo>
                    <a:lnTo>
                      <a:pt x="643" y="109"/>
                    </a:lnTo>
                    <a:lnTo>
                      <a:pt x="663" y="86"/>
                    </a:lnTo>
                    <a:lnTo>
                      <a:pt x="633" y="62"/>
                    </a:lnTo>
                    <a:lnTo>
                      <a:pt x="579" y="28"/>
                    </a:lnTo>
                    <a:lnTo>
                      <a:pt x="572" y="28"/>
                    </a:lnTo>
                    <a:lnTo>
                      <a:pt x="544" y="33"/>
                    </a:lnTo>
                    <a:lnTo>
                      <a:pt x="524" y="25"/>
                    </a:lnTo>
                    <a:lnTo>
                      <a:pt x="502" y="0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46" name="Freeform 234"/>
              <p:cNvSpPr>
                <a:spLocks/>
              </p:cNvSpPr>
              <p:nvPr>
                <p:custDataLst>
                  <p:tags r:id="rId171"/>
                </p:custDataLst>
              </p:nvPr>
            </p:nvSpPr>
            <p:spPr bwMode="auto">
              <a:xfrm>
                <a:off x="2937" y="1863"/>
                <a:ext cx="99" cy="64"/>
              </a:xfrm>
              <a:custGeom>
                <a:avLst/>
                <a:gdLst>
                  <a:gd name="T0" fmla="*/ 424 w 663"/>
                  <a:gd name="T1" fmla="*/ 5 h 419"/>
                  <a:gd name="T2" fmla="*/ 377 w 663"/>
                  <a:gd name="T3" fmla="*/ 56 h 419"/>
                  <a:gd name="T4" fmla="*/ 359 w 663"/>
                  <a:gd name="T5" fmla="*/ 62 h 419"/>
                  <a:gd name="T6" fmla="*/ 332 w 663"/>
                  <a:gd name="T7" fmla="*/ 56 h 419"/>
                  <a:gd name="T8" fmla="*/ 277 w 663"/>
                  <a:gd name="T9" fmla="*/ 69 h 419"/>
                  <a:gd name="T10" fmla="*/ 266 w 663"/>
                  <a:gd name="T11" fmla="*/ 69 h 419"/>
                  <a:gd name="T12" fmla="*/ 252 w 663"/>
                  <a:gd name="T13" fmla="*/ 108 h 419"/>
                  <a:gd name="T14" fmla="*/ 159 w 663"/>
                  <a:gd name="T15" fmla="*/ 102 h 419"/>
                  <a:gd name="T16" fmla="*/ 133 w 663"/>
                  <a:gd name="T17" fmla="*/ 92 h 419"/>
                  <a:gd name="T18" fmla="*/ 115 w 663"/>
                  <a:gd name="T19" fmla="*/ 79 h 419"/>
                  <a:gd name="T20" fmla="*/ 105 w 663"/>
                  <a:gd name="T21" fmla="*/ 90 h 419"/>
                  <a:gd name="T22" fmla="*/ 77 w 663"/>
                  <a:gd name="T23" fmla="*/ 109 h 419"/>
                  <a:gd name="T24" fmla="*/ 75 w 663"/>
                  <a:gd name="T25" fmla="*/ 134 h 419"/>
                  <a:gd name="T26" fmla="*/ 44 w 663"/>
                  <a:gd name="T27" fmla="*/ 138 h 419"/>
                  <a:gd name="T28" fmla="*/ 38 w 663"/>
                  <a:gd name="T29" fmla="*/ 129 h 419"/>
                  <a:gd name="T30" fmla="*/ 23 w 663"/>
                  <a:gd name="T31" fmla="*/ 129 h 419"/>
                  <a:gd name="T32" fmla="*/ 13 w 663"/>
                  <a:gd name="T33" fmla="*/ 141 h 419"/>
                  <a:gd name="T34" fmla="*/ 33 w 663"/>
                  <a:gd name="T35" fmla="*/ 146 h 419"/>
                  <a:gd name="T36" fmla="*/ 40 w 663"/>
                  <a:gd name="T37" fmla="*/ 159 h 419"/>
                  <a:gd name="T38" fmla="*/ 32 w 663"/>
                  <a:gd name="T39" fmla="*/ 173 h 419"/>
                  <a:gd name="T40" fmla="*/ 15 w 663"/>
                  <a:gd name="T41" fmla="*/ 176 h 419"/>
                  <a:gd name="T42" fmla="*/ 13 w 663"/>
                  <a:gd name="T43" fmla="*/ 201 h 419"/>
                  <a:gd name="T44" fmla="*/ 21 w 663"/>
                  <a:gd name="T45" fmla="*/ 214 h 419"/>
                  <a:gd name="T46" fmla="*/ 15 w 663"/>
                  <a:gd name="T47" fmla="*/ 235 h 419"/>
                  <a:gd name="T48" fmla="*/ 0 w 663"/>
                  <a:gd name="T49" fmla="*/ 254 h 419"/>
                  <a:gd name="T50" fmla="*/ 13 w 663"/>
                  <a:gd name="T51" fmla="*/ 293 h 419"/>
                  <a:gd name="T52" fmla="*/ 38 w 663"/>
                  <a:gd name="T53" fmla="*/ 328 h 419"/>
                  <a:gd name="T54" fmla="*/ 101 w 663"/>
                  <a:gd name="T55" fmla="*/ 370 h 419"/>
                  <a:gd name="T56" fmla="*/ 149 w 663"/>
                  <a:gd name="T57" fmla="*/ 412 h 419"/>
                  <a:gd name="T58" fmla="*/ 176 w 663"/>
                  <a:gd name="T59" fmla="*/ 419 h 419"/>
                  <a:gd name="T60" fmla="*/ 224 w 663"/>
                  <a:gd name="T61" fmla="*/ 414 h 419"/>
                  <a:gd name="T62" fmla="*/ 318 w 663"/>
                  <a:gd name="T63" fmla="*/ 366 h 419"/>
                  <a:gd name="T64" fmla="*/ 356 w 663"/>
                  <a:gd name="T65" fmla="*/ 361 h 419"/>
                  <a:gd name="T66" fmla="*/ 397 w 663"/>
                  <a:gd name="T67" fmla="*/ 366 h 419"/>
                  <a:gd name="T68" fmla="*/ 404 w 663"/>
                  <a:gd name="T69" fmla="*/ 366 h 419"/>
                  <a:gd name="T70" fmla="*/ 416 w 663"/>
                  <a:gd name="T71" fmla="*/ 359 h 419"/>
                  <a:gd name="T72" fmla="*/ 449 w 663"/>
                  <a:gd name="T73" fmla="*/ 356 h 419"/>
                  <a:gd name="T74" fmla="*/ 465 w 663"/>
                  <a:gd name="T75" fmla="*/ 344 h 419"/>
                  <a:gd name="T76" fmla="*/ 498 w 663"/>
                  <a:gd name="T77" fmla="*/ 307 h 419"/>
                  <a:gd name="T78" fmla="*/ 568 w 663"/>
                  <a:gd name="T79" fmla="*/ 155 h 419"/>
                  <a:gd name="T80" fmla="*/ 594 w 663"/>
                  <a:gd name="T81" fmla="*/ 127 h 419"/>
                  <a:gd name="T82" fmla="*/ 643 w 663"/>
                  <a:gd name="T83" fmla="*/ 109 h 419"/>
                  <a:gd name="T84" fmla="*/ 663 w 663"/>
                  <a:gd name="T85" fmla="*/ 86 h 419"/>
                  <a:gd name="T86" fmla="*/ 633 w 663"/>
                  <a:gd name="T87" fmla="*/ 62 h 419"/>
                  <a:gd name="T88" fmla="*/ 579 w 663"/>
                  <a:gd name="T89" fmla="*/ 28 h 419"/>
                  <a:gd name="T90" fmla="*/ 572 w 663"/>
                  <a:gd name="T91" fmla="*/ 28 h 419"/>
                  <a:gd name="T92" fmla="*/ 544 w 663"/>
                  <a:gd name="T93" fmla="*/ 33 h 419"/>
                  <a:gd name="T94" fmla="*/ 524 w 663"/>
                  <a:gd name="T95" fmla="*/ 25 h 419"/>
                  <a:gd name="T96" fmla="*/ 502 w 663"/>
                  <a:gd name="T97" fmla="*/ 0 h 419"/>
                  <a:gd name="T98" fmla="*/ 424 w 663"/>
                  <a:gd name="T99" fmla="*/ 5 h 419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663"/>
                  <a:gd name="T151" fmla="*/ 0 h 419"/>
                  <a:gd name="T152" fmla="*/ 663 w 663"/>
                  <a:gd name="T153" fmla="*/ 419 h 419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663" h="419">
                    <a:moveTo>
                      <a:pt x="424" y="5"/>
                    </a:moveTo>
                    <a:lnTo>
                      <a:pt x="377" y="56"/>
                    </a:lnTo>
                    <a:lnTo>
                      <a:pt x="359" y="62"/>
                    </a:lnTo>
                    <a:lnTo>
                      <a:pt x="332" y="56"/>
                    </a:lnTo>
                    <a:lnTo>
                      <a:pt x="277" y="69"/>
                    </a:lnTo>
                    <a:lnTo>
                      <a:pt x="266" y="69"/>
                    </a:lnTo>
                    <a:lnTo>
                      <a:pt x="252" y="108"/>
                    </a:lnTo>
                    <a:lnTo>
                      <a:pt x="159" y="102"/>
                    </a:lnTo>
                    <a:lnTo>
                      <a:pt x="133" y="92"/>
                    </a:lnTo>
                    <a:lnTo>
                      <a:pt x="115" y="79"/>
                    </a:lnTo>
                    <a:lnTo>
                      <a:pt x="105" y="90"/>
                    </a:lnTo>
                    <a:lnTo>
                      <a:pt x="77" y="109"/>
                    </a:lnTo>
                    <a:lnTo>
                      <a:pt x="75" y="134"/>
                    </a:lnTo>
                    <a:lnTo>
                      <a:pt x="44" y="138"/>
                    </a:lnTo>
                    <a:lnTo>
                      <a:pt x="38" y="129"/>
                    </a:lnTo>
                    <a:lnTo>
                      <a:pt x="23" y="129"/>
                    </a:lnTo>
                    <a:lnTo>
                      <a:pt x="13" y="141"/>
                    </a:lnTo>
                    <a:lnTo>
                      <a:pt x="33" y="146"/>
                    </a:lnTo>
                    <a:lnTo>
                      <a:pt x="40" y="159"/>
                    </a:lnTo>
                    <a:lnTo>
                      <a:pt x="32" y="173"/>
                    </a:lnTo>
                    <a:lnTo>
                      <a:pt x="15" y="176"/>
                    </a:lnTo>
                    <a:lnTo>
                      <a:pt x="13" y="201"/>
                    </a:lnTo>
                    <a:lnTo>
                      <a:pt x="21" y="214"/>
                    </a:lnTo>
                    <a:lnTo>
                      <a:pt x="15" y="235"/>
                    </a:lnTo>
                    <a:lnTo>
                      <a:pt x="0" y="254"/>
                    </a:lnTo>
                    <a:lnTo>
                      <a:pt x="13" y="293"/>
                    </a:lnTo>
                    <a:lnTo>
                      <a:pt x="38" y="328"/>
                    </a:lnTo>
                    <a:lnTo>
                      <a:pt x="101" y="370"/>
                    </a:lnTo>
                    <a:lnTo>
                      <a:pt x="149" y="412"/>
                    </a:lnTo>
                    <a:lnTo>
                      <a:pt x="176" y="419"/>
                    </a:lnTo>
                    <a:lnTo>
                      <a:pt x="224" y="414"/>
                    </a:lnTo>
                    <a:lnTo>
                      <a:pt x="318" y="366"/>
                    </a:lnTo>
                    <a:lnTo>
                      <a:pt x="356" y="361"/>
                    </a:lnTo>
                    <a:lnTo>
                      <a:pt x="397" y="366"/>
                    </a:lnTo>
                    <a:lnTo>
                      <a:pt x="404" y="366"/>
                    </a:lnTo>
                    <a:lnTo>
                      <a:pt x="416" y="359"/>
                    </a:lnTo>
                    <a:lnTo>
                      <a:pt x="449" y="356"/>
                    </a:lnTo>
                    <a:lnTo>
                      <a:pt x="465" y="344"/>
                    </a:lnTo>
                    <a:lnTo>
                      <a:pt x="498" y="307"/>
                    </a:lnTo>
                    <a:lnTo>
                      <a:pt x="568" y="155"/>
                    </a:lnTo>
                    <a:lnTo>
                      <a:pt x="594" y="127"/>
                    </a:lnTo>
                    <a:lnTo>
                      <a:pt x="643" y="109"/>
                    </a:lnTo>
                    <a:lnTo>
                      <a:pt x="663" y="86"/>
                    </a:lnTo>
                    <a:lnTo>
                      <a:pt x="633" y="62"/>
                    </a:lnTo>
                    <a:lnTo>
                      <a:pt x="579" y="28"/>
                    </a:lnTo>
                    <a:lnTo>
                      <a:pt x="572" y="28"/>
                    </a:lnTo>
                    <a:lnTo>
                      <a:pt x="544" y="33"/>
                    </a:lnTo>
                    <a:lnTo>
                      <a:pt x="524" y="25"/>
                    </a:lnTo>
                    <a:lnTo>
                      <a:pt x="502" y="0"/>
                    </a:lnTo>
                    <a:lnTo>
                      <a:pt x="424" y="5"/>
                    </a:lnTo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47" name="Freeform 235"/>
              <p:cNvSpPr>
                <a:spLocks/>
              </p:cNvSpPr>
              <p:nvPr>
                <p:custDataLst>
                  <p:tags r:id="rId172"/>
                </p:custDataLst>
              </p:nvPr>
            </p:nvSpPr>
            <p:spPr bwMode="auto">
              <a:xfrm>
                <a:off x="3088" y="1866"/>
                <a:ext cx="52" cy="66"/>
              </a:xfrm>
              <a:custGeom>
                <a:avLst/>
                <a:gdLst>
                  <a:gd name="T0" fmla="*/ 307 w 341"/>
                  <a:gd name="T1" fmla="*/ 238 h 442"/>
                  <a:gd name="T2" fmla="*/ 287 w 341"/>
                  <a:gd name="T3" fmla="*/ 224 h 442"/>
                  <a:gd name="T4" fmla="*/ 289 w 341"/>
                  <a:gd name="T5" fmla="*/ 205 h 442"/>
                  <a:gd name="T6" fmla="*/ 286 w 341"/>
                  <a:gd name="T7" fmla="*/ 198 h 442"/>
                  <a:gd name="T8" fmla="*/ 286 w 341"/>
                  <a:gd name="T9" fmla="*/ 168 h 442"/>
                  <a:gd name="T10" fmla="*/ 273 w 341"/>
                  <a:gd name="T11" fmla="*/ 173 h 442"/>
                  <a:gd name="T12" fmla="*/ 256 w 341"/>
                  <a:gd name="T13" fmla="*/ 154 h 442"/>
                  <a:gd name="T14" fmla="*/ 243 w 341"/>
                  <a:gd name="T15" fmla="*/ 134 h 442"/>
                  <a:gd name="T16" fmla="*/ 252 w 341"/>
                  <a:gd name="T17" fmla="*/ 104 h 442"/>
                  <a:gd name="T18" fmla="*/ 256 w 341"/>
                  <a:gd name="T19" fmla="*/ 87 h 442"/>
                  <a:gd name="T20" fmla="*/ 245 w 341"/>
                  <a:gd name="T21" fmla="*/ 73 h 442"/>
                  <a:gd name="T22" fmla="*/ 221 w 341"/>
                  <a:gd name="T23" fmla="*/ 76 h 442"/>
                  <a:gd name="T24" fmla="*/ 194 w 341"/>
                  <a:gd name="T25" fmla="*/ 44 h 442"/>
                  <a:gd name="T26" fmla="*/ 176 w 341"/>
                  <a:gd name="T27" fmla="*/ 57 h 442"/>
                  <a:gd name="T28" fmla="*/ 168 w 341"/>
                  <a:gd name="T29" fmla="*/ 46 h 442"/>
                  <a:gd name="T30" fmla="*/ 171 w 341"/>
                  <a:gd name="T31" fmla="*/ 39 h 442"/>
                  <a:gd name="T32" fmla="*/ 157 w 341"/>
                  <a:gd name="T33" fmla="*/ 37 h 442"/>
                  <a:gd name="T34" fmla="*/ 143 w 341"/>
                  <a:gd name="T35" fmla="*/ 30 h 442"/>
                  <a:gd name="T36" fmla="*/ 125 w 341"/>
                  <a:gd name="T37" fmla="*/ 18 h 442"/>
                  <a:gd name="T38" fmla="*/ 106 w 341"/>
                  <a:gd name="T39" fmla="*/ 2 h 442"/>
                  <a:gd name="T40" fmla="*/ 90 w 341"/>
                  <a:gd name="T41" fmla="*/ 0 h 442"/>
                  <a:gd name="T42" fmla="*/ 60 w 341"/>
                  <a:gd name="T43" fmla="*/ 14 h 442"/>
                  <a:gd name="T44" fmla="*/ 35 w 341"/>
                  <a:gd name="T45" fmla="*/ 16 h 442"/>
                  <a:gd name="T46" fmla="*/ 16 w 341"/>
                  <a:gd name="T47" fmla="*/ 21 h 442"/>
                  <a:gd name="T48" fmla="*/ 2 w 341"/>
                  <a:gd name="T49" fmla="*/ 25 h 442"/>
                  <a:gd name="T50" fmla="*/ 37 w 341"/>
                  <a:gd name="T51" fmla="*/ 41 h 442"/>
                  <a:gd name="T52" fmla="*/ 143 w 341"/>
                  <a:gd name="T53" fmla="*/ 212 h 442"/>
                  <a:gd name="T54" fmla="*/ 143 w 341"/>
                  <a:gd name="T55" fmla="*/ 361 h 442"/>
                  <a:gd name="T56" fmla="*/ 142 w 341"/>
                  <a:gd name="T57" fmla="*/ 420 h 442"/>
                  <a:gd name="T58" fmla="*/ 155 w 341"/>
                  <a:gd name="T59" fmla="*/ 442 h 442"/>
                  <a:gd name="T60" fmla="*/ 167 w 341"/>
                  <a:gd name="T61" fmla="*/ 435 h 442"/>
                  <a:gd name="T62" fmla="*/ 185 w 341"/>
                  <a:gd name="T63" fmla="*/ 430 h 442"/>
                  <a:gd name="T64" fmla="*/ 184 w 341"/>
                  <a:gd name="T65" fmla="*/ 409 h 442"/>
                  <a:gd name="T66" fmla="*/ 194 w 341"/>
                  <a:gd name="T67" fmla="*/ 400 h 442"/>
                  <a:gd name="T68" fmla="*/ 206 w 341"/>
                  <a:gd name="T69" fmla="*/ 388 h 442"/>
                  <a:gd name="T70" fmla="*/ 213 w 341"/>
                  <a:gd name="T71" fmla="*/ 372 h 442"/>
                  <a:gd name="T72" fmla="*/ 228 w 341"/>
                  <a:gd name="T73" fmla="*/ 356 h 442"/>
                  <a:gd name="T74" fmla="*/ 233 w 341"/>
                  <a:gd name="T75" fmla="*/ 338 h 442"/>
                  <a:gd name="T76" fmla="*/ 229 w 341"/>
                  <a:gd name="T77" fmla="*/ 318 h 442"/>
                  <a:gd name="T78" fmla="*/ 241 w 341"/>
                  <a:gd name="T79" fmla="*/ 290 h 442"/>
                  <a:gd name="T80" fmla="*/ 253 w 341"/>
                  <a:gd name="T81" fmla="*/ 291 h 442"/>
                  <a:gd name="T82" fmla="*/ 261 w 341"/>
                  <a:gd name="T83" fmla="*/ 307 h 442"/>
                  <a:gd name="T84" fmla="*/ 264 w 341"/>
                  <a:gd name="T85" fmla="*/ 298 h 442"/>
                  <a:gd name="T86" fmla="*/ 271 w 341"/>
                  <a:gd name="T87" fmla="*/ 295 h 442"/>
                  <a:gd name="T88" fmla="*/ 282 w 341"/>
                  <a:gd name="T89" fmla="*/ 304 h 442"/>
                  <a:gd name="T90" fmla="*/ 297 w 341"/>
                  <a:gd name="T91" fmla="*/ 304 h 442"/>
                  <a:gd name="T92" fmla="*/ 310 w 341"/>
                  <a:gd name="T93" fmla="*/ 298 h 442"/>
                  <a:gd name="T94" fmla="*/ 319 w 341"/>
                  <a:gd name="T95" fmla="*/ 309 h 442"/>
                  <a:gd name="T96" fmla="*/ 335 w 341"/>
                  <a:gd name="T97" fmla="*/ 302 h 442"/>
                  <a:gd name="T98" fmla="*/ 320 w 341"/>
                  <a:gd name="T99" fmla="*/ 286 h 442"/>
                  <a:gd name="T100" fmla="*/ 323 w 341"/>
                  <a:gd name="T101" fmla="*/ 272 h 442"/>
                  <a:gd name="T102" fmla="*/ 319 w 341"/>
                  <a:gd name="T103" fmla="*/ 244 h 442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341"/>
                  <a:gd name="T157" fmla="*/ 0 h 442"/>
                  <a:gd name="T158" fmla="*/ 341 w 341"/>
                  <a:gd name="T159" fmla="*/ 442 h 442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341" h="442">
                    <a:moveTo>
                      <a:pt x="319" y="244"/>
                    </a:moveTo>
                    <a:lnTo>
                      <a:pt x="310" y="238"/>
                    </a:lnTo>
                    <a:lnTo>
                      <a:pt x="307" y="238"/>
                    </a:lnTo>
                    <a:lnTo>
                      <a:pt x="301" y="231"/>
                    </a:lnTo>
                    <a:lnTo>
                      <a:pt x="293" y="226"/>
                    </a:lnTo>
                    <a:lnTo>
                      <a:pt x="287" y="224"/>
                    </a:lnTo>
                    <a:lnTo>
                      <a:pt x="289" y="214"/>
                    </a:lnTo>
                    <a:lnTo>
                      <a:pt x="290" y="208"/>
                    </a:lnTo>
                    <a:lnTo>
                      <a:pt x="289" y="205"/>
                    </a:lnTo>
                    <a:lnTo>
                      <a:pt x="283" y="207"/>
                    </a:lnTo>
                    <a:lnTo>
                      <a:pt x="280" y="200"/>
                    </a:lnTo>
                    <a:lnTo>
                      <a:pt x="286" y="198"/>
                    </a:lnTo>
                    <a:lnTo>
                      <a:pt x="285" y="185"/>
                    </a:lnTo>
                    <a:lnTo>
                      <a:pt x="289" y="180"/>
                    </a:lnTo>
                    <a:lnTo>
                      <a:pt x="286" y="168"/>
                    </a:lnTo>
                    <a:lnTo>
                      <a:pt x="282" y="168"/>
                    </a:lnTo>
                    <a:lnTo>
                      <a:pt x="277" y="171"/>
                    </a:lnTo>
                    <a:lnTo>
                      <a:pt x="273" y="173"/>
                    </a:lnTo>
                    <a:lnTo>
                      <a:pt x="268" y="168"/>
                    </a:lnTo>
                    <a:lnTo>
                      <a:pt x="264" y="161"/>
                    </a:lnTo>
                    <a:lnTo>
                      <a:pt x="256" y="154"/>
                    </a:lnTo>
                    <a:lnTo>
                      <a:pt x="249" y="154"/>
                    </a:lnTo>
                    <a:lnTo>
                      <a:pt x="245" y="143"/>
                    </a:lnTo>
                    <a:lnTo>
                      <a:pt x="243" y="134"/>
                    </a:lnTo>
                    <a:lnTo>
                      <a:pt x="250" y="125"/>
                    </a:lnTo>
                    <a:lnTo>
                      <a:pt x="250" y="113"/>
                    </a:lnTo>
                    <a:lnTo>
                      <a:pt x="252" y="104"/>
                    </a:lnTo>
                    <a:lnTo>
                      <a:pt x="253" y="101"/>
                    </a:lnTo>
                    <a:lnTo>
                      <a:pt x="249" y="97"/>
                    </a:lnTo>
                    <a:lnTo>
                      <a:pt x="256" y="87"/>
                    </a:lnTo>
                    <a:lnTo>
                      <a:pt x="250" y="85"/>
                    </a:lnTo>
                    <a:lnTo>
                      <a:pt x="248" y="81"/>
                    </a:lnTo>
                    <a:lnTo>
                      <a:pt x="245" y="73"/>
                    </a:lnTo>
                    <a:lnTo>
                      <a:pt x="239" y="73"/>
                    </a:lnTo>
                    <a:lnTo>
                      <a:pt x="236" y="80"/>
                    </a:lnTo>
                    <a:lnTo>
                      <a:pt x="221" y="76"/>
                    </a:lnTo>
                    <a:lnTo>
                      <a:pt x="215" y="62"/>
                    </a:lnTo>
                    <a:lnTo>
                      <a:pt x="213" y="50"/>
                    </a:lnTo>
                    <a:lnTo>
                      <a:pt x="194" y="44"/>
                    </a:lnTo>
                    <a:lnTo>
                      <a:pt x="183" y="46"/>
                    </a:lnTo>
                    <a:lnTo>
                      <a:pt x="179" y="50"/>
                    </a:lnTo>
                    <a:lnTo>
                      <a:pt x="176" y="57"/>
                    </a:lnTo>
                    <a:lnTo>
                      <a:pt x="174" y="53"/>
                    </a:lnTo>
                    <a:lnTo>
                      <a:pt x="174" y="48"/>
                    </a:lnTo>
                    <a:lnTo>
                      <a:pt x="168" y="46"/>
                    </a:lnTo>
                    <a:lnTo>
                      <a:pt x="164" y="48"/>
                    </a:lnTo>
                    <a:lnTo>
                      <a:pt x="167" y="44"/>
                    </a:lnTo>
                    <a:lnTo>
                      <a:pt x="171" y="39"/>
                    </a:lnTo>
                    <a:lnTo>
                      <a:pt x="168" y="34"/>
                    </a:lnTo>
                    <a:lnTo>
                      <a:pt x="164" y="34"/>
                    </a:lnTo>
                    <a:lnTo>
                      <a:pt x="157" y="37"/>
                    </a:lnTo>
                    <a:lnTo>
                      <a:pt x="151" y="35"/>
                    </a:lnTo>
                    <a:lnTo>
                      <a:pt x="147" y="35"/>
                    </a:lnTo>
                    <a:lnTo>
                      <a:pt x="143" y="30"/>
                    </a:lnTo>
                    <a:lnTo>
                      <a:pt x="137" y="21"/>
                    </a:lnTo>
                    <a:lnTo>
                      <a:pt x="130" y="21"/>
                    </a:lnTo>
                    <a:lnTo>
                      <a:pt x="125" y="18"/>
                    </a:lnTo>
                    <a:lnTo>
                      <a:pt x="118" y="9"/>
                    </a:lnTo>
                    <a:lnTo>
                      <a:pt x="109" y="4"/>
                    </a:lnTo>
                    <a:lnTo>
                      <a:pt x="106" y="2"/>
                    </a:lnTo>
                    <a:lnTo>
                      <a:pt x="101" y="4"/>
                    </a:lnTo>
                    <a:lnTo>
                      <a:pt x="99" y="5"/>
                    </a:lnTo>
                    <a:lnTo>
                      <a:pt x="90" y="0"/>
                    </a:lnTo>
                    <a:lnTo>
                      <a:pt x="76" y="5"/>
                    </a:lnTo>
                    <a:lnTo>
                      <a:pt x="68" y="4"/>
                    </a:lnTo>
                    <a:lnTo>
                      <a:pt x="60" y="14"/>
                    </a:lnTo>
                    <a:lnTo>
                      <a:pt x="50" y="14"/>
                    </a:lnTo>
                    <a:lnTo>
                      <a:pt x="40" y="12"/>
                    </a:lnTo>
                    <a:lnTo>
                      <a:pt x="35" y="16"/>
                    </a:lnTo>
                    <a:lnTo>
                      <a:pt x="19" y="7"/>
                    </a:lnTo>
                    <a:lnTo>
                      <a:pt x="16" y="14"/>
                    </a:lnTo>
                    <a:lnTo>
                      <a:pt x="16" y="21"/>
                    </a:lnTo>
                    <a:lnTo>
                      <a:pt x="11" y="21"/>
                    </a:lnTo>
                    <a:lnTo>
                      <a:pt x="7" y="18"/>
                    </a:lnTo>
                    <a:lnTo>
                      <a:pt x="2" y="25"/>
                    </a:lnTo>
                    <a:lnTo>
                      <a:pt x="0" y="28"/>
                    </a:lnTo>
                    <a:lnTo>
                      <a:pt x="8" y="27"/>
                    </a:lnTo>
                    <a:lnTo>
                      <a:pt x="37" y="41"/>
                    </a:lnTo>
                    <a:lnTo>
                      <a:pt x="72" y="118"/>
                    </a:lnTo>
                    <a:lnTo>
                      <a:pt x="117" y="193"/>
                    </a:lnTo>
                    <a:lnTo>
                      <a:pt x="143" y="212"/>
                    </a:lnTo>
                    <a:lnTo>
                      <a:pt x="159" y="268"/>
                    </a:lnTo>
                    <a:lnTo>
                      <a:pt x="157" y="295"/>
                    </a:lnTo>
                    <a:lnTo>
                      <a:pt x="143" y="361"/>
                    </a:lnTo>
                    <a:lnTo>
                      <a:pt x="148" y="397"/>
                    </a:lnTo>
                    <a:lnTo>
                      <a:pt x="148" y="414"/>
                    </a:lnTo>
                    <a:lnTo>
                      <a:pt x="142" y="420"/>
                    </a:lnTo>
                    <a:lnTo>
                      <a:pt x="151" y="427"/>
                    </a:lnTo>
                    <a:lnTo>
                      <a:pt x="154" y="442"/>
                    </a:lnTo>
                    <a:lnTo>
                      <a:pt x="155" y="442"/>
                    </a:lnTo>
                    <a:lnTo>
                      <a:pt x="159" y="437"/>
                    </a:lnTo>
                    <a:lnTo>
                      <a:pt x="163" y="435"/>
                    </a:lnTo>
                    <a:lnTo>
                      <a:pt x="167" y="435"/>
                    </a:lnTo>
                    <a:lnTo>
                      <a:pt x="174" y="437"/>
                    </a:lnTo>
                    <a:lnTo>
                      <a:pt x="180" y="437"/>
                    </a:lnTo>
                    <a:lnTo>
                      <a:pt x="185" y="430"/>
                    </a:lnTo>
                    <a:lnTo>
                      <a:pt x="185" y="423"/>
                    </a:lnTo>
                    <a:lnTo>
                      <a:pt x="183" y="416"/>
                    </a:lnTo>
                    <a:lnTo>
                      <a:pt x="184" y="409"/>
                    </a:lnTo>
                    <a:lnTo>
                      <a:pt x="190" y="404"/>
                    </a:lnTo>
                    <a:lnTo>
                      <a:pt x="191" y="400"/>
                    </a:lnTo>
                    <a:lnTo>
                      <a:pt x="194" y="400"/>
                    </a:lnTo>
                    <a:lnTo>
                      <a:pt x="199" y="398"/>
                    </a:lnTo>
                    <a:lnTo>
                      <a:pt x="203" y="393"/>
                    </a:lnTo>
                    <a:lnTo>
                      <a:pt x="206" y="388"/>
                    </a:lnTo>
                    <a:lnTo>
                      <a:pt x="208" y="379"/>
                    </a:lnTo>
                    <a:lnTo>
                      <a:pt x="208" y="372"/>
                    </a:lnTo>
                    <a:lnTo>
                      <a:pt x="213" y="372"/>
                    </a:lnTo>
                    <a:lnTo>
                      <a:pt x="225" y="367"/>
                    </a:lnTo>
                    <a:lnTo>
                      <a:pt x="229" y="363"/>
                    </a:lnTo>
                    <a:lnTo>
                      <a:pt x="228" y="356"/>
                    </a:lnTo>
                    <a:lnTo>
                      <a:pt x="225" y="351"/>
                    </a:lnTo>
                    <a:lnTo>
                      <a:pt x="231" y="344"/>
                    </a:lnTo>
                    <a:lnTo>
                      <a:pt x="233" y="338"/>
                    </a:lnTo>
                    <a:lnTo>
                      <a:pt x="231" y="333"/>
                    </a:lnTo>
                    <a:lnTo>
                      <a:pt x="227" y="325"/>
                    </a:lnTo>
                    <a:lnTo>
                      <a:pt x="229" y="318"/>
                    </a:lnTo>
                    <a:lnTo>
                      <a:pt x="223" y="302"/>
                    </a:lnTo>
                    <a:lnTo>
                      <a:pt x="231" y="291"/>
                    </a:lnTo>
                    <a:lnTo>
                      <a:pt x="241" y="290"/>
                    </a:lnTo>
                    <a:lnTo>
                      <a:pt x="248" y="284"/>
                    </a:lnTo>
                    <a:lnTo>
                      <a:pt x="252" y="286"/>
                    </a:lnTo>
                    <a:lnTo>
                      <a:pt x="253" y="291"/>
                    </a:lnTo>
                    <a:lnTo>
                      <a:pt x="252" y="306"/>
                    </a:lnTo>
                    <a:lnTo>
                      <a:pt x="255" y="307"/>
                    </a:lnTo>
                    <a:lnTo>
                      <a:pt x="261" y="307"/>
                    </a:lnTo>
                    <a:lnTo>
                      <a:pt x="261" y="300"/>
                    </a:lnTo>
                    <a:lnTo>
                      <a:pt x="260" y="297"/>
                    </a:lnTo>
                    <a:lnTo>
                      <a:pt x="264" y="298"/>
                    </a:lnTo>
                    <a:lnTo>
                      <a:pt x="266" y="302"/>
                    </a:lnTo>
                    <a:lnTo>
                      <a:pt x="268" y="297"/>
                    </a:lnTo>
                    <a:lnTo>
                      <a:pt x="271" y="295"/>
                    </a:lnTo>
                    <a:lnTo>
                      <a:pt x="277" y="295"/>
                    </a:lnTo>
                    <a:lnTo>
                      <a:pt x="277" y="298"/>
                    </a:lnTo>
                    <a:lnTo>
                      <a:pt x="282" y="304"/>
                    </a:lnTo>
                    <a:lnTo>
                      <a:pt x="285" y="304"/>
                    </a:lnTo>
                    <a:lnTo>
                      <a:pt x="290" y="314"/>
                    </a:lnTo>
                    <a:lnTo>
                      <a:pt x="297" y="304"/>
                    </a:lnTo>
                    <a:lnTo>
                      <a:pt x="298" y="300"/>
                    </a:lnTo>
                    <a:lnTo>
                      <a:pt x="302" y="298"/>
                    </a:lnTo>
                    <a:lnTo>
                      <a:pt x="310" y="298"/>
                    </a:lnTo>
                    <a:lnTo>
                      <a:pt x="309" y="311"/>
                    </a:lnTo>
                    <a:lnTo>
                      <a:pt x="315" y="313"/>
                    </a:lnTo>
                    <a:lnTo>
                      <a:pt x="319" y="309"/>
                    </a:lnTo>
                    <a:lnTo>
                      <a:pt x="335" y="309"/>
                    </a:lnTo>
                    <a:lnTo>
                      <a:pt x="341" y="302"/>
                    </a:lnTo>
                    <a:lnTo>
                      <a:pt x="335" y="302"/>
                    </a:lnTo>
                    <a:lnTo>
                      <a:pt x="327" y="293"/>
                    </a:lnTo>
                    <a:lnTo>
                      <a:pt x="323" y="290"/>
                    </a:lnTo>
                    <a:lnTo>
                      <a:pt x="320" y="286"/>
                    </a:lnTo>
                    <a:lnTo>
                      <a:pt x="320" y="284"/>
                    </a:lnTo>
                    <a:lnTo>
                      <a:pt x="325" y="281"/>
                    </a:lnTo>
                    <a:lnTo>
                      <a:pt x="323" y="272"/>
                    </a:lnTo>
                    <a:lnTo>
                      <a:pt x="326" y="267"/>
                    </a:lnTo>
                    <a:lnTo>
                      <a:pt x="323" y="249"/>
                    </a:lnTo>
                    <a:lnTo>
                      <a:pt x="319" y="244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48" name="Freeform 236"/>
              <p:cNvSpPr>
                <a:spLocks/>
              </p:cNvSpPr>
              <p:nvPr>
                <p:custDataLst>
                  <p:tags r:id="rId173"/>
                </p:custDataLst>
              </p:nvPr>
            </p:nvSpPr>
            <p:spPr bwMode="auto">
              <a:xfrm>
                <a:off x="2995" y="1871"/>
                <a:ext cx="139" cy="97"/>
              </a:xfrm>
              <a:custGeom>
                <a:avLst/>
                <a:gdLst>
                  <a:gd name="T0" fmla="*/ 3 w 921"/>
                  <a:gd name="T1" fmla="*/ 338 h 663"/>
                  <a:gd name="T2" fmla="*/ 36 w 921"/>
                  <a:gd name="T3" fmla="*/ 366 h 663"/>
                  <a:gd name="T4" fmla="*/ 41 w 921"/>
                  <a:gd name="T5" fmla="*/ 391 h 663"/>
                  <a:gd name="T6" fmla="*/ 43 w 921"/>
                  <a:gd name="T7" fmla="*/ 405 h 663"/>
                  <a:gd name="T8" fmla="*/ 99 w 921"/>
                  <a:gd name="T9" fmla="*/ 444 h 663"/>
                  <a:gd name="T10" fmla="*/ 115 w 921"/>
                  <a:gd name="T11" fmla="*/ 461 h 663"/>
                  <a:gd name="T12" fmla="*/ 122 w 921"/>
                  <a:gd name="T13" fmla="*/ 488 h 663"/>
                  <a:gd name="T14" fmla="*/ 103 w 921"/>
                  <a:gd name="T15" fmla="*/ 509 h 663"/>
                  <a:gd name="T16" fmla="*/ 124 w 921"/>
                  <a:gd name="T17" fmla="*/ 513 h 663"/>
                  <a:gd name="T18" fmla="*/ 151 w 921"/>
                  <a:gd name="T19" fmla="*/ 528 h 663"/>
                  <a:gd name="T20" fmla="*/ 185 w 921"/>
                  <a:gd name="T21" fmla="*/ 544 h 663"/>
                  <a:gd name="T22" fmla="*/ 205 w 921"/>
                  <a:gd name="T23" fmla="*/ 518 h 663"/>
                  <a:gd name="T24" fmla="*/ 238 w 921"/>
                  <a:gd name="T25" fmla="*/ 543 h 663"/>
                  <a:gd name="T26" fmla="*/ 209 w 921"/>
                  <a:gd name="T27" fmla="*/ 555 h 663"/>
                  <a:gd name="T28" fmla="*/ 250 w 921"/>
                  <a:gd name="T29" fmla="*/ 601 h 663"/>
                  <a:gd name="T30" fmla="*/ 256 w 921"/>
                  <a:gd name="T31" fmla="*/ 629 h 663"/>
                  <a:gd name="T32" fmla="*/ 270 w 921"/>
                  <a:gd name="T33" fmla="*/ 640 h 663"/>
                  <a:gd name="T34" fmla="*/ 326 w 921"/>
                  <a:gd name="T35" fmla="*/ 627 h 663"/>
                  <a:gd name="T36" fmla="*/ 391 w 921"/>
                  <a:gd name="T37" fmla="*/ 650 h 663"/>
                  <a:gd name="T38" fmla="*/ 436 w 921"/>
                  <a:gd name="T39" fmla="*/ 634 h 663"/>
                  <a:gd name="T40" fmla="*/ 512 w 921"/>
                  <a:gd name="T41" fmla="*/ 654 h 663"/>
                  <a:gd name="T42" fmla="*/ 649 w 921"/>
                  <a:gd name="T43" fmla="*/ 592 h 663"/>
                  <a:gd name="T44" fmla="*/ 692 w 921"/>
                  <a:gd name="T45" fmla="*/ 618 h 663"/>
                  <a:gd name="T46" fmla="*/ 803 w 921"/>
                  <a:gd name="T47" fmla="*/ 663 h 663"/>
                  <a:gd name="T48" fmla="*/ 821 w 921"/>
                  <a:gd name="T49" fmla="*/ 555 h 663"/>
                  <a:gd name="T50" fmla="*/ 861 w 921"/>
                  <a:gd name="T51" fmla="*/ 500 h 663"/>
                  <a:gd name="T52" fmla="*/ 921 w 921"/>
                  <a:gd name="T53" fmla="*/ 445 h 663"/>
                  <a:gd name="T54" fmla="*/ 911 w 921"/>
                  <a:gd name="T55" fmla="*/ 423 h 663"/>
                  <a:gd name="T56" fmla="*/ 852 w 921"/>
                  <a:gd name="T57" fmla="*/ 431 h 663"/>
                  <a:gd name="T58" fmla="*/ 830 w 921"/>
                  <a:gd name="T59" fmla="*/ 444 h 663"/>
                  <a:gd name="T60" fmla="*/ 785 w 921"/>
                  <a:gd name="T61" fmla="*/ 430 h 663"/>
                  <a:gd name="T62" fmla="*/ 773 w 921"/>
                  <a:gd name="T63" fmla="*/ 415 h 663"/>
                  <a:gd name="T64" fmla="*/ 769 w 921"/>
                  <a:gd name="T65" fmla="*/ 400 h 663"/>
                  <a:gd name="T66" fmla="*/ 766 w 921"/>
                  <a:gd name="T67" fmla="*/ 387 h 663"/>
                  <a:gd name="T68" fmla="*/ 761 w 921"/>
                  <a:gd name="T69" fmla="*/ 334 h 663"/>
                  <a:gd name="T70" fmla="*/ 777 w 921"/>
                  <a:gd name="T71" fmla="*/ 241 h 663"/>
                  <a:gd name="T72" fmla="*/ 735 w 921"/>
                  <a:gd name="T73" fmla="*/ 166 h 663"/>
                  <a:gd name="T74" fmla="*/ 655 w 921"/>
                  <a:gd name="T75" fmla="*/ 14 h 663"/>
                  <a:gd name="T76" fmla="*/ 589 w 921"/>
                  <a:gd name="T77" fmla="*/ 7 h 663"/>
                  <a:gd name="T78" fmla="*/ 571 w 921"/>
                  <a:gd name="T79" fmla="*/ 40 h 663"/>
                  <a:gd name="T80" fmla="*/ 474 w 921"/>
                  <a:gd name="T81" fmla="*/ 67 h 663"/>
                  <a:gd name="T82" fmla="*/ 449 w 921"/>
                  <a:gd name="T83" fmla="*/ 79 h 663"/>
                  <a:gd name="T84" fmla="*/ 426 w 921"/>
                  <a:gd name="T85" fmla="*/ 65 h 663"/>
                  <a:gd name="T86" fmla="*/ 409 w 921"/>
                  <a:gd name="T87" fmla="*/ 53 h 663"/>
                  <a:gd name="T88" fmla="*/ 317 w 921"/>
                  <a:gd name="T89" fmla="*/ 35 h 663"/>
                  <a:gd name="T90" fmla="*/ 273 w 921"/>
                  <a:gd name="T91" fmla="*/ 33 h 663"/>
                  <a:gd name="T92" fmla="*/ 246 w 921"/>
                  <a:gd name="T93" fmla="*/ 61 h 663"/>
                  <a:gd name="T94" fmla="*/ 171 w 921"/>
                  <a:gd name="T95" fmla="*/ 107 h 663"/>
                  <a:gd name="T96" fmla="*/ 68 w 921"/>
                  <a:gd name="T97" fmla="*/ 296 h 663"/>
                  <a:gd name="T98" fmla="*/ 19 w 921"/>
                  <a:gd name="T99" fmla="*/ 311 h 663"/>
                  <a:gd name="T100" fmla="*/ 0 w 921"/>
                  <a:gd name="T101" fmla="*/ 318 h 663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921"/>
                  <a:gd name="T154" fmla="*/ 0 h 663"/>
                  <a:gd name="T155" fmla="*/ 921 w 921"/>
                  <a:gd name="T156" fmla="*/ 663 h 663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921" h="663">
                    <a:moveTo>
                      <a:pt x="0" y="318"/>
                    </a:moveTo>
                    <a:lnTo>
                      <a:pt x="3" y="338"/>
                    </a:lnTo>
                    <a:lnTo>
                      <a:pt x="28" y="350"/>
                    </a:lnTo>
                    <a:lnTo>
                      <a:pt x="36" y="366"/>
                    </a:lnTo>
                    <a:lnTo>
                      <a:pt x="44" y="368"/>
                    </a:lnTo>
                    <a:lnTo>
                      <a:pt x="41" y="391"/>
                    </a:lnTo>
                    <a:lnTo>
                      <a:pt x="45" y="398"/>
                    </a:lnTo>
                    <a:lnTo>
                      <a:pt x="43" y="405"/>
                    </a:lnTo>
                    <a:lnTo>
                      <a:pt x="76" y="435"/>
                    </a:lnTo>
                    <a:lnTo>
                      <a:pt x="99" y="444"/>
                    </a:lnTo>
                    <a:lnTo>
                      <a:pt x="113" y="453"/>
                    </a:lnTo>
                    <a:lnTo>
                      <a:pt x="115" y="461"/>
                    </a:lnTo>
                    <a:lnTo>
                      <a:pt x="102" y="479"/>
                    </a:lnTo>
                    <a:lnTo>
                      <a:pt x="122" y="488"/>
                    </a:lnTo>
                    <a:lnTo>
                      <a:pt x="101" y="498"/>
                    </a:lnTo>
                    <a:lnTo>
                      <a:pt x="103" y="509"/>
                    </a:lnTo>
                    <a:lnTo>
                      <a:pt x="114" y="513"/>
                    </a:lnTo>
                    <a:lnTo>
                      <a:pt x="124" y="513"/>
                    </a:lnTo>
                    <a:lnTo>
                      <a:pt x="126" y="525"/>
                    </a:lnTo>
                    <a:lnTo>
                      <a:pt x="151" y="528"/>
                    </a:lnTo>
                    <a:lnTo>
                      <a:pt x="178" y="553"/>
                    </a:lnTo>
                    <a:lnTo>
                      <a:pt x="185" y="544"/>
                    </a:lnTo>
                    <a:lnTo>
                      <a:pt x="194" y="527"/>
                    </a:lnTo>
                    <a:lnTo>
                      <a:pt x="205" y="518"/>
                    </a:lnTo>
                    <a:lnTo>
                      <a:pt x="233" y="534"/>
                    </a:lnTo>
                    <a:lnTo>
                      <a:pt x="238" y="543"/>
                    </a:lnTo>
                    <a:lnTo>
                      <a:pt x="222" y="543"/>
                    </a:lnTo>
                    <a:lnTo>
                      <a:pt x="209" y="555"/>
                    </a:lnTo>
                    <a:lnTo>
                      <a:pt x="215" y="576"/>
                    </a:lnTo>
                    <a:lnTo>
                      <a:pt x="250" y="601"/>
                    </a:lnTo>
                    <a:lnTo>
                      <a:pt x="266" y="608"/>
                    </a:lnTo>
                    <a:lnTo>
                      <a:pt x="256" y="629"/>
                    </a:lnTo>
                    <a:lnTo>
                      <a:pt x="258" y="641"/>
                    </a:lnTo>
                    <a:lnTo>
                      <a:pt x="270" y="640"/>
                    </a:lnTo>
                    <a:lnTo>
                      <a:pt x="303" y="627"/>
                    </a:lnTo>
                    <a:lnTo>
                      <a:pt x="326" y="627"/>
                    </a:lnTo>
                    <a:lnTo>
                      <a:pt x="376" y="652"/>
                    </a:lnTo>
                    <a:lnTo>
                      <a:pt x="391" y="650"/>
                    </a:lnTo>
                    <a:lnTo>
                      <a:pt x="422" y="634"/>
                    </a:lnTo>
                    <a:lnTo>
                      <a:pt x="436" y="634"/>
                    </a:lnTo>
                    <a:lnTo>
                      <a:pt x="496" y="657"/>
                    </a:lnTo>
                    <a:lnTo>
                      <a:pt x="512" y="654"/>
                    </a:lnTo>
                    <a:lnTo>
                      <a:pt x="624" y="590"/>
                    </a:lnTo>
                    <a:lnTo>
                      <a:pt x="649" y="592"/>
                    </a:lnTo>
                    <a:lnTo>
                      <a:pt x="679" y="617"/>
                    </a:lnTo>
                    <a:lnTo>
                      <a:pt x="692" y="618"/>
                    </a:lnTo>
                    <a:lnTo>
                      <a:pt x="715" y="633"/>
                    </a:lnTo>
                    <a:lnTo>
                      <a:pt x="803" y="663"/>
                    </a:lnTo>
                    <a:lnTo>
                      <a:pt x="809" y="597"/>
                    </a:lnTo>
                    <a:lnTo>
                      <a:pt x="821" y="555"/>
                    </a:lnTo>
                    <a:lnTo>
                      <a:pt x="843" y="516"/>
                    </a:lnTo>
                    <a:lnTo>
                      <a:pt x="861" y="500"/>
                    </a:lnTo>
                    <a:lnTo>
                      <a:pt x="896" y="495"/>
                    </a:lnTo>
                    <a:lnTo>
                      <a:pt x="921" y="445"/>
                    </a:lnTo>
                    <a:lnTo>
                      <a:pt x="919" y="428"/>
                    </a:lnTo>
                    <a:lnTo>
                      <a:pt x="911" y="423"/>
                    </a:lnTo>
                    <a:lnTo>
                      <a:pt x="880" y="414"/>
                    </a:lnTo>
                    <a:lnTo>
                      <a:pt x="852" y="431"/>
                    </a:lnTo>
                    <a:lnTo>
                      <a:pt x="831" y="431"/>
                    </a:lnTo>
                    <a:lnTo>
                      <a:pt x="830" y="444"/>
                    </a:lnTo>
                    <a:lnTo>
                      <a:pt x="803" y="440"/>
                    </a:lnTo>
                    <a:lnTo>
                      <a:pt x="785" y="430"/>
                    </a:lnTo>
                    <a:lnTo>
                      <a:pt x="780" y="414"/>
                    </a:lnTo>
                    <a:lnTo>
                      <a:pt x="773" y="415"/>
                    </a:lnTo>
                    <a:lnTo>
                      <a:pt x="772" y="415"/>
                    </a:lnTo>
                    <a:lnTo>
                      <a:pt x="769" y="400"/>
                    </a:lnTo>
                    <a:lnTo>
                      <a:pt x="760" y="393"/>
                    </a:lnTo>
                    <a:lnTo>
                      <a:pt x="766" y="387"/>
                    </a:lnTo>
                    <a:lnTo>
                      <a:pt x="766" y="370"/>
                    </a:lnTo>
                    <a:lnTo>
                      <a:pt x="761" y="334"/>
                    </a:lnTo>
                    <a:lnTo>
                      <a:pt x="775" y="268"/>
                    </a:lnTo>
                    <a:lnTo>
                      <a:pt x="777" y="241"/>
                    </a:lnTo>
                    <a:lnTo>
                      <a:pt x="761" y="185"/>
                    </a:lnTo>
                    <a:lnTo>
                      <a:pt x="735" y="166"/>
                    </a:lnTo>
                    <a:lnTo>
                      <a:pt x="690" y="91"/>
                    </a:lnTo>
                    <a:lnTo>
                      <a:pt x="655" y="14"/>
                    </a:lnTo>
                    <a:lnTo>
                      <a:pt x="626" y="0"/>
                    </a:lnTo>
                    <a:lnTo>
                      <a:pt x="589" y="7"/>
                    </a:lnTo>
                    <a:lnTo>
                      <a:pt x="582" y="28"/>
                    </a:lnTo>
                    <a:lnTo>
                      <a:pt x="571" y="40"/>
                    </a:lnTo>
                    <a:lnTo>
                      <a:pt x="483" y="53"/>
                    </a:lnTo>
                    <a:lnTo>
                      <a:pt x="474" y="67"/>
                    </a:lnTo>
                    <a:lnTo>
                      <a:pt x="463" y="76"/>
                    </a:lnTo>
                    <a:lnTo>
                      <a:pt x="449" y="79"/>
                    </a:lnTo>
                    <a:lnTo>
                      <a:pt x="440" y="65"/>
                    </a:lnTo>
                    <a:lnTo>
                      <a:pt x="426" y="65"/>
                    </a:lnTo>
                    <a:lnTo>
                      <a:pt x="425" y="49"/>
                    </a:lnTo>
                    <a:lnTo>
                      <a:pt x="409" y="53"/>
                    </a:lnTo>
                    <a:lnTo>
                      <a:pt x="360" y="47"/>
                    </a:lnTo>
                    <a:lnTo>
                      <a:pt x="317" y="35"/>
                    </a:lnTo>
                    <a:lnTo>
                      <a:pt x="307" y="42"/>
                    </a:lnTo>
                    <a:lnTo>
                      <a:pt x="273" y="33"/>
                    </a:lnTo>
                    <a:lnTo>
                      <a:pt x="266" y="38"/>
                    </a:lnTo>
                    <a:lnTo>
                      <a:pt x="246" y="61"/>
                    </a:lnTo>
                    <a:lnTo>
                      <a:pt x="197" y="79"/>
                    </a:lnTo>
                    <a:lnTo>
                      <a:pt x="171" y="107"/>
                    </a:lnTo>
                    <a:lnTo>
                      <a:pt x="101" y="259"/>
                    </a:lnTo>
                    <a:lnTo>
                      <a:pt x="68" y="296"/>
                    </a:lnTo>
                    <a:lnTo>
                      <a:pt x="52" y="308"/>
                    </a:lnTo>
                    <a:lnTo>
                      <a:pt x="19" y="311"/>
                    </a:lnTo>
                    <a:lnTo>
                      <a:pt x="7" y="318"/>
                    </a:lnTo>
                    <a:lnTo>
                      <a:pt x="0" y="318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49" name="Freeform 237"/>
              <p:cNvSpPr>
                <a:spLocks/>
              </p:cNvSpPr>
              <p:nvPr>
                <p:custDataLst>
                  <p:tags r:id="rId174"/>
                </p:custDataLst>
              </p:nvPr>
            </p:nvSpPr>
            <p:spPr bwMode="auto">
              <a:xfrm>
                <a:off x="2793" y="1897"/>
                <a:ext cx="176" cy="191"/>
              </a:xfrm>
              <a:custGeom>
                <a:avLst/>
                <a:gdLst>
                  <a:gd name="T0" fmla="*/ 544 w 1179"/>
                  <a:gd name="T1" fmla="*/ 0 h 1296"/>
                  <a:gd name="T2" fmla="*/ 466 w 1179"/>
                  <a:gd name="T3" fmla="*/ 11 h 1296"/>
                  <a:gd name="T4" fmla="*/ 381 w 1179"/>
                  <a:gd name="T5" fmla="*/ 30 h 1296"/>
                  <a:gd name="T6" fmla="*/ 365 w 1179"/>
                  <a:gd name="T7" fmla="*/ 74 h 1296"/>
                  <a:gd name="T8" fmla="*/ 352 w 1179"/>
                  <a:gd name="T9" fmla="*/ 95 h 1296"/>
                  <a:gd name="T10" fmla="*/ 307 w 1179"/>
                  <a:gd name="T11" fmla="*/ 113 h 1296"/>
                  <a:gd name="T12" fmla="*/ 266 w 1179"/>
                  <a:gd name="T13" fmla="*/ 87 h 1296"/>
                  <a:gd name="T14" fmla="*/ 234 w 1179"/>
                  <a:gd name="T15" fmla="*/ 181 h 1296"/>
                  <a:gd name="T16" fmla="*/ 184 w 1179"/>
                  <a:gd name="T17" fmla="*/ 118 h 1296"/>
                  <a:gd name="T18" fmla="*/ 138 w 1179"/>
                  <a:gd name="T19" fmla="*/ 162 h 1296"/>
                  <a:gd name="T20" fmla="*/ 45 w 1179"/>
                  <a:gd name="T21" fmla="*/ 171 h 1296"/>
                  <a:gd name="T22" fmla="*/ 60 w 1179"/>
                  <a:gd name="T23" fmla="*/ 243 h 1296"/>
                  <a:gd name="T24" fmla="*/ 0 w 1179"/>
                  <a:gd name="T25" fmla="*/ 289 h 1296"/>
                  <a:gd name="T26" fmla="*/ 40 w 1179"/>
                  <a:gd name="T27" fmla="*/ 347 h 1296"/>
                  <a:gd name="T28" fmla="*/ 107 w 1179"/>
                  <a:gd name="T29" fmla="*/ 420 h 1296"/>
                  <a:gd name="T30" fmla="*/ 164 w 1179"/>
                  <a:gd name="T31" fmla="*/ 432 h 1296"/>
                  <a:gd name="T32" fmla="*/ 334 w 1179"/>
                  <a:gd name="T33" fmla="*/ 434 h 1296"/>
                  <a:gd name="T34" fmla="*/ 416 w 1179"/>
                  <a:gd name="T35" fmla="*/ 614 h 1296"/>
                  <a:gd name="T36" fmla="*/ 634 w 1179"/>
                  <a:gd name="T37" fmla="*/ 820 h 1296"/>
                  <a:gd name="T38" fmla="*/ 720 w 1179"/>
                  <a:gd name="T39" fmla="*/ 860 h 1296"/>
                  <a:gd name="T40" fmla="*/ 772 w 1179"/>
                  <a:gd name="T41" fmla="*/ 894 h 1296"/>
                  <a:gd name="T42" fmla="*/ 809 w 1179"/>
                  <a:gd name="T43" fmla="*/ 915 h 1296"/>
                  <a:gd name="T44" fmla="*/ 835 w 1179"/>
                  <a:gd name="T45" fmla="*/ 982 h 1296"/>
                  <a:gd name="T46" fmla="*/ 908 w 1179"/>
                  <a:gd name="T47" fmla="*/ 1021 h 1296"/>
                  <a:gd name="T48" fmla="*/ 948 w 1179"/>
                  <a:gd name="T49" fmla="*/ 1158 h 1296"/>
                  <a:gd name="T50" fmla="*/ 913 w 1179"/>
                  <a:gd name="T51" fmla="*/ 1201 h 1296"/>
                  <a:gd name="T52" fmla="*/ 895 w 1179"/>
                  <a:gd name="T53" fmla="*/ 1284 h 1296"/>
                  <a:gd name="T54" fmla="*/ 964 w 1179"/>
                  <a:gd name="T55" fmla="*/ 1241 h 1296"/>
                  <a:gd name="T56" fmla="*/ 1010 w 1179"/>
                  <a:gd name="T57" fmla="*/ 1158 h 1296"/>
                  <a:gd name="T58" fmla="*/ 1039 w 1179"/>
                  <a:gd name="T59" fmla="*/ 1111 h 1296"/>
                  <a:gd name="T60" fmla="*/ 992 w 1179"/>
                  <a:gd name="T61" fmla="*/ 1015 h 1296"/>
                  <a:gd name="T62" fmla="*/ 1025 w 1179"/>
                  <a:gd name="T63" fmla="*/ 945 h 1296"/>
                  <a:gd name="T64" fmla="*/ 1068 w 1179"/>
                  <a:gd name="T65" fmla="*/ 971 h 1296"/>
                  <a:gd name="T66" fmla="*/ 1128 w 1179"/>
                  <a:gd name="T67" fmla="*/ 1019 h 1296"/>
                  <a:gd name="T68" fmla="*/ 1164 w 1179"/>
                  <a:gd name="T69" fmla="*/ 970 h 1296"/>
                  <a:gd name="T70" fmla="*/ 929 w 1179"/>
                  <a:gd name="T71" fmla="*/ 815 h 1296"/>
                  <a:gd name="T72" fmla="*/ 949 w 1179"/>
                  <a:gd name="T73" fmla="*/ 755 h 1296"/>
                  <a:gd name="T74" fmla="*/ 806 w 1179"/>
                  <a:gd name="T75" fmla="*/ 727 h 1296"/>
                  <a:gd name="T76" fmla="*/ 744 w 1179"/>
                  <a:gd name="T77" fmla="*/ 647 h 1296"/>
                  <a:gd name="T78" fmla="*/ 695 w 1179"/>
                  <a:gd name="T79" fmla="*/ 517 h 1296"/>
                  <a:gd name="T80" fmla="*/ 586 w 1179"/>
                  <a:gd name="T81" fmla="*/ 337 h 1296"/>
                  <a:gd name="T82" fmla="*/ 556 w 1179"/>
                  <a:gd name="T83" fmla="*/ 275 h 1296"/>
                  <a:gd name="T84" fmla="*/ 586 w 1179"/>
                  <a:gd name="T85" fmla="*/ 239 h 1296"/>
                  <a:gd name="T86" fmla="*/ 653 w 1179"/>
                  <a:gd name="T87" fmla="*/ 201 h 1296"/>
                  <a:gd name="T88" fmla="*/ 703 w 1179"/>
                  <a:gd name="T89" fmla="*/ 202 h 1296"/>
                  <a:gd name="T90" fmla="*/ 690 w 1179"/>
                  <a:gd name="T91" fmla="*/ 190 h 1296"/>
                  <a:gd name="T92" fmla="*/ 688 w 1179"/>
                  <a:gd name="T93" fmla="*/ 130 h 1296"/>
                  <a:gd name="T94" fmla="*/ 692 w 1179"/>
                  <a:gd name="T95" fmla="*/ 85 h 129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1179"/>
                  <a:gd name="T145" fmla="*/ 0 h 1296"/>
                  <a:gd name="T146" fmla="*/ 1179 w 1179"/>
                  <a:gd name="T147" fmla="*/ 1296 h 129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1179" h="1296">
                    <a:moveTo>
                      <a:pt x="574" y="57"/>
                    </a:moveTo>
                    <a:lnTo>
                      <a:pt x="560" y="30"/>
                    </a:lnTo>
                    <a:lnTo>
                      <a:pt x="545" y="25"/>
                    </a:lnTo>
                    <a:lnTo>
                      <a:pt x="544" y="0"/>
                    </a:lnTo>
                    <a:lnTo>
                      <a:pt x="507" y="14"/>
                    </a:lnTo>
                    <a:lnTo>
                      <a:pt x="494" y="9"/>
                    </a:lnTo>
                    <a:lnTo>
                      <a:pt x="475" y="16"/>
                    </a:lnTo>
                    <a:lnTo>
                      <a:pt x="466" y="11"/>
                    </a:lnTo>
                    <a:lnTo>
                      <a:pt x="450" y="16"/>
                    </a:lnTo>
                    <a:lnTo>
                      <a:pt x="436" y="44"/>
                    </a:lnTo>
                    <a:lnTo>
                      <a:pt x="409" y="41"/>
                    </a:lnTo>
                    <a:lnTo>
                      <a:pt x="381" y="30"/>
                    </a:lnTo>
                    <a:lnTo>
                      <a:pt x="376" y="50"/>
                    </a:lnTo>
                    <a:lnTo>
                      <a:pt x="381" y="64"/>
                    </a:lnTo>
                    <a:lnTo>
                      <a:pt x="380" y="78"/>
                    </a:lnTo>
                    <a:lnTo>
                      <a:pt x="365" y="74"/>
                    </a:lnTo>
                    <a:lnTo>
                      <a:pt x="357" y="64"/>
                    </a:lnTo>
                    <a:lnTo>
                      <a:pt x="344" y="69"/>
                    </a:lnTo>
                    <a:lnTo>
                      <a:pt x="341" y="87"/>
                    </a:lnTo>
                    <a:lnTo>
                      <a:pt x="352" y="95"/>
                    </a:lnTo>
                    <a:lnTo>
                      <a:pt x="343" y="125"/>
                    </a:lnTo>
                    <a:lnTo>
                      <a:pt x="331" y="101"/>
                    </a:lnTo>
                    <a:lnTo>
                      <a:pt x="310" y="104"/>
                    </a:lnTo>
                    <a:lnTo>
                      <a:pt x="307" y="113"/>
                    </a:lnTo>
                    <a:lnTo>
                      <a:pt x="298" y="115"/>
                    </a:lnTo>
                    <a:lnTo>
                      <a:pt x="287" y="104"/>
                    </a:lnTo>
                    <a:lnTo>
                      <a:pt x="282" y="81"/>
                    </a:lnTo>
                    <a:lnTo>
                      <a:pt x="266" y="87"/>
                    </a:lnTo>
                    <a:lnTo>
                      <a:pt x="266" y="110"/>
                    </a:lnTo>
                    <a:lnTo>
                      <a:pt x="248" y="135"/>
                    </a:lnTo>
                    <a:lnTo>
                      <a:pt x="246" y="171"/>
                    </a:lnTo>
                    <a:lnTo>
                      <a:pt x="234" y="181"/>
                    </a:lnTo>
                    <a:lnTo>
                      <a:pt x="217" y="160"/>
                    </a:lnTo>
                    <a:lnTo>
                      <a:pt x="221" y="148"/>
                    </a:lnTo>
                    <a:lnTo>
                      <a:pt x="208" y="144"/>
                    </a:lnTo>
                    <a:lnTo>
                      <a:pt x="184" y="118"/>
                    </a:lnTo>
                    <a:lnTo>
                      <a:pt x="183" y="92"/>
                    </a:lnTo>
                    <a:lnTo>
                      <a:pt x="148" y="118"/>
                    </a:lnTo>
                    <a:lnTo>
                      <a:pt x="152" y="134"/>
                    </a:lnTo>
                    <a:lnTo>
                      <a:pt x="138" y="162"/>
                    </a:lnTo>
                    <a:lnTo>
                      <a:pt x="126" y="172"/>
                    </a:lnTo>
                    <a:lnTo>
                      <a:pt x="98" y="160"/>
                    </a:lnTo>
                    <a:lnTo>
                      <a:pt x="70" y="174"/>
                    </a:lnTo>
                    <a:lnTo>
                      <a:pt x="45" y="171"/>
                    </a:lnTo>
                    <a:lnTo>
                      <a:pt x="16" y="190"/>
                    </a:lnTo>
                    <a:lnTo>
                      <a:pt x="40" y="213"/>
                    </a:lnTo>
                    <a:lnTo>
                      <a:pt x="41" y="231"/>
                    </a:lnTo>
                    <a:lnTo>
                      <a:pt x="60" y="243"/>
                    </a:lnTo>
                    <a:lnTo>
                      <a:pt x="50" y="261"/>
                    </a:lnTo>
                    <a:lnTo>
                      <a:pt x="27" y="285"/>
                    </a:lnTo>
                    <a:lnTo>
                      <a:pt x="20" y="277"/>
                    </a:lnTo>
                    <a:lnTo>
                      <a:pt x="0" y="289"/>
                    </a:lnTo>
                    <a:lnTo>
                      <a:pt x="15" y="312"/>
                    </a:lnTo>
                    <a:lnTo>
                      <a:pt x="44" y="324"/>
                    </a:lnTo>
                    <a:lnTo>
                      <a:pt x="49" y="347"/>
                    </a:lnTo>
                    <a:lnTo>
                      <a:pt x="40" y="347"/>
                    </a:lnTo>
                    <a:lnTo>
                      <a:pt x="27" y="372"/>
                    </a:lnTo>
                    <a:lnTo>
                      <a:pt x="36" y="400"/>
                    </a:lnTo>
                    <a:lnTo>
                      <a:pt x="69" y="425"/>
                    </a:lnTo>
                    <a:lnTo>
                      <a:pt x="107" y="420"/>
                    </a:lnTo>
                    <a:lnTo>
                      <a:pt x="109" y="439"/>
                    </a:lnTo>
                    <a:lnTo>
                      <a:pt x="102" y="469"/>
                    </a:lnTo>
                    <a:lnTo>
                      <a:pt x="144" y="455"/>
                    </a:lnTo>
                    <a:lnTo>
                      <a:pt x="164" y="432"/>
                    </a:lnTo>
                    <a:lnTo>
                      <a:pt x="212" y="390"/>
                    </a:lnTo>
                    <a:lnTo>
                      <a:pt x="234" y="388"/>
                    </a:lnTo>
                    <a:lnTo>
                      <a:pt x="313" y="418"/>
                    </a:lnTo>
                    <a:lnTo>
                      <a:pt x="334" y="434"/>
                    </a:lnTo>
                    <a:lnTo>
                      <a:pt x="356" y="464"/>
                    </a:lnTo>
                    <a:lnTo>
                      <a:pt x="371" y="492"/>
                    </a:lnTo>
                    <a:lnTo>
                      <a:pt x="390" y="559"/>
                    </a:lnTo>
                    <a:lnTo>
                      <a:pt x="416" y="614"/>
                    </a:lnTo>
                    <a:lnTo>
                      <a:pt x="451" y="656"/>
                    </a:lnTo>
                    <a:lnTo>
                      <a:pt x="490" y="679"/>
                    </a:lnTo>
                    <a:lnTo>
                      <a:pt x="602" y="799"/>
                    </a:lnTo>
                    <a:lnTo>
                      <a:pt x="634" y="820"/>
                    </a:lnTo>
                    <a:lnTo>
                      <a:pt x="663" y="830"/>
                    </a:lnTo>
                    <a:lnTo>
                      <a:pt x="686" y="832"/>
                    </a:lnTo>
                    <a:lnTo>
                      <a:pt x="715" y="846"/>
                    </a:lnTo>
                    <a:lnTo>
                      <a:pt x="720" y="860"/>
                    </a:lnTo>
                    <a:lnTo>
                      <a:pt x="729" y="874"/>
                    </a:lnTo>
                    <a:lnTo>
                      <a:pt x="740" y="906"/>
                    </a:lnTo>
                    <a:lnTo>
                      <a:pt x="757" y="894"/>
                    </a:lnTo>
                    <a:lnTo>
                      <a:pt x="772" y="894"/>
                    </a:lnTo>
                    <a:lnTo>
                      <a:pt x="782" y="911"/>
                    </a:lnTo>
                    <a:lnTo>
                      <a:pt x="769" y="924"/>
                    </a:lnTo>
                    <a:lnTo>
                      <a:pt x="768" y="929"/>
                    </a:lnTo>
                    <a:lnTo>
                      <a:pt x="809" y="915"/>
                    </a:lnTo>
                    <a:lnTo>
                      <a:pt x="827" y="936"/>
                    </a:lnTo>
                    <a:lnTo>
                      <a:pt x="831" y="961"/>
                    </a:lnTo>
                    <a:lnTo>
                      <a:pt x="823" y="978"/>
                    </a:lnTo>
                    <a:lnTo>
                      <a:pt x="835" y="982"/>
                    </a:lnTo>
                    <a:lnTo>
                      <a:pt x="875" y="1014"/>
                    </a:lnTo>
                    <a:lnTo>
                      <a:pt x="884" y="1003"/>
                    </a:lnTo>
                    <a:lnTo>
                      <a:pt x="899" y="1000"/>
                    </a:lnTo>
                    <a:lnTo>
                      <a:pt x="908" y="1021"/>
                    </a:lnTo>
                    <a:lnTo>
                      <a:pt x="913" y="1058"/>
                    </a:lnTo>
                    <a:lnTo>
                      <a:pt x="929" y="1090"/>
                    </a:lnTo>
                    <a:lnTo>
                      <a:pt x="939" y="1148"/>
                    </a:lnTo>
                    <a:lnTo>
                      <a:pt x="948" y="1158"/>
                    </a:lnTo>
                    <a:lnTo>
                      <a:pt x="952" y="1180"/>
                    </a:lnTo>
                    <a:lnTo>
                      <a:pt x="946" y="1190"/>
                    </a:lnTo>
                    <a:lnTo>
                      <a:pt x="929" y="1185"/>
                    </a:lnTo>
                    <a:lnTo>
                      <a:pt x="913" y="1201"/>
                    </a:lnTo>
                    <a:lnTo>
                      <a:pt x="924" y="1211"/>
                    </a:lnTo>
                    <a:lnTo>
                      <a:pt x="911" y="1245"/>
                    </a:lnTo>
                    <a:lnTo>
                      <a:pt x="895" y="1254"/>
                    </a:lnTo>
                    <a:lnTo>
                      <a:pt x="895" y="1284"/>
                    </a:lnTo>
                    <a:lnTo>
                      <a:pt x="903" y="1293"/>
                    </a:lnTo>
                    <a:lnTo>
                      <a:pt x="911" y="1296"/>
                    </a:lnTo>
                    <a:lnTo>
                      <a:pt x="936" y="1294"/>
                    </a:lnTo>
                    <a:lnTo>
                      <a:pt x="964" y="1241"/>
                    </a:lnTo>
                    <a:lnTo>
                      <a:pt x="987" y="1222"/>
                    </a:lnTo>
                    <a:lnTo>
                      <a:pt x="982" y="1187"/>
                    </a:lnTo>
                    <a:lnTo>
                      <a:pt x="990" y="1173"/>
                    </a:lnTo>
                    <a:lnTo>
                      <a:pt x="1010" y="1158"/>
                    </a:lnTo>
                    <a:lnTo>
                      <a:pt x="1038" y="1160"/>
                    </a:lnTo>
                    <a:lnTo>
                      <a:pt x="1047" y="1146"/>
                    </a:lnTo>
                    <a:lnTo>
                      <a:pt x="1041" y="1137"/>
                    </a:lnTo>
                    <a:lnTo>
                      <a:pt x="1039" y="1111"/>
                    </a:lnTo>
                    <a:lnTo>
                      <a:pt x="1044" y="1091"/>
                    </a:lnTo>
                    <a:lnTo>
                      <a:pt x="983" y="1053"/>
                    </a:lnTo>
                    <a:lnTo>
                      <a:pt x="983" y="1035"/>
                    </a:lnTo>
                    <a:lnTo>
                      <a:pt x="992" y="1015"/>
                    </a:lnTo>
                    <a:lnTo>
                      <a:pt x="990" y="1000"/>
                    </a:lnTo>
                    <a:lnTo>
                      <a:pt x="1002" y="987"/>
                    </a:lnTo>
                    <a:lnTo>
                      <a:pt x="1014" y="961"/>
                    </a:lnTo>
                    <a:lnTo>
                      <a:pt x="1025" y="945"/>
                    </a:lnTo>
                    <a:lnTo>
                      <a:pt x="1036" y="940"/>
                    </a:lnTo>
                    <a:lnTo>
                      <a:pt x="1052" y="943"/>
                    </a:lnTo>
                    <a:lnTo>
                      <a:pt x="1048" y="957"/>
                    </a:lnTo>
                    <a:lnTo>
                      <a:pt x="1068" y="971"/>
                    </a:lnTo>
                    <a:lnTo>
                      <a:pt x="1090" y="971"/>
                    </a:lnTo>
                    <a:lnTo>
                      <a:pt x="1112" y="978"/>
                    </a:lnTo>
                    <a:lnTo>
                      <a:pt x="1124" y="989"/>
                    </a:lnTo>
                    <a:lnTo>
                      <a:pt x="1128" y="1019"/>
                    </a:lnTo>
                    <a:lnTo>
                      <a:pt x="1144" y="1030"/>
                    </a:lnTo>
                    <a:lnTo>
                      <a:pt x="1162" y="1047"/>
                    </a:lnTo>
                    <a:lnTo>
                      <a:pt x="1179" y="998"/>
                    </a:lnTo>
                    <a:lnTo>
                      <a:pt x="1164" y="970"/>
                    </a:lnTo>
                    <a:lnTo>
                      <a:pt x="1133" y="941"/>
                    </a:lnTo>
                    <a:lnTo>
                      <a:pt x="1130" y="929"/>
                    </a:lnTo>
                    <a:lnTo>
                      <a:pt x="1023" y="860"/>
                    </a:lnTo>
                    <a:lnTo>
                      <a:pt x="929" y="815"/>
                    </a:lnTo>
                    <a:lnTo>
                      <a:pt x="917" y="803"/>
                    </a:lnTo>
                    <a:lnTo>
                      <a:pt x="929" y="783"/>
                    </a:lnTo>
                    <a:lnTo>
                      <a:pt x="950" y="769"/>
                    </a:lnTo>
                    <a:lnTo>
                      <a:pt x="949" y="755"/>
                    </a:lnTo>
                    <a:lnTo>
                      <a:pt x="933" y="746"/>
                    </a:lnTo>
                    <a:lnTo>
                      <a:pt x="876" y="753"/>
                    </a:lnTo>
                    <a:lnTo>
                      <a:pt x="825" y="737"/>
                    </a:lnTo>
                    <a:lnTo>
                      <a:pt x="806" y="727"/>
                    </a:lnTo>
                    <a:lnTo>
                      <a:pt x="805" y="713"/>
                    </a:lnTo>
                    <a:lnTo>
                      <a:pt x="786" y="700"/>
                    </a:lnTo>
                    <a:lnTo>
                      <a:pt x="774" y="683"/>
                    </a:lnTo>
                    <a:lnTo>
                      <a:pt x="744" y="647"/>
                    </a:lnTo>
                    <a:lnTo>
                      <a:pt x="727" y="610"/>
                    </a:lnTo>
                    <a:lnTo>
                      <a:pt x="715" y="575"/>
                    </a:lnTo>
                    <a:lnTo>
                      <a:pt x="708" y="540"/>
                    </a:lnTo>
                    <a:lnTo>
                      <a:pt x="695" y="517"/>
                    </a:lnTo>
                    <a:lnTo>
                      <a:pt x="606" y="458"/>
                    </a:lnTo>
                    <a:lnTo>
                      <a:pt x="572" y="407"/>
                    </a:lnTo>
                    <a:lnTo>
                      <a:pt x="565" y="352"/>
                    </a:lnTo>
                    <a:lnTo>
                      <a:pt x="586" y="337"/>
                    </a:lnTo>
                    <a:lnTo>
                      <a:pt x="590" y="322"/>
                    </a:lnTo>
                    <a:lnTo>
                      <a:pt x="569" y="300"/>
                    </a:lnTo>
                    <a:lnTo>
                      <a:pt x="569" y="280"/>
                    </a:lnTo>
                    <a:lnTo>
                      <a:pt x="556" y="275"/>
                    </a:lnTo>
                    <a:lnTo>
                      <a:pt x="556" y="268"/>
                    </a:lnTo>
                    <a:lnTo>
                      <a:pt x="564" y="264"/>
                    </a:lnTo>
                    <a:lnTo>
                      <a:pt x="567" y="248"/>
                    </a:lnTo>
                    <a:lnTo>
                      <a:pt x="586" y="239"/>
                    </a:lnTo>
                    <a:lnTo>
                      <a:pt x="583" y="248"/>
                    </a:lnTo>
                    <a:lnTo>
                      <a:pt x="627" y="225"/>
                    </a:lnTo>
                    <a:lnTo>
                      <a:pt x="646" y="222"/>
                    </a:lnTo>
                    <a:lnTo>
                      <a:pt x="653" y="201"/>
                    </a:lnTo>
                    <a:lnTo>
                      <a:pt x="674" y="206"/>
                    </a:lnTo>
                    <a:lnTo>
                      <a:pt x="679" y="213"/>
                    </a:lnTo>
                    <a:lnTo>
                      <a:pt x="692" y="201"/>
                    </a:lnTo>
                    <a:lnTo>
                      <a:pt x="703" y="202"/>
                    </a:lnTo>
                    <a:lnTo>
                      <a:pt x="715" y="224"/>
                    </a:lnTo>
                    <a:lnTo>
                      <a:pt x="718" y="209"/>
                    </a:lnTo>
                    <a:lnTo>
                      <a:pt x="704" y="197"/>
                    </a:lnTo>
                    <a:lnTo>
                      <a:pt x="690" y="190"/>
                    </a:lnTo>
                    <a:lnTo>
                      <a:pt x="694" y="167"/>
                    </a:lnTo>
                    <a:lnTo>
                      <a:pt x="679" y="160"/>
                    </a:lnTo>
                    <a:lnTo>
                      <a:pt x="695" y="142"/>
                    </a:lnTo>
                    <a:lnTo>
                      <a:pt x="688" y="130"/>
                    </a:lnTo>
                    <a:lnTo>
                      <a:pt x="675" y="130"/>
                    </a:lnTo>
                    <a:lnTo>
                      <a:pt x="670" y="118"/>
                    </a:lnTo>
                    <a:lnTo>
                      <a:pt x="696" y="99"/>
                    </a:lnTo>
                    <a:lnTo>
                      <a:pt x="692" y="85"/>
                    </a:lnTo>
                    <a:lnTo>
                      <a:pt x="671" y="78"/>
                    </a:lnTo>
                    <a:lnTo>
                      <a:pt x="632" y="73"/>
                    </a:lnTo>
                    <a:lnTo>
                      <a:pt x="574" y="57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50" name="Freeform 238"/>
              <p:cNvSpPr>
                <a:spLocks/>
              </p:cNvSpPr>
              <p:nvPr>
                <p:custDataLst>
                  <p:tags r:id="rId175"/>
                </p:custDataLst>
              </p:nvPr>
            </p:nvSpPr>
            <p:spPr bwMode="auto">
              <a:xfrm>
                <a:off x="2880" y="2082"/>
                <a:ext cx="45" cy="30"/>
              </a:xfrm>
              <a:custGeom>
                <a:avLst/>
                <a:gdLst>
                  <a:gd name="T0" fmla="*/ 295 w 296"/>
                  <a:gd name="T1" fmla="*/ 7 h 199"/>
                  <a:gd name="T2" fmla="*/ 288 w 296"/>
                  <a:gd name="T3" fmla="*/ 1 h 199"/>
                  <a:gd name="T4" fmla="*/ 165 w 296"/>
                  <a:gd name="T5" fmla="*/ 33 h 199"/>
                  <a:gd name="T6" fmla="*/ 133 w 296"/>
                  <a:gd name="T7" fmla="*/ 33 h 199"/>
                  <a:gd name="T8" fmla="*/ 116 w 296"/>
                  <a:gd name="T9" fmla="*/ 24 h 199"/>
                  <a:gd name="T10" fmla="*/ 86 w 296"/>
                  <a:gd name="T11" fmla="*/ 0 h 199"/>
                  <a:gd name="T12" fmla="*/ 60 w 296"/>
                  <a:gd name="T13" fmla="*/ 19 h 199"/>
                  <a:gd name="T14" fmla="*/ 33 w 296"/>
                  <a:gd name="T15" fmla="*/ 14 h 199"/>
                  <a:gd name="T16" fmla="*/ 21 w 296"/>
                  <a:gd name="T17" fmla="*/ 19 h 199"/>
                  <a:gd name="T18" fmla="*/ 6 w 296"/>
                  <a:gd name="T19" fmla="*/ 40 h 199"/>
                  <a:gd name="T20" fmla="*/ 0 w 296"/>
                  <a:gd name="T21" fmla="*/ 60 h 199"/>
                  <a:gd name="T22" fmla="*/ 7 w 296"/>
                  <a:gd name="T23" fmla="*/ 77 h 199"/>
                  <a:gd name="T24" fmla="*/ 18 w 296"/>
                  <a:gd name="T25" fmla="*/ 86 h 199"/>
                  <a:gd name="T26" fmla="*/ 55 w 296"/>
                  <a:gd name="T27" fmla="*/ 93 h 199"/>
                  <a:gd name="T28" fmla="*/ 140 w 296"/>
                  <a:gd name="T29" fmla="*/ 143 h 199"/>
                  <a:gd name="T30" fmla="*/ 173 w 296"/>
                  <a:gd name="T31" fmla="*/ 157 h 199"/>
                  <a:gd name="T32" fmla="*/ 214 w 296"/>
                  <a:gd name="T33" fmla="*/ 194 h 199"/>
                  <a:gd name="T34" fmla="*/ 244 w 296"/>
                  <a:gd name="T35" fmla="*/ 199 h 199"/>
                  <a:gd name="T36" fmla="*/ 252 w 296"/>
                  <a:gd name="T37" fmla="*/ 197 h 199"/>
                  <a:gd name="T38" fmla="*/ 271 w 296"/>
                  <a:gd name="T39" fmla="*/ 164 h 199"/>
                  <a:gd name="T40" fmla="*/ 280 w 296"/>
                  <a:gd name="T41" fmla="*/ 157 h 199"/>
                  <a:gd name="T42" fmla="*/ 260 w 296"/>
                  <a:gd name="T43" fmla="*/ 125 h 199"/>
                  <a:gd name="T44" fmla="*/ 260 w 296"/>
                  <a:gd name="T45" fmla="*/ 102 h 199"/>
                  <a:gd name="T46" fmla="*/ 268 w 296"/>
                  <a:gd name="T47" fmla="*/ 72 h 199"/>
                  <a:gd name="T48" fmla="*/ 292 w 296"/>
                  <a:gd name="T49" fmla="*/ 21 h 199"/>
                  <a:gd name="T50" fmla="*/ 296 w 296"/>
                  <a:gd name="T51" fmla="*/ 14 h 199"/>
                  <a:gd name="T52" fmla="*/ 295 w 296"/>
                  <a:gd name="T53" fmla="*/ 7 h 199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296"/>
                  <a:gd name="T82" fmla="*/ 0 h 199"/>
                  <a:gd name="T83" fmla="*/ 296 w 296"/>
                  <a:gd name="T84" fmla="*/ 199 h 199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296" h="199">
                    <a:moveTo>
                      <a:pt x="295" y="7"/>
                    </a:moveTo>
                    <a:lnTo>
                      <a:pt x="288" y="1"/>
                    </a:lnTo>
                    <a:lnTo>
                      <a:pt x="165" y="33"/>
                    </a:lnTo>
                    <a:lnTo>
                      <a:pt x="133" y="33"/>
                    </a:lnTo>
                    <a:lnTo>
                      <a:pt x="116" y="24"/>
                    </a:lnTo>
                    <a:lnTo>
                      <a:pt x="86" y="0"/>
                    </a:lnTo>
                    <a:lnTo>
                      <a:pt x="60" y="19"/>
                    </a:lnTo>
                    <a:lnTo>
                      <a:pt x="33" y="14"/>
                    </a:lnTo>
                    <a:lnTo>
                      <a:pt x="21" y="19"/>
                    </a:lnTo>
                    <a:lnTo>
                      <a:pt x="6" y="40"/>
                    </a:lnTo>
                    <a:lnTo>
                      <a:pt x="0" y="60"/>
                    </a:lnTo>
                    <a:lnTo>
                      <a:pt x="7" y="77"/>
                    </a:lnTo>
                    <a:lnTo>
                      <a:pt x="18" y="86"/>
                    </a:lnTo>
                    <a:lnTo>
                      <a:pt x="55" y="93"/>
                    </a:lnTo>
                    <a:lnTo>
                      <a:pt x="140" y="143"/>
                    </a:lnTo>
                    <a:lnTo>
                      <a:pt x="173" y="157"/>
                    </a:lnTo>
                    <a:lnTo>
                      <a:pt x="214" y="194"/>
                    </a:lnTo>
                    <a:lnTo>
                      <a:pt x="244" y="199"/>
                    </a:lnTo>
                    <a:lnTo>
                      <a:pt x="252" y="197"/>
                    </a:lnTo>
                    <a:lnTo>
                      <a:pt x="271" y="164"/>
                    </a:lnTo>
                    <a:lnTo>
                      <a:pt x="280" y="157"/>
                    </a:lnTo>
                    <a:lnTo>
                      <a:pt x="260" y="125"/>
                    </a:lnTo>
                    <a:lnTo>
                      <a:pt x="260" y="102"/>
                    </a:lnTo>
                    <a:lnTo>
                      <a:pt x="268" y="72"/>
                    </a:lnTo>
                    <a:lnTo>
                      <a:pt x="292" y="21"/>
                    </a:lnTo>
                    <a:lnTo>
                      <a:pt x="296" y="14"/>
                    </a:lnTo>
                    <a:lnTo>
                      <a:pt x="295" y="7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51" name="Freeform 239"/>
              <p:cNvSpPr>
                <a:spLocks/>
              </p:cNvSpPr>
              <p:nvPr>
                <p:custDataLst>
                  <p:tags r:id="rId176"/>
                </p:custDataLst>
              </p:nvPr>
            </p:nvSpPr>
            <p:spPr bwMode="auto">
              <a:xfrm>
                <a:off x="2816" y="2022"/>
                <a:ext cx="25" cy="46"/>
              </a:xfrm>
              <a:custGeom>
                <a:avLst/>
                <a:gdLst>
                  <a:gd name="T0" fmla="*/ 0 w 160"/>
                  <a:gd name="T1" fmla="*/ 54 h 303"/>
                  <a:gd name="T2" fmla="*/ 5 w 160"/>
                  <a:gd name="T3" fmla="*/ 72 h 303"/>
                  <a:gd name="T4" fmla="*/ 26 w 160"/>
                  <a:gd name="T5" fmla="*/ 100 h 303"/>
                  <a:gd name="T6" fmla="*/ 33 w 160"/>
                  <a:gd name="T7" fmla="*/ 136 h 303"/>
                  <a:gd name="T8" fmla="*/ 34 w 160"/>
                  <a:gd name="T9" fmla="*/ 171 h 303"/>
                  <a:gd name="T10" fmla="*/ 21 w 160"/>
                  <a:gd name="T11" fmla="*/ 259 h 303"/>
                  <a:gd name="T12" fmla="*/ 25 w 160"/>
                  <a:gd name="T13" fmla="*/ 272 h 303"/>
                  <a:gd name="T14" fmla="*/ 42 w 160"/>
                  <a:gd name="T15" fmla="*/ 291 h 303"/>
                  <a:gd name="T16" fmla="*/ 54 w 160"/>
                  <a:gd name="T17" fmla="*/ 302 h 303"/>
                  <a:gd name="T18" fmla="*/ 66 w 160"/>
                  <a:gd name="T19" fmla="*/ 303 h 303"/>
                  <a:gd name="T20" fmla="*/ 75 w 160"/>
                  <a:gd name="T21" fmla="*/ 293 h 303"/>
                  <a:gd name="T22" fmla="*/ 83 w 160"/>
                  <a:gd name="T23" fmla="*/ 277 h 303"/>
                  <a:gd name="T24" fmla="*/ 88 w 160"/>
                  <a:gd name="T25" fmla="*/ 270 h 303"/>
                  <a:gd name="T26" fmla="*/ 111 w 160"/>
                  <a:gd name="T27" fmla="*/ 268 h 303"/>
                  <a:gd name="T28" fmla="*/ 129 w 160"/>
                  <a:gd name="T29" fmla="*/ 280 h 303"/>
                  <a:gd name="T30" fmla="*/ 146 w 160"/>
                  <a:gd name="T31" fmla="*/ 238 h 303"/>
                  <a:gd name="T32" fmla="*/ 151 w 160"/>
                  <a:gd name="T33" fmla="*/ 206 h 303"/>
                  <a:gd name="T34" fmla="*/ 144 w 160"/>
                  <a:gd name="T35" fmla="*/ 150 h 303"/>
                  <a:gd name="T36" fmla="*/ 151 w 160"/>
                  <a:gd name="T37" fmla="*/ 120 h 303"/>
                  <a:gd name="T38" fmla="*/ 160 w 160"/>
                  <a:gd name="T39" fmla="*/ 102 h 303"/>
                  <a:gd name="T40" fmla="*/ 160 w 160"/>
                  <a:gd name="T41" fmla="*/ 86 h 303"/>
                  <a:gd name="T42" fmla="*/ 141 w 160"/>
                  <a:gd name="T43" fmla="*/ 39 h 303"/>
                  <a:gd name="T44" fmla="*/ 112 w 160"/>
                  <a:gd name="T45" fmla="*/ 0 h 303"/>
                  <a:gd name="T46" fmla="*/ 74 w 160"/>
                  <a:gd name="T47" fmla="*/ 33 h 303"/>
                  <a:gd name="T48" fmla="*/ 59 w 160"/>
                  <a:gd name="T49" fmla="*/ 44 h 303"/>
                  <a:gd name="T50" fmla="*/ 23 w 160"/>
                  <a:gd name="T51" fmla="*/ 44 h 303"/>
                  <a:gd name="T52" fmla="*/ 9 w 160"/>
                  <a:gd name="T53" fmla="*/ 46 h 303"/>
                  <a:gd name="T54" fmla="*/ 0 w 160"/>
                  <a:gd name="T55" fmla="*/ 54 h 303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160"/>
                  <a:gd name="T85" fmla="*/ 0 h 303"/>
                  <a:gd name="T86" fmla="*/ 160 w 160"/>
                  <a:gd name="T87" fmla="*/ 303 h 303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160" h="303">
                    <a:moveTo>
                      <a:pt x="0" y="54"/>
                    </a:moveTo>
                    <a:lnTo>
                      <a:pt x="5" y="72"/>
                    </a:lnTo>
                    <a:lnTo>
                      <a:pt x="26" y="100"/>
                    </a:lnTo>
                    <a:lnTo>
                      <a:pt x="33" y="136"/>
                    </a:lnTo>
                    <a:lnTo>
                      <a:pt x="34" y="171"/>
                    </a:lnTo>
                    <a:lnTo>
                      <a:pt x="21" y="259"/>
                    </a:lnTo>
                    <a:lnTo>
                      <a:pt x="25" y="272"/>
                    </a:lnTo>
                    <a:lnTo>
                      <a:pt x="42" y="291"/>
                    </a:lnTo>
                    <a:lnTo>
                      <a:pt x="54" y="302"/>
                    </a:lnTo>
                    <a:lnTo>
                      <a:pt x="66" y="303"/>
                    </a:lnTo>
                    <a:lnTo>
                      <a:pt x="75" y="293"/>
                    </a:lnTo>
                    <a:lnTo>
                      <a:pt x="83" y="277"/>
                    </a:lnTo>
                    <a:lnTo>
                      <a:pt x="88" y="270"/>
                    </a:lnTo>
                    <a:lnTo>
                      <a:pt x="111" y="268"/>
                    </a:lnTo>
                    <a:lnTo>
                      <a:pt x="129" y="280"/>
                    </a:lnTo>
                    <a:lnTo>
                      <a:pt x="146" y="238"/>
                    </a:lnTo>
                    <a:lnTo>
                      <a:pt x="151" y="206"/>
                    </a:lnTo>
                    <a:lnTo>
                      <a:pt x="144" y="150"/>
                    </a:lnTo>
                    <a:lnTo>
                      <a:pt x="151" y="120"/>
                    </a:lnTo>
                    <a:lnTo>
                      <a:pt x="160" y="102"/>
                    </a:lnTo>
                    <a:lnTo>
                      <a:pt x="160" y="86"/>
                    </a:lnTo>
                    <a:lnTo>
                      <a:pt x="141" y="39"/>
                    </a:lnTo>
                    <a:lnTo>
                      <a:pt x="112" y="0"/>
                    </a:lnTo>
                    <a:lnTo>
                      <a:pt x="74" y="33"/>
                    </a:lnTo>
                    <a:lnTo>
                      <a:pt x="59" y="44"/>
                    </a:lnTo>
                    <a:lnTo>
                      <a:pt x="23" y="44"/>
                    </a:lnTo>
                    <a:lnTo>
                      <a:pt x="9" y="46"/>
                    </a:lnTo>
                    <a:lnTo>
                      <a:pt x="0" y="54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52" name="Freeform 240"/>
              <p:cNvSpPr>
                <a:spLocks/>
              </p:cNvSpPr>
              <p:nvPr>
                <p:custDataLst>
                  <p:tags r:id="rId177"/>
                </p:custDataLst>
              </p:nvPr>
            </p:nvSpPr>
            <p:spPr bwMode="auto">
              <a:xfrm>
                <a:off x="2893" y="1901"/>
                <a:ext cx="46" cy="32"/>
              </a:xfrm>
              <a:custGeom>
                <a:avLst/>
                <a:gdLst>
                  <a:gd name="T0" fmla="*/ 69 w 316"/>
                  <a:gd name="T1" fmla="*/ 60 h 215"/>
                  <a:gd name="T2" fmla="*/ 26 w 316"/>
                  <a:gd name="T3" fmla="*/ 69 h 215"/>
                  <a:gd name="T4" fmla="*/ 5 w 316"/>
                  <a:gd name="T5" fmla="*/ 100 h 215"/>
                  <a:gd name="T6" fmla="*/ 25 w 316"/>
                  <a:gd name="T7" fmla="*/ 112 h 215"/>
                  <a:gd name="T8" fmla="*/ 24 w 316"/>
                  <a:gd name="T9" fmla="*/ 137 h 215"/>
                  <a:gd name="T10" fmla="*/ 34 w 316"/>
                  <a:gd name="T11" fmla="*/ 167 h 215"/>
                  <a:gd name="T12" fmla="*/ 45 w 316"/>
                  <a:gd name="T13" fmla="*/ 194 h 215"/>
                  <a:gd name="T14" fmla="*/ 21 w 316"/>
                  <a:gd name="T15" fmla="*/ 209 h 215"/>
                  <a:gd name="T16" fmla="*/ 38 w 316"/>
                  <a:gd name="T17" fmla="*/ 213 h 215"/>
                  <a:gd name="T18" fmla="*/ 54 w 316"/>
                  <a:gd name="T19" fmla="*/ 208 h 215"/>
                  <a:gd name="T20" fmla="*/ 61 w 316"/>
                  <a:gd name="T21" fmla="*/ 211 h 215"/>
                  <a:gd name="T22" fmla="*/ 65 w 316"/>
                  <a:gd name="T23" fmla="*/ 202 h 215"/>
                  <a:gd name="T24" fmla="*/ 69 w 316"/>
                  <a:gd name="T25" fmla="*/ 204 h 215"/>
                  <a:gd name="T26" fmla="*/ 90 w 316"/>
                  <a:gd name="T27" fmla="*/ 204 h 215"/>
                  <a:gd name="T28" fmla="*/ 106 w 316"/>
                  <a:gd name="T29" fmla="*/ 206 h 215"/>
                  <a:gd name="T30" fmla="*/ 115 w 316"/>
                  <a:gd name="T31" fmla="*/ 199 h 215"/>
                  <a:gd name="T32" fmla="*/ 116 w 316"/>
                  <a:gd name="T33" fmla="*/ 192 h 215"/>
                  <a:gd name="T34" fmla="*/ 119 w 316"/>
                  <a:gd name="T35" fmla="*/ 187 h 215"/>
                  <a:gd name="T36" fmla="*/ 123 w 316"/>
                  <a:gd name="T37" fmla="*/ 181 h 215"/>
                  <a:gd name="T38" fmla="*/ 124 w 316"/>
                  <a:gd name="T39" fmla="*/ 188 h 215"/>
                  <a:gd name="T40" fmla="*/ 132 w 316"/>
                  <a:gd name="T41" fmla="*/ 195 h 215"/>
                  <a:gd name="T42" fmla="*/ 139 w 316"/>
                  <a:gd name="T43" fmla="*/ 202 h 215"/>
                  <a:gd name="T44" fmla="*/ 151 w 316"/>
                  <a:gd name="T45" fmla="*/ 209 h 215"/>
                  <a:gd name="T46" fmla="*/ 156 w 316"/>
                  <a:gd name="T47" fmla="*/ 204 h 215"/>
                  <a:gd name="T48" fmla="*/ 161 w 316"/>
                  <a:gd name="T49" fmla="*/ 204 h 215"/>
                  <a:gd name="T50" fmla="*/ 168 w 316"/>
                  <a:gd name="T51" fmla="*/ 206 h 215"/>
                  <a:gd name="T52" fmla="*/ 176 w 316"/>
                  <a:gd name="T53" fmla="*/ 213 h 215"/>
                  <a:gd name="T54" fmla="*/ 192 w 316"/>
                  <a:gd name="T55" fmla="*/ 211 h 215"/>
                  <a:gd name="T56" fmla="*/ 196 w 316"/>
                  <a:gd name="T57" fmla="*/ 208 h 215"/>
                  <a:gd name="T58" fmla="*/ 194 w 316"/>
                  <a:gd name="T59" fmla="*/ 195 h 215"/>
                  <a:gd name="T60" fmla="*/ 193 w 316"/>
                  <a:gd name="T61" fmla="*/ 188 h 215"/>
                  <a:gd name="T62" fmla="*/ 197 w 316"/>
                  <a:gd name="T63" fmla="*/ 185 h 215"/>
                  <a:gd name="T64" fmla="*/ 197 w 316"/>
                  <a:gd name="T65" fmla="*/ 176 h 215"/>
                  <a:gd name="T66" fmla="*/ 193 w 316"/>
                  <a:gd name="T67" fmla="*/ 174 h 215"/>
                  <a:gd name="T68" fmla="*/ 199 w 316"/>
                  <a:gd name="T69" fmla="*/ 164 h 215"/>
                  <a:gd name="T70" fmla="*/ 208 w 316"/>
                  <a:gd name="T71" fmla="*/ 162 h 215"/>
                  <a:gd name="T72" fmla="*/ 221 w 316"/>
                  <a:gd name="T73" fmla="*/ 155 h 215"/>
                  <a:gd name="T74" fmla="*/ 230 w 316"/>
                  <a:gd name="T75" fmla="*/ 157 h 215"/>
                  <a:gd name="T76" fmla="*/ 233 w 316"/>
                  <a:gd name="T77" fmla="*/ 146 h 215"/>
                  <a:gd name="T78" fmla="*/ 233 w 316"/>
                  <a:gd name="T79" fmla="*/ 132 h 215"/>
                  <a:gd name="T80" fmla="*/ 225 w 316"/>
                  <a:gd name="T81" fmla="*/ 118 h 215"/>
                  <a:gd name="T82" fmla="*/ 222 w 316"/>
                  <a:gd name="T83" fmla="*/ 107 h 215"/>
                  <a:gd name="T84" fmla="*/ 231 w 316"/>
                  <a:gd name="T85" fmla="*/ 100 h 215"/>
                  <a:gd name="T86" fmla="*/ 241 w 316"/>
                  <a:gd name="T87" fmla="*/ 96 h 215"/>
                  <a:gd name="T88" fmla="*/ 262 w 316"/>
                  <a:gd name="T89" fmla="*/ 88 h 215"/>
                  <a:gd name="T90" fmla="*/ 269 w 316"/>
                  <a:gd name="T91" fmla="*/ 81 h 215"/>
                  <a:gd name="T92" fmla="*/ 275 w 316"/>
                  <a:gd name="T93" fmla="*/ 71 h 215"/>
                  <a:gd name="T94" fmla="*/ 288 w 316"/>
                  <a:gd name="T95" fmla="*/ 74 h 215"/>
                  <a:gd name="T96" fmla="*/ 287 w 316"/>
                  <a:gd name="T97" fmla="*/ 62 h 215"/>
                  <a:gd name="T98" fmla="*/ 290 w 316"/>
                  <a:gd name="T99" fmla="*/ 53 h 215"/>
                  <a:gd name="T100" fmla="*/ 310 w 316"/>
                  <a:gd name="T101" fmla="*/ 55 h 215"/>
                  <a:gd name="T102" fmla="*/ 316 w 316"/>
                  <a:gd name="T103" fmla="*/ 60 h 215"/>
                  <a:gd name="T104" fmla="*/ 287 w 316"/>
                  <a:gd name="T105" fmla="*/ 0 h 215"/>
                  <a:gd name="T106" fmla="*/ 259 w 316"/>
                  <a:gd name="T107" fmla="*/ 35 h 215"/>
                  <a:gd name="T108" fmla="*/ 206 w 316"/>
                  <a:gd name="T109" fmla="*/ 41 h 215"/>
                  <a:gd name="T110" fmla="*/ 144 w 316"/>
                  <a:gd name="T111" fmla="*/ 43 h 215"/>
                  <a:gd name="T112" fmla="*/ 103 w 316"/>
                  <a:gd name="T113" fmla="*/ 65 h 215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16"/>
                  <a:gd name="T172" fmla="*/ 0 h 215"/>
                  <a:gd name="T173" fmla="*/ 316 w 316"/>
                  <a:gd name="T174" fmla="*/ 215 h 215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16" h="215">
                    <a:moveTo>
                      <a:pt x="75" y="67"/>
                    </a:moveTo>
                    <a:lnTo>
                      <a:pt x="69" y="60"/>
                    </a:lnTo>
                    <a:lnTo>
                      <a:pt x="22" y="55"/>
                    </a:lnTo>
                    <a:lnTo>
                      <a:pt x="26" y="69"/>
                    </a:lnTo>
                    <a:lnTo>
                      <a:pt x="0" y="88"/>
                    </a:lnTo>
                    <a:lnTo>
                      <a:pt x="5" y="100"/>
                    </a:lnTo>
                    <a:lnTo>
                      <a:pt x="18" y="100"/>
                    </a:lnTo>
                    <a:lnTo>
                      <a:pt x="25" y="112"/>
                    </a:lnTo>
                    <a:lnTo>
                      <a:pt x="9" y="130"/>
                    </a:lnTo>
                    <a:lnTo>
                      <a:pt x="24" y="137"/>
                    </a:lnTo>
                    <a:lnTo>
                      <a:pt x="20" y="160"/>
                    </a:lnTo>
                    <a:lnTo>
                      <a:pt x="34" y="167"/>
                    </a:lnTo>
                    <a:lnTo>
                      <a:pt x="48" y="179"/>
                    </a:lnTo>
                    <a:lnTo>
                      <a:pt x="45" y="194"/>
                    </a:lnTo>
                    <a:lnTo>
                      <a:pt x="41" y="204"/>
                    </a:lnTo>
                    <a:lnTo>
                      <a:pt x="21" y="209"/>
                    </a:lnTo>
                    <a:lnTo>
                      <a:pt x="33" y="213"/>
                    </a:lnTo>
                    <a:lnTo>
                      <a:pt x="38" y="213"/>
                    </a:lnTo>
                    <a:lnTo>
                      <a:pt x="42" y="211"/>
                    </a:lnTo>
                    <a:lnTo>
                      <a:pt x="54" y="208"/>
                    </a:lnTo>
                    <a:lnTo>
                      <a:pt x="55" y="209"/>
                    </a:lnTo>
                    <a:lnTo>
                      <a:pt x="61" y="211"/>
                    </a:lnTo>
                    <a:lnTo>
                      <a:pt x="65" y="208"/>
                    </a:lnTo>
                    <a:lnTo>
                      <a:pt x="65" y="202"/>
                    </a:lnTo>
                    <a:lnTo>
                      <a:pt x="67" y="202"/>
                    </a:lnTo>
                    <a:lnTo>
                      <a:pt x="69" y="204"/>
                    </a:lnTo>
                    <a:lnTo>
                      <a:pt x="78" y="208"/>
                    </a:lnTo>
                    <a:lnTo>
                      <a:pt x="90" y="204"/>
                    </a:lnTo>
                    <a:lnTo>
                      <a:pt x="94" y="206"/>
                    </a:lnTo>
                    <a:lnTo>
                      <a:pt x="106" y="206"/>
                    </a:lnTo>
                    <a:lnTo>
                      <a:pt x="108" y="202"/>
                    </a:lnTo>
                    <a:lnTo>
                      <a:pt x="115" y="199"/>
                    </a:lnTo>
                    <a:lnTo>
                      <a:pt x="115" y="194"/>
                    </a:lnTo>
                    <a:lnTo>
                      <a:pt x="116" y="192"/>
                    </a:lnTo>
                    <a:lnTo>
                      <a:pt x="118" y="188"/>
                    </a:lnTo>
                    <a:lnTo>
                      <a:pt x="119" y="187"/>
                    </a:lnTo>
                    <a:lnTo>
                      <a:pt x="120" y="183"/>
                    </a:lnTo>
                    <a:lnTo>
                      <a:pt x="123" y="181"/>
                    </a:lnTo>
                    <a:lnTo>
                      <a:pt x="124" y="181"/>
                    </a:lnTo>
                    <a:lnTo>
                      <a:pt x="124" y="188"/>
                    </a:lnTo>
                    <a:lnTo>
                      <a:pt x="128" y="190"/>
                    </a:lnTo>
                    <a:lnTo>
                      <a:pt x="132" y="195"/>
                    </a:lnTo>
                    <a:lnTo>
                      <a:pt x="132" y="201"/>
                    </a:lnTo>
                    <a:lnTo>
                      <a:pt x="139" y="202"/>
                    </a:lnTo>
                    <a:lnTo>
                      <a:pt x="144" y="209"/>
                    </a:lnTo>
                    <a:lnTo>
                      <a:pt x="151" y="209"/>
                    </a:lnTo>
                    <a:lnTo>
                      <a:pt x="155" y="208"/>
                    </a:lnTo>
                    <a:lnTo>
                      <a:pt x="156" y="204"/>
                    </a:lnTo>
                    <a:lnTo>
                      <a:pt x="156" y="202"/>
                    </a:lnTo>
                    <a:lnTo>
                      <a:pt x="161" y="204"/>
                    </a:lnTo>
                    <a:lnTo>
                      <a:pt x="165" y="206"/>
                    </a:lnTo>
                    <a:lnTo>
                      <a:pt x="168" y="206"/>
                    </a:lnTo>
                    <a:lnTo>
                      <a:pt x="172" y="211"/>
                    </a:lnTo>
                    <a:lnTo>
                      <a:pt x="176" y="213"/>
                    </a:lnTo>
                    <a:lnTo>
                      <a:pt x="181" y="215"/>
                    </a:lnTo>
                    <a:lnTo>
                      <a:pt x="192" y="211"/>
                    </a:lnTo>
                    <a:lnTo>
                      <a:pt x="193" y="211"/>
                    </a:lnTo>
                    <a:lnTo>
                      <a:pt x="196" y="208"/>
                    </a:lnTo>
                    <a:lnTo>
                      <a:pt x="194" y="201"/>
                    </a:lnTo>
                    <a:lnTo>
                      <a:pt x="194" y="195"/>
                    </a:lnTo>
                    <a:lnTo>
                      <a:pt x="192" y="190"/>
                    </a:lnTo>
                    <a:lnTo>
                      <a:pt x="193" y="188"/>
                    </a:lnTo>
                    <a:lnTo>
                      <a:pt x="196" y="187"/>
                    </a:lnTo>
                    <a:lnTo>
                      <a:pt x="197" y="185"/>
                    </a:lnTo>
                    <a:lnTo>
                      <a:pt x="199" y="181"/>
                    </a:lnTo>
                    <a:lnTo>
                      <a:pt x="197" y="176"/>
                    </a:lnTo>
                    <a:lnTo>
                      <a:pt x="196" y="174"/>
                    </a:lnTo>
                    <a:lnTo>
                      <a:pt x="193" y="174"/>
                    </a:lnTo>
                    <a:lnTo>
                      <a:pt x="192" y="172"/>
                    </a:lnTo>
                    <a:lnTo>
                      <a:pt x="199" y="164"/>
                    </a:lnTo>
                    <a:lnTo>
                      <a:pt x="204" y="162"/>
                    </a:lnTo>
                    <a:lnTo>
                      <a:pt x="208" y="162"/>
                    </a:lnTo>
                    <a:lnTo>
                      <a:pt x="213" y="158"/>
                    </a:lnTo>
                    <a:lnTo>
                      <a:pt x="221" y="155"/>
                    </a:lnTo>
                    <a:lnTo>
                      <a:pt x="225" y="157"/>
                    </a:lnTo>
                    <a:lnTo>
                      <a:pt x="230" y="157"/>
                    </a:lnTo>
                    <a:lnTo>
                      <a:pt x="231" y="149"/>
                    </a:lnTo>
                    <a:lnTo>
                      <a:pt x="233" y="146"/>
                    </a:lnTo>
                    <a:lnTo>
                      <a:pt x="234" y="137"/>
                    </a:lnTo>
                    <a:lnTo>
                      <a:pt x="233" y="132"/>
                    </a:lnTo>
                    <a:lnTo>
                      <a:pt x="233" y="128"/>
                    </a:lnTo>
                    <a:lnTo>
                      <a:pt x="225" y="118"/>
                    </a:lnTo>
                    <a:lnTo>
                      <a:pt x="222" y="112"/>
                    </a:lnTo>
                    <a:lnTo>
                      <a:pt x="222" y="107"/>
                    </a:lnTo>
                    <a:lnTo>
                      <a:pt x="226" y="104"/>
                    </a:lnTo>
                    <a:lnTo>
                      <a:pt x="231" y="100"/>
                    </a:lnTo>
                    <a:lnTo>
                      <a:pt x="239" y="100"/>
                    </a:lnTo>
                    <a:lnTo>
                      <a:pt x="241" y="96"/>
                    </a:lnTo>
                    <a:lnTo>
                      <a:pt x="258" y="88"/>
                    </a:lnTo>
                    <a:lnTo>
                      <a:pt x="262" y="88"/>
                    </a:lnTo>
                    <a:lnTo>
                      <a:pt x="266" y="85"/>
                    </a:lnTo>
                    <a:lnTo>
                      <a:pt x="269" y="81"/>
                    </a:lnTo>
                    <a:lnTo>
                      <a:pt x="270" y="76"/>
                    </a:lnTo>
                    <a:lnTo>
                      <a:pt x="275" y="71"/>
                    </a:lnTo>
                    <a:lnTo>
                      <a:pt x="279" y="74"/>
                    </a:lnTo>
                    <a:lnTo>
                      <a:pt x="288" y="74"/>
                    </a:lnTo>
                    <a:lnTo>
                      <a:pt x="288" y="69"/>
                    </a:lnTo>
                    <a:lnTo>
                      <a:pt x="287" y="62"/>
                    </a:lnTo>
                    <a:lnTo>
                      <a:pt x="287" y="58"/>
                    </a:lnTo>
                    <a:lnTo>
                      <a:pt x="290" y="53"/>
                    </a:lnTo>
                    <a:lnTo>
                      <a:pt x="303" y="53"/>
                    </a:lnTo>
                    <a:lnTo>
                      <a:pt x="310" y="55"/>
                    </a:lnTo>
                    <a:lnTo>
                      <a:pt x="315" y="60"/>
                    </a:lnTo>
                    <a:lnTo>
                      <a:pt x="316" y="60"/>
                    </a:lnTo>
                    <a:lnTo>
                      <a:pt x="300" y="39"/>
                    </a:lnTo>
                    <a:lnTo>
                      <a:pt x="287" y="0"/>
                    </a:lnTo>
                    <a:lnTo>
                      <a:pt x="255" y="11"/>
                    </a:lnTo>
                    <a:lnTo>
                      <a:pt x="259" y="35"/>
                    </a:lnTo>
                    <a:lnTo>
                      <a:pt x="220" y="28"/>
                    </a:lnTo>
                    <a:lnTo>
                      <a:pt x="206" y="41"/>
                    </a:lnTo>
                    <a:lnTo>
                      <a:pt x="169" y="35"/>
                    </a:lnTo>
                    <a:lnTo>
                      <a:pt x="144" y="43"/>
                    </a:lnTo>
                    <a:lnTo>
                      <a:pt x="116" y="76"/>
                    </a:lnTo>
                    <a:lnTo>
                      <a:pt x="103" y="65"/>
                    </a:lnTo>
                    <a:lnTo>
                      <a:pt x="75" y="67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53" name="Freeform 241"/>
              <p:cNvSpPr>
                <a:spLocks/>
              </p:cNvSpPr>
              <p:nvPr>
                <p:custDataLst>
                  <p:tags r:id="rId178"/>
                </p:custDataLst>
              </p:nvPr>
            </p:nvSpPr>
            <p:spPr bwMode="auto">
              <a:xfrm>
                <a:off x="2895" y="1910"/>
                <a:ext cx="87" cy="76"/>
              </a:xfrm>
              <a:custGeom>
                <a:avLst/>
                <a:gdLst>
                  <a:gd name="T0" fmla="*/ 307 w 579"/>
                  <a:gd name="T1" fmla="*/ 21 h 520"/>
                  <a:gd name="T2" fmla="*/ 285 w 579"/>
                  <a:gd name="T3" fmla="*/ 0 h 520"/>
                  <a:gd name="T4" fmla="*/ 270 w 579"/>
                  <a:gd name="T5" fmla="*/ 16 h 520"/>
                  <a:gd name="T6" fmla="*/ 252 w 579"/>
                  <a:gd name="T7" fmla="*/ 23 h 520"/>
                  <a:gd name="T8" fmla="*/ 240 w 579"/>
                  <a:gd name="T9" fmla="*/ 35 h 520"/>
                  <a:gd name="T10" fmla="*/ 208 w 579"/>
                  <a:gd name="T11" fmla="*/ 51 h 520"/>
                  <a:gd name="T12" fmla="*/ 215 w 579"/>
                  <a:gd name="T13" fmla="*/ 75 h 520"/>
                  <a:gd name="T14" fmla="*/ 213 w 579"/>
                  <a:gd name="T15" fmla="*/ 96 h 520"/>
                  <a:gd name="T16" fmla="*/ 195 w 579"/>
                  <a:gd name="T17" fmla="*/ 105 h 520"/>
                  <a:gd name="T18" fmla="*/ 174 w 579"/>
                  <a:gd name="T19" fmla="*/ 119 h 520"/>
                  <a:gd name="T20" fmla="*/ 181 w 579"/>
                  <a:gd name="T21" fmla="*/ 128 h 520"/>
                  <a:gd name="T22" fmla="*/ 174 w 579"/>
                  <a:gd name="T23" fmla="*/ 137 h 520"/>
                  <a:gd name="T24" fmla="*/ 175 w 579"/>
                  <a:gd name="T25" fmla="*/ 158 h 520"/>
                  <a:gd name="T26" fmla="*/ 154 w 579"/>
                  <a:gd name="T27" fmla="*/ 158 h 520"/>
                  <a:gd name="T28" fmla="*/ 138 w 579"/>
                  <a:gd name="T29" fmla="*/ 149 h 520"/>
                  <a:gd name="T30" fmla="*/ 126 w 579"/>
                  <a:gd name="T31" fmla="*/ 156 h 520"/>
                  <a:gd name="T32" fmla="*/ 110 w 579"/>
                  <a:gd name="T33" fmla="*/ 137 h 520"/>
                  <a:gd name="T34" fmla="*/ 102 w 579"/>
                  <a:gd name="T35" fmla="*/ 130 h 520"/>
                  <a:gd name="T36" fmla="*/ 97 w 579"/>
                  <a:gd name="T37" fmla="*/ 141 h 520"/>
                  <a:gd name="T38" fmla="*/ 76 w 579"/>
                  <a:gd name="T39" fmla="*/ 153 h 520"/>
                  <a:gd name="T40" fmla="*/ 49 w 579"/>
                  <a:gd name="T41" fmla="*/ 149 h 520"/>
                  <a:gd name="T42" fmla="*/ 37 w 579"/>
                  <a:gd name="T43" fmla="*/ 156 h 520"/>
                  <a:gd name="T44" fmla="*/ 15 w 579"/>
                  <a:gd name="T45" fmla="*/ 160 h 520"/>
                  <a:gd name="T46" fmla="*/ 15 w 579"/>
                  <a:gd name="T47" fmla="*/ 217 h 520"/>
                  <a:gd name="T48" fmla="*/ 65 w 579"/>
                  <a:gd name="T49" fmla="*/ 231 h 520"/>
                  <a:gd name="T50" fmla="*/ 98 w 579"/>
                  <a:gd name="T51" fmla="*/ 185 h 520"/>
                  <a:gd name="T52" fmla="*/ 143 w 579"/>
                  <a:gd name="T53" fmla="*/ 289 h 520"/>
                  <a:gd name="T54" fmla="*/ 186 w 579"/>
                  <a:gd name="T55" fmla="*/ 375 h 520"/>
                  <a:gd name="T56" fmla="*/ 297 w 579"/>
                  <a:gd name="T57" fmla="*/ 444 h 520"/>
                  <a:gd name="T58" fmla="*/ 395 w 579"/>
                  <a:gd name="T59" fmla="*/ 520 h 520"/>
                  <a:gd name="T60" fmla="*/ 378 w 579"/>
                  <a:gd name="T61" fmla="*/ 476 h 520"/>
                  <a:gd name="T62" fmla="*/ 362 w 579"/>
                  <a:gd name="T63" fmla="*/ 442 h 520"/>
                  <a:gd name="T64" fmla="*/ 313 w 579"/>
                  <a:gd name="T65" fmla="*/ 400 h 520"/>
                  <a:gd name="T66" fmla="*/ 276 w 579"/>
                  <a:gd name="T67" fmla="*/ 354 h 520"/>
                  <a:gd name="T68" fmla="*/ 261 w 579"/>
                  <a:gd name="T69" fmla="*/ 322 h 520"/>
                  <a:gd name="T70" fmla="*/ 253 w 579"/>
                  <a:gd name="T71" fmla="*/ 296 h 520"/>
                  <a:gd name="T72" fmla="*/ 228 w 579"/>
                  <a:gd name="T73" fmla="*/ 264 h 520"/>
                  <a:gd name="T74" fmla="*/ 224 w 579"/>
                  <a:gd name="T75" fmla="*/ 243 h 520"/>
                  <a:gd name="T76" fmla="*/ 225 w 579"/>
                  <a:gd name="T77" fmla="*/ 194 h 520"/>
                  <a:gd name="T78" fmla="*/ 269 w 579"/>
                  <a:gd name="T79" fmla="*/ 222 h 520"/>
                  <a:gd name="T80" fmla="*/ 294 w 579"/>
                  <a:gd name="T81" fmla="*/ 194 h 520"/>
                  <a:gd name="T82" fmla="*/ 331 w 579"/>
                  <a:gd name="T83" fmla="*/ 188 h 520"/>
                  <a:gd name="T84" fmla="*/ 364 w 579"/>
                  <a:gd name="T85" fmla="*/ 202 h 520"/>
                  <a:gd name="T86" fmla="*/ 391 w 579"/>
                  <a:gd name="T87" fmla="*/ 208 h 520"/>
                  <a:gd name="T88" fmla="*/ 425 w 579"/>
                  <a:gd name="T89" fmla="*/ 217 h 520"/>
                  <a:gd name="T90" fmla="*/ 448 w 579"/>
                  <a:gd name="T91" fmla="*/ 209 h 520"/>
                  <a:gd name="T92" fmla="*/ 472 w 579"/>
                  <a:gd name="T93" fmla="*/ 208 h 520"/>
                  <a:gd name="T94" fmla="*/ 497 w 579"/>
                  <a:gd name="T95" fmla="*/ 209 h 520"/>
                  <a:gd name="T96" fmla="*/ 518 w 579"/>
                  <a:gd name="T97" fmla="*/ 231 h 520"/>
                  <a:gd name="T98" fmla="*/ 538 w 579"/>
                  <a:gd name="T99" fmla="*/ 245 h 520"/>
                  <a:gd name="T100" fmla="*/ 546 w 579"/>
                  <a:gd name="T101" fmla="*/ 236 h 520"/>
                  <a:gd name="T102" fmla="*/ 548 w 579"/>
                  <a:gd name="T103" fmla="*/ 218 h 520"/>
                  <a:gd name="T104" fmla="*/ 555 w 579"/>
                  <a:gd name="T105" fmla="*/ 199 h 520"/>
                  <a:gd name="T106" fmla="*/ 564 w 579"/>
                  <a:gd name="T107" fmla="*/ 197 h 520"/>
                  <a:gd name="T108" fmla="*/ 579 w 579"/>
                  <a:gd name="T109" fmla="*/ 195 h 520"/>
                  <a:gd name="T110" fmla="*/ 553 w 579"/>
                  <a:gd name="T111" fmla="*/ 185 h 520"/>
                  <a:gd name="T112" fmla="*/ 535 w 579"/>
                  <a:gd name="T113" fmla="*/ 167 h 520"/>
                  <a:gd name="T114" fmla="*/ 539 w 579"/>
                  <a:gd name="T115" fmla="*/ 151 h 520"/>
                  <a:gd name="T116" fmla="*/ 538 w 579"/>
                  <a:gd name="T117" fmla="*/ 144 h 520"/>
                  <a:gd name="T118" fmla="*/ 532 w 579"/>
                  <a:gd name="T119" fmla="*/ 128 h 520"/>
                  <a:gd name="T120" fmla="*/ 528 w 579"/>
                  <a:gd name="T121" fmla="*/ 104 h 520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579"/>
                  <a:gd name="T184" fmla="*/ 0 h 520"/>
                  <a:gd name="T185" fmla="*/ 579 w 579"/>
                  <a:gd name="T186" fmla="*/ 520 h 520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579" h="520">
                    <a:moveTo>
                      <a:pt x="445" y="112"/>
                    </a:moveTo>
                    <a:lnTo>
                      <a:pt x="418" y="105"/>
                    </a:lnTo>
                    <a:lnTo>
                      <a:pt x="370" y="63"/>
                    </a:lnTo>
                    <a:lnTo>
                      <a:pt x="307" y="21"/>
                    </a:lnTo>
                    <a:lnTo>
                      <a:pt x="298" y="7"/>
                    </a:lnTo>
                    <a:lnTo>
                      <a:pt x="297" y="7"/>
                    </a:lnTo>
                    <a:lnTo>
                      <a:pt x="292" y="2"/>
                    </a:lnTo>
                    <a:lnTo>
                      <a:pt x="285" y="0"/>
                    </a:lnTo>
                    <a:lnTo>
                      <a:pt x="272" y="0"/>
                    </a:lnTo>
                    <a:lnTo>
                      <a:pt x="269" y="5"/>
                    </a:lnTo>
                    <a:lnTo>
                      <a:pt x="269" y="9"/>
                    </a:lnTo>
                    <a:lnTo>
                      <a:pt x="270" y="16"/>
                    </a:lnTo>
                    <a:lnTo>
                      <a:pt x="270" y="21"/>
                    </a:lnTo>
                    <a:lnTo>
                      <a:pt x="261" y="21"/>
                    </a:lnTo>
                    <a:lnTo>
                      <a:pt x="257" y="18"/>
                    </a:lnTo>
                    <a:lnTo>
                      <a:pt x="252" y="23"/>
                    </a:lnTo>
                    <a:lnTo>
                      <a:pt x="251" y="28"/>
                    </a:lnTo>
                    <a:lnTo>
                      <a:pt x="248" y="32"/>
                    </a:lnTo>
                    <a:lnTo>
                      <a:pt x="244" y="35"/>
                    </a:lnTo>
                    <a:lnTo>
                      <a:pt x="240" y="35"/>
                    </a:lnTo>
                    <a:lnTo>
                      <a:pt x="223" y="43"/>
                    </a:lnTo>
                    <a:lnTo>
                      <a:pt x="221" y="47"/>
                    </a:lnTo>
                    <a:lnTo>
                      <a:pt x="213" y="47"/>
                    </a:lnTo>
                    <a:lnTo>
                      <a:pt x="208" y="51"/>
                    </a:lnTo>
                    <a:lnTo>
                      <a:pt x="204" y="54"/>
                    </a:lnTo>
                    <a:lnTo>
                      <a:pt x="204" y="59"/>
                    </a:lnTo>
                    <a:lnTo>
                      <a:pt x="207" y="65"/>
                    </a:lnTo>
                    <a:lnTo>
                      <a:pt x="215" y="75"/>
                    </a:lnTo>
                    <a:lnTo>
                      <a:pt x="215" y="79"/>
                    </a:lnTo>
                    <a:lnTo>
                      <a:pt x="216" y="84"/>
                    </a:lnTo>
                    <a:lnTo>
                      <a:pt x="215" y="93"/>
                    </a:lnTo>
                    <a:lnTo>
                      <a:pt x="213" y="96"/>
                    </a:lnTo>
                    <a:lnTo>
                      <a:pt x="212" y="104"/>
                    </a:lnTo>
                    <a:lnTo>
                      <a:pt x="207" y="104"/>
                    </a:lnTo>
                    <a:lnTo>
                      <a:pt x="203" y="102"/>
                    </a:lnTo>
                    <a:lnTo>
                      <a:pt x="195" y="105"/>
                    </a:lnTo>
                    <a:lnTo>
                      <a:pt x="190" y="109"/>
                    </a:lnTo>
                    <a:lnTo>
                      <a:pt x="186" y="109"/>
                    </a:lnTo>
                    <a:lnTo>
                      <a:pt x="181" y="111"/>
                    </a:lnTo>
                    <a:lnTo>
                      <a:pt x="174" y="119"/>
                    </a:lnTo>
                    <a:lnTo>
                      <a:pt x="175" y="121"/>
                    </a:lnTo>
                    <a:lnTo>
                      <a:pt x="178" y="121"/>
                    </a:lnTo>
                    <a:lnTo>
                      <a:pt x="179" y="123"/>
                    </a:lnTo>
                    <a:lnTo>
                      <a:pt x="181" y="128"/>
                    </a:lnTo>
                    <a:lnTo>
                      <a:pt x="179" y="132"/>
                    </a:lnTo>
                    <a:lnTo>
                      <a:pt x="178" y="134"/>
                    </a:lnTo>
                    <a:lnTo>
                      <a:pt x="175" y="135"/>
                    </a:lnTo>
                    <a:lnTo>
                      <a:pt x="174" y="137"/>
                    </a:lnTo>
                    <a:lnTo>
                      <a:pt x="176" y="142"/>
                    </a:lnTo>
                    <a:lnTo>
                      <a:pt x="176" y="148"/>
                    </a:lnTo>
                    <a:lnTo>
                      <a:pt x="178" y="155"/>
                    </a:lnTo>
                    <a:lnTo>
                      <a:pt x="175" y="158"/>
                    </a:lnTo>
                    <a:lnTo>
                      <a:pt x="174" y="158"/>
                    </a:lnTo>
                    <a:lnTo>
                      <a:pt x="163" y="162"/>
                    </a:lnTo>
                    <a:lnTo>
                      <a:pt x="158" y="160"/>
                    </a:lnTo>
                    <a:lnTo>
                      <a:pt x="154" y="158"/>
                    </a:lnTo>
                    <a:lnTo>
                      <a:pt x="150" y="153"/>
                    </a:lnTo>
                    <a:lnTo>
                      <a:pt x="147" y="153"/>
                    </a:lnTo>
                    <a:lnTo>
                      <a:pt x="143" y="151"/>
                    </a:lnTo>
                    <a:lnTo>
                      <a:pt x="138" y="149"/>
                    </a:lnTo>
                    <a:lnTo>
                      <a:pt x="138" y="151"/>
                    </a:lnTo>
                    <a:lnTo>
                      <a:pt x="137" y="155"/>
                    </a:lnTo>
                    <a:lnTo>
                      <a:pt x="133" y="156"/>
                    </a:lnTo>
                    <a:lnTo>
                      <a:pt x="126" y="156"/>
                    </a:lnTo>
                    <a:lnTo>
                      <a:pt x="121" y="149"/>
                    </a:lnTo>
                    <a:lnTo>
                      <a:pt x="114" y="148"/>
                    </a:lnTo>
                    <a:lnTo>
                      <a:pt x="114" y="142"/>
                    </a:lnTo>
                    <a:lnTo>
                      <a:pt x="110" y="137"/>
                    </a:lnTo>
                    <a:lnTo>
                      <a:pt x="106" y="135"/>
                    </a:lnTo>
                    <a:lnTo>
                      <a:pt x="106" y="128"/>
                    </a:lnTo>
                    <a:lnTo>
                      <a:pt x="105" y="128"/>
                    </a:lnTo>
                    <a:lnTo>
                      <a:pt x="102" y="130"/>
                    </a:lnTo>
                    <a:lnTo>
                      <a:pt x="101" y="134"/>
                    </a:lnTo>
                    <a:lnTo>
                      <a:pt x="100" y="135"/>
                    </a:lnTo>
                    <a:lnTo>
                      <a:pt x="98" y="139"/>
                    </a:lnTo>
                    <a:lnTo>
                      <a:pt x="97" y="141"/>
                    </a:lnTo>
                    <a:lnTo>
                      <a:pt x="97" y="146"/>
                    </a:lnTo>
                    <a:lnTo>
                      <a:pt x="90" y="149"/>
                    </a:lnTo>
                    <a:lnTo>
                      <a:pt x="88" y="153"/>
                    </a:lnTo>
                    <a:lnTo>
                      <a:pt x="76" y="153"/>
                    </a:lnTo>
                    <a:lnTo>
                      <a:pt x="72" y="151"/>
                    </a:lnTo>
                    <a:lnTo>
                      <a:pt x="60" y="155"/>
                    </a:lnTo>
                    <a:lnTo>
                      <a:pt x="51" y="151"/>
                    </a:lnTo>
                    <a:lnTo>
                      <a:pt x="49" y="149"/>
                    </a:lnTo>
                    <a:lnTo>
                      <a:pt x="47" y="149"/>
                    </a:lnTo>
                    <a:lnTo>
                      <a:pt x="47" y="155"/>
                    </a:lnTo>
                    <a:lnTo>
                      <a:pt x="43" y="158"/>
                    </a:lnTo>
                    <a:lnTo>
                      <a:pt x="37" y="156"/>
                    </a:lnTo>
                    <a:lnTo>
                      <a:pt x="36" y="155"/>
                    </a:lnTo>
                    <a:lnTo>
                      <a:pt x="24" y="158"/>
                    </a:lnTo>
                    <a:lnTo>
                      <a:pt x="20" y="160"/>
                    </a:lnTo>
                    <a:lnTo>
                      <a:pt x="15" y="160"/>
                    </a:lnTo>
                    <a:lnTo>
                      <a:pt x="3" y="156"/>
                    </a:lnTo>
                    <a:lnTo>
                      <a:pt x="0" y="156"/>
                    </a:lnTo>
                    <a:lnTo>
                      <a:pt x="12" y="197"/>
                    </a:lnTo>
                    <a:lnTo>
                      <a:pt x="15" y="217"/>
                    </a:lnTo>
                    <a:lnTo>
                      <a:pt x="37" y="257"/>
                    </a:lnTo>
                    <a:lnTo>
                      <a:pt x="47" y="254"/>
                    </a:lnTo>
                    <a:lnTo>
                      <a:pt x="52" y="238"/>
                    </a:lnTo>
                    <a:lnTo>
                      <a:pt x="65" y="231"/>
                    </a:lnTo>
                    <a:lnTo>
                      <a:pt x="64" y="222"/>
                    </a:lnTo>
                    <a:lnTo>
                      <a:pt x="69" y="215"/>
                    </a:lnTo>
                    <a:lnTo>
                      <a:pt x="81" y="176"/>
                    </a:lnTo>
                    <a:lnTo>
                      <a:pt x="98" y="185"/>
                    </a:lnTo>
                    <a:lnTo>
                      <a:pt x="126" y="211"/>
                    </a:lnTo>
                    <a:lnTo>
                      <a:pt x="139" y="234"/>
                    </a:lnTo>
                    <a:lnTo>
                      <a:pt x="135" y="262"/>
                    </a:lnTo>
                    <a:lnTo>
                      <a:pt x="143" y="289"/>
                    </a:lnTo>
                    <a:lnTo>
                      <a:pt x="174" y="319"/>
                    </a:lnTo>
                    <a:lnTo>
                      <a:pt x="199" y="333"/>
                    </a:lnTo>
                    <a:lnTo>
                      <a:pt x="159" y="333"/>
                    </a:lnTo>
                    <a:lnTo>
                      <a:pt x="186" y="375"/>
                    </a:lnTo>
                    <a:lnTo>
                      <a:pt x="235" y="416"/>
                    </a:lnTo>
                    <a:lnTo>
                      <a:pt x="249" y="448"/>
                    </a:lnTo>
                    <a:lnTo>
                      <a:pt x="278" y="435"/>
                    </a:lnTo>
                    <a:lnTo>
                      <a:pt x="297" y="444"/>
                    </a:lnTo>
                    <a:lnTo>
                      <a:pt x="306" y="453"/>
                    </a:lnTo>
                    <a:lnTo>
                      <a:pt x="339" y="464"/>
                    </a:lnTo>
                    <a:lnTo>
                      <a:pt x="348" y="478"/>
                    </a:lnTo>
                    <a:lnTo>
                      <a:pt x="395" y="520"/>
                    </a:lnTo>
                    <a:lnTo>
                      <a:pt x="408" y="515"/>
                    </a:lnTo>
                    <a:lnTo>
                      <a:pt x="405" y="501"/>
                    </a:lnTo>
                    <a:lnTo>
                      <a:pt x="393" y="494"/>
                    </a:lnTo>
                    <a:lnTo>
                      <a:pt x="378" y="476"/>
                    </a:lnTo>
                    <a:lnTo>
                      <a:pt x="370" y="471"/>
                    </a:lnTo>
                    <a:lnTo>
                      <a:pt x="366" y="453"/>
                    </a:lnTo>
                    <a:lnTo>
                      <a:pt x="366" y="446"/>
                    </a:lnTo>
                    <a:lnTo>
                      <a:pt x="362" y="442"/>
                    </a:lnTo>
                    <a:lnTo>
                      <a:pt x="351" y="437"/>
                    </a:lnTo>
                    <a:lnTo>
                      <a:pt x="343" y="430"/>
                    </a:lnTo>
                    <a:lnTo>
                      <a:pt x="325" y="407"/>
                    </a:lnTo>
                    <a:lnTo>
                      <a:pt x="313" y="400"/>
                    </a:lnTo>
                    <a:lnTo>
                      <a:pt x="311" y="388"/>
                    </a:lnTo>
                    <a:lnTo>
                      <a:pt x="295" y="365"/>
                    </a:lnTo>
                    <a:lnTo>
                      <a:pt x="281" y="361"/>
                    </a:lnTo>
                    <a:lnTo>
                      <a:pt x="276" y="354"/>
                    </a:lnTo>
                    <a:lnTo>
                      <a:pt x="270" y="338"/>
                    </a:lnTo>
                    <a:lnTo>
                      <a:pt x="262" y="338"/>
                    </a:lnTo>
                    <a:lnTo>
                      <a:pt x="261" y="329"/>
                    </a:lnTo>
                    <a:lnTo>
                      <a:pt x="261" y="322"/>
                    </a:lnTo>
                    <a:lnTo>
                      <a:pt x="265" y="319"/>
                    </a:lnTo>
                    <a:lnTo>
                      <a:pt x="258" y="312"/>
                    </a:lnTo>
                    <a:lnTo>
                      <a:pt x="257" y="305"/>
                    </a:lnTo>
                    <a:lnTo>
                      <a:pt x="253" y="296"/>
                    </a:lnTo>
                    <a:lnTo>
                      <a:pt x="246" y="280"/>
                    </a:lnTo>
                    <a:lnTo>
                      <a:pt x="239" y="269"/>
                    </a:lnTo>
                    <a:lnTo>
                      <a:pt x="235" y="268"/>
                    </a:lnTo>
                    <a:lnTo>
                      <a:pt x="228" y="264"/>
                    </a:lnTo>
                    <a:lnTo>
                      <a:pt x="225" y="259"/>
                    </a:lnTo>
                    <a:lnTo>
                      <a:pt x="220" y="254"/>
                    </a:lnTo>
                    <a:lnTo>
                      <a:pt x="218" y="248"/>
                    </a:lnTo>
                    <a:lnTo>
                      <a:pt x="224" y="243"/>
                    </a:lnTo>
                    <a:lnTo>
                      <a:pt x="223" y="231"/>
                    </a:lnTo>
                    <a:lnTo>
                      <a:pt x="223" y="225"/>
                    </a:lnTo>
                    <a:lnTo>
                      <a:pt x="220" y="217"/>
                    </a:lnTo>
                    <a:lnTo>
                      <a:pt x="225" y="194"/>
                    </a:lnTo>
                    <a:lnTo>
                      <a:pt x="232" y="190"/>
                    </a:lnTo>
                    <a:lnTo>
                      <a:pt x="245" y="194"/>
                    </a:lnTo>
                    <a:lnTo>
                      <a:pt x="257" y="213"/>
                    </a:lnTo>
                    <a:lnTo>
                      <a:pt x="269" y="222"/>
                    </a:lnTo>
                    <a:lnTo>
                      <a:pt x="277" y="224"/>
                    </a:lnTo>
                    <a:lnTo>
                      <a:pt x="282" y="209"/>
                    </a:lnTo>
                    <a:lnTo>
                      <a:pt x="289" y="201"/>
                    </a:lnTo>
                    <a:lnTo>
                      <a:pt x="294" y="194"/>
                    </a:lnTo>
                    <a:lnTo>
                      <a:pt x="302" y="192"/>
                    </a:lnTo>
                    <a:lnTo>
                      <a:pt x="319" y="195"/>
                    </a:lnTo>
                    <a:lnTo>
                      <a:pt x="325" y="195"/>
                    </a:lnTo>
                    <a:lnTo>
                      <a:pt x="331" y="188"/>
                    </a:lnTo>
                    <a:lnTo>
                      <a:pt x="334" y="188"/>
                    </a:lnTo>
                    <a:lnTo>
                      <a:pt x="358" y="201"/>
                    </a:lnTo>
                    <a:lnTo>
                      <a:pt x="360" y="204"/>
                    </a:lnTo>
                    <a:lnTo>
                      <a:pt x="364" y="202"/>
                    </a:lnTo>
                    <a:lnTo>
                      <a:pt x="370" y="197"/>
                    </a:lnTo>
                    <a:lnTo>
                      <a:pt x="375" y="202"/>
                    </a:lnTo>
                    <a:lnTo>
                      <a:pt x="383" y="204"/>
                    </a:lnTo>
                    <a:lnTo>
                      <a:pt x="391" y="208"/>
                    </a:lnTo>
                    <a:lnTo>
                      <a:pt x="399" y="208"/>
                    </a:lnTo>
                    <a:lnTo>
                      <a:pt x="407" y="206"/>
                    </a:lnTo>
                    <a:lnTo>
                      <a:pt x="418" y="211"/>
                    </a:lnTo>
                    <a:lnTo>
                      <a:pt x="425" y="217"/>
                    </a:lnTo>
                    <a:lnTo>
                      <a:pt x="433" y="211"/>
                    </a:lnTo>
                    <a:lnTo>
                      <a:pt x="437" y="206"/>
                    </a:lnTo>
                    <a:lnTo>
                      <a:pt x="444" y="206"/>
                    </a:lnTo>
                    <a:lnTo>
                      <a:pt x="448" y="209"/>
                    </a:lnTo>
                    <a:lnTo>
                      <a:pt x="454" y="213"/>
                    </a:lnTo>
                    <a:lnTo>
                      <a:pt x="460" y="209"/>
                    </a:lnTo>
                    <a:lnTo>
                      <a:pt x="464" y="206"/>
                    </a:lnTo>
                    <a:lnTo>
                      <a:pt x="472" y="208"/>
                    </a:lnTo>
                    <a:lnTo>
                      <a:pt x="477" y="208"/>
                    </a:lnTo>
                    <a:lnTo>
                      <a:pt x="488" y="215"/>
                    </a:lnTo>
                    <a:lnTo>
                      <a:pt x="493" y="215"/>
                    </a:lnTo>
                    <a:lnTo>
                      <a:pt x="497" y="209"/>
                    </a:lnTo>
                    <a:lnTo>
                      <a:pt x="509" y="217"/>
                    </a:lnTo>
                    <a:lnTo>
                      <a:pt x="510" y="224"/>
                    </a:lnTo>
                    <a:lnTo>
                      <a:pt x="516" y="224"/>
                    </a:lnTo>
                    <a:lnTo>
                      <a:pt x="518" y="231"/>
                    </a:lnTo>
                    <a:lnTo>
                      <a:pt x="514" y="236"/>
                    </a:lnTo>
                    <a:lnTo>
                      <a:pt x="522" y="245"/>
                    </a:lnTo>
                    <a:lnTo>
                      <a:pt x="531" y="247"/>
                    </a:lnTo>
                    <a:lnTo>
                      <a:pt x="538" y="245"/>
                    </a:lnTo>
                    <a:lnTo>
                      <a:pt x="543" y="243"/>
                    </a:lnTo>
                    <a:lnTo>
                      <a:pt x="538" y="238"/>
                    </a:lnTo>
                    <a:lnTo>
                      <a:pt x="542" y="234"/>
                    </a:lnTo>
                    <a:lnTo>
                      <a:pt x="546" y="236"/>
                    </a:lnTo>
                    <a:lnTo>
                      <a:pt x="548" y="234"/>
                    </a:lnTo>
                    <a:lnTo>
                      <a:pt x="548" y="229"/>
                    </a:lnTo>
                    <a:lnTo>
                      <a:pt x="547" y="224"/>
                    </a:lnTo>
                    <a:lnTo>
                      <a:pt x="548" y="218"/>
                    </a:lnTo>
                    <a:lnTo>
                      <a:pt x="547" y="215"/>
                    </a:lnTo>
                    <a:lnTo>
                      <a:pt x="547" y="204"/>
                    </a:lnTo>
                    <a:lnTo>
                      <a:pt x="550" y="204"/>
                    </a:lnTo>
                    <a:lnTo>
                      <a:pt x="555" y="199"/>
                    </a:lnTo>
                    <a:lnTo>
                      <a:pt x="553" y="194"/>
                    </a:lnTo>
                    <a:lnTo>
                      <a:pt x="558" y="194"/>
                    </a:lnTo>
                    <a:lnTo>
                      <a:pt x="560" y="197"/>
                    </a:lnTo>
                    <a:lnTo>
                      <a:pt x="564" y="197"/>
                    </a:lnTo>
                    <a:lnTo>
                      <a:pt x="568" y="195"/>
                    </a:lnTo>
                    <a:lnTo>
                      <a:pt x="571" y="199"/>
                    </a:lnTo>
                    <a:lnTo>
                      <a:pt x="576" y="199"/>
                    </a:lnTo>
                    <a:lnTo>
                      <a:pt x="579" y="195"/>
                    </a:lnTo>
                    <a:lnTo>
                      <a:pt x="579" y="190"/>
                    </a:lnTo>
                    <a:lnTo>
                      <a:pt x="567" y="190"/>
                    </a:lnTo>
                    <a:lnTo>
                      <a:pt x="563" y="185"/>
                    </a:lnTo>
                    <a:lnTo>
                      <a:pt x="553" y="185"/>
                    </a:lnTo>
                    <a:lnTo>
                      <a:pt x="547" y="178"/>
                    </a:lnTo>
                    <a:lnTo>
                      <a:pt x="546" y="172"/>
                    </a:lnTo>
                    <a:lnTo>
                      <a:pt x="538" y="174"/>
                    </a:lnTo>
                    <a:lnTo>
                      <a:pt x="535" y="167"/>
                    </a:lnTo>
                    <a:lnTo>
                      <a:pt x="538" y="165"/>
                    </a:lnTo>
                    <a:lnTo>
                      <a:pt x="539" y="164"/>
                    </a:lnTo>
                    <a:lnTo>
                      <a:pt x="538" y="156"/>
                    </a:lnTo>
                    <a:lnTo>
                      <a:pt x="539" y="151"/>
                    </a:lnTo>
                    <a:lnTo>
                      <a:pt x="542" y="153"/>
                    </a:lnTo>
                    <a:lnTo>
                      <a:pt x="546" y="153"/>
                    </a:lnTo>
                    <a:lnTo>
                      <a:pt x="543" y="146"/>
                    </a:lnTo>
                    <a:lnTo>
                      <a:pt x="538" y="144"/>
                    </a:lnTo>
                    <a:lnTo>
                      <a:pt x="532" y="146"/>
                    </a:lnTo>
                    <a:lnTo>
                      <a:pt x="530" y="142"/>
                    </a:lnTo>
                    <a:lnTo>
                      <a:pt x="530" y="132"/>
                    </a:lnTo>
                    <a:lnTo>
                      <a:pt x="532" y="128"/>
                    </a:lnTo>
                    <a:lnTo>
                      <a:pt x="532" y="125"/>
                    </a:lnTo>
                    <a:lnTo>
                      <a:pt x="531" y="121"/>
                    </a:lnTo>
                    <a:lnTo>
                      <a:pt x="531" y="109"/>
                    </a:lnTo>
                    <a:lnTo>
                      <a:pt x="528" y="104"/>
                    </a:lnTo>
                    <a:lnTo>
                      <a:pt x="519" y="95"/>
                    </a:lnTo>
                    <a:lnTo>
                      <a:pt x="493" y="107"/>
                    </a:lnTo>
                    <a:lnTo>
                      <a:pt x="445" y="112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54" name="Freeform 242"/>
              <p:cNvSpPr>
                <a:spLocks/>
              </p:cNvSpPr>
              <p:nvPr>
                <p:custDataLst>
                  <p:tags r:id="rId179"/>
                </p:custDataLst>
              </p:nvPr>
            </p:nvSpPr>
            <p:spPr bwMode="auto">
              <a:xfrm>
                <a:off x="2956" y="1986"/>
                <a:ext cx="12" cy="11"/>
              </a:xfrm>
              <a:custGeom>
                <a:avLst/>
                <a:gdLst>
                  <a:gd name="T0" fmla="*/ 22 w 84"/>
                  <a:gd name="T1" fmla="*/ 14 h 80"/>
                  <a:gd name="T2" fmla="*/ 16 w 84"/>
                  <a:gd name="T3" fmla="*/ 4 h 80"/>
                  <a:gd name="T4" fmla="*/ 6 w 84"/>
                  <a:gd name="T5" fmla="*/ 0 h 80"/>
                  <a:gd name="T6" fmla="*/ 0 w 84"/>
                  <a:gd name="T7" fmla="*/ 7 h 80"/>
                  <a:gd name="T8" fmla="*/ 34 w 84"/>
                  <a:gd name="T9" fmla="*/ 32 h 80"/>
                  <a:gd name="T10" fmla="*/ 84 w 84"/>
                  <a:gd name="T11" fmla="*/ 80 h 80"/>
                  <a:gd name="T12" fmla="*/ 84 w 84"/>
                  <a:gd name="T13" fmla="*/ 73 h 80"/>
                  <a:gd name="T14" fmla="*/ 83 w 84"/>
                  <a:gd name="T15" fmla="*/ 67 h 80"/>
                  <a:gd name="T16" fmla="*/ 80 w 84"/>
                  <a:gd name="T17" fmla="*/ 62 h 80"/>
                  <a:gd name="T18" fmla="*/ 78 w 84"/>
                  <a:gd name="T19" fmla="*/ 57 h 80"/>
                  <a:gd name="T20" fmla="*/ 78 w 84"/>
                  <a:gd name="T21" fmla="*/ 51 h 80"/>
                  <a:gd name="T22" fmla="*/ 76 w 84"/>
                  <a:gd name="T23" fmla="*/ 48 h 80"/>
                  <a:gd name="T24" fmla="*/ 72 w 84"/>
                  <a:gd name="T25" fmla="*/ 46 h 80"/>
                  <a:gd name="T26" fmla="*/ 67 w 84"/>
                  <a:gd name="T27" fmla="*/ 44 h 80"/>
                  <a:gd name="T28" fmla="*/ 60 w 84"/>
                  <a:gd name="T29" fmla="*/ 46 h 80"/>
                  <a:gd name="T30" fmla="*/ 59 w 84"/>
                  <a:gd name="T31" fmla="*/ 43 h 80"/>
                  <a:gd name="T32" fmla="*/ 44 w 84"/>
                  <a:gd name="T33" fmla="*/ 25 h 80"/>
                  <a:gd name="T34" fmla="*/ 35 w 84"/>
                  <a:gd name="T35" fmla="*/ 25 h 80"/>
                  <a:gd name="T36" fmla="*/ 22 w 84"/>
                  <a:gd name="T37" fmla="*/ 14 h 80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84"/>
                  <a:gd name="T58" fmla="*/ 0 h 80"/>
                  <a:gd name="T59" fmla="*/ 84 w 84"/>
                  <a:gd name="T60" fmla="*/ 80 h 80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84" h="80">
                    <a:moveTo>
                      <a:pt x="22" y="14"/>
                    </a:moveTo>
                    <a:lnTo>
                      <a:pt x="16" y="4"/>
                    </a:lnTo>
                    <a:lnTo>
                      <a:pt x="6" y="0"/>
                    </a:lnTo>
                    <a:lnTo>
                      <a:pt x="0" y="7"/>
                    </a:lnTo>
                    <a:lnTo>
                      <a:pt x="34" y="32"/>
                    </a:lnTo>
                    <a:lnTo>
                      <a:pt x="84" y="80"/>
                    </a:lnTo>
                    <a:lnTo>
                      <a:pt x="84" y="73"/>
                    </a:lnTo>
                    <a:lnTo>
                      <a:pt x="83" y="67"/>
                    </a:lnTo>
                    <a:lnTo>
                      <a:pt x="80" y="62"/>
                    </a:lnTo>
                    <a:lnTo>
                      <a:pt x="78" y="57"/>
                    </a:lnTo>
                    <a:lnTo>
                      <a:pt x="78" y="51"/>
                    </a:lnTo>
                    <a:lnTo>
                      <a:pt x="76" y="48"/>
                    </a:lnTo>
                    <a:lnTo>
                      <a:pt x="72" y="46"/>
                    </a:lnTo>
                    <a:lnTo>
                      <a:pt x="67" y="44"/>
                    </a:lnTo>
                    <a:lnTo>
                      <a:pt x="60" y="46"/>
                    </a:lnTo>
                    <a:lnTo>
                      <a:pt x="59" y="43"/>
                    </a:lnTo>
                    <a:lnTo>
                      <a:pt x="44" y="25"/>
                    </a:lnTo>
                    <a:lnTo>
                      <a:pt x="35" y="25"/>
                    </a:lnTo>
                    <a:lnTo>
                      <a:pt x="22" y="14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55" name="Freeform 243"/>
              <p:cNvSpPr>
                <a:spLocks/>
              </p:cNvSpPr>
              <p:nvPr>
                <p:custDataLst>
                  <p:tags r:id="rId180"/>
                </p:custDataLst>
              </p:nvPr>
            </p:nvSpPr>
            <p:spPr bwMode="auto">
              <a:xfrm>
                <a:off x="2956" y="1986"/>
                <a:ext cx="12" cy="11"/>
              </a:xfrm>
              <a:custGeom>
                <a:avLst/>
                <a:gdLst>
                  <a:gd name="T0" fmla="*/ 16 w 84"/>
                  <a:gd name="T1" fmla="*/ 4 h 80"/>
                  <a:gd name="T2" fmla="*/ 6 w 84"/>
                  <a:gd name="T3" fmla="*/ 0 h 80"/>
                  <a:gd name="T4" fmla="*/ 0 w 84"/>
                  <a:gd name="T5" fmla="*/ 7 h 80"/>
                  <a:gd name="T6" fmla="*/ 34 w 84"/>
                  <a:gd name="T7" fmla="*/ 32 h 80"/>
                  <a:gd name="T8" fmla="*/ 84 w 84"/>
                  <a:gd name="T9" fmla="*/ 80 h 80"/>
                  <a:gd name="T10" fmla="*/ 84 w 84"/>
                  <a:gd name="T11" fmla="*/ 73 h 80"/>
                  <a:gd name="T12" fmla="*/ 83 w 84"/>
                  <a:gd name="T13" fmla="*/ 67 h 80"/>
                  <a:gd name="T14" fmla="*/ 80 w 84"/>
                  <a:gd name="T15" fmla="*/ 62 h 80"/>
                  <a:gd name="T16" fmla="*/ 78 w 84"/>
                  <a:gd name="T17" fmla="*/ 57 h 80"/>
                  <a:gd name="T18" fmla="*/ 78 w 84"/>
                  <a:gd name="T19" fmla="*/ 51 h 80"/>
                  <a:gd name="T20" fmla="*/ 76 w 84"/>
                  <a:gd name="T21" fmla="*/ 48 h 80"/>
                  <a:gd name="T22" fmla="*/ 72 w 84"/>
                  <a:gd name="T23" fmla="*/ 46 h 80"/>
                  <a:gd name="T24" fmla="*/ 67 w 84"/>
                  <a:gd name="T25" fmla="*/ 44 h 80"/>
                  <a:gd name="T26" fmla="*/ 60 w 84"/>
                  <a:gd name="T27" fmla="*/ 46 h 80"/>
                  <a:gd name="T28" fmla="*/ 59 w 84"/>
                  <a:gd name="T29" fmla="*/ 43 h 80"/>
                  <a:gd name="T30" fmla="*/ 44 w 84"/>
                  <a:gd name="T31" fmla="*/ 25 h 80"/>
                  <a:gd name="T32" fmla="*/ 35 w 84"/>
                  <a:gd name="T33" fmla="*/ 25 h 80"/>
                  <a:gd name="T34" fmla="*/ 22 w 84"/>
                  <a:gd name="T35" fmla="*/ 14 h 80"/>
                  <a:gd name="T36" fmla="*/ 16 w 84"/>
                  <a:gd name="T37" fmla="*/ 4 h 80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84"/>
                  <a:gd name="T58" fmla="*/ 0 h 80"/>
                  <a:gd name="T59" fmla="*/ 84 w 84"/>
                  <a:gd name="T60" fmla="*/ 80 h 80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84" h="80">
                    <a:moveTo>
                      <a:pt x="16" y="4"/>
                    </a:moveTo>
                    <a:lnTo>
                      <a:pt x="6" y="0"/>
                    </a:lnTo>
                    <a:lnTo>
                      <a:pt x="0" y="7"/>
                    </a:lnTo>
                    <a:lnTo>
                      <a:pt x="34" y="32"/>
                    </a:lnTo>
                    <a:lnTo>
                      <a:pt x="84" y="80"/>
                    </a:lnTo>
                    <a:lnTo>
                      <a:pt x="84" y="73"/>
                    </a:lnTo>
                    <a:lnTo>
                      <a:pt x="83" y="67"/>
                    </a:lnTo>
                    <a:lnTo>
                      <a:pt x="80" y="62"/>
                    </a:lnTo>
                    <a:lnTo>
                      <a:pt x="78" y="57"/>
                    </a:lnTo>
                    <a:lnTo>
                      <a:pt x="78" y="51"/>
                    </a:lnTo>
                    <a:lnTo>
                      <a:pt x="76" y="48"/>
                    </a:lnTo>
                    <a:lnTo>
                      <a:pt x="72" y="46"/>
                    </a:lnTo>
                    <a:lnTo>
                      <a:pt x="67" y="44"/>
                    </a:lnTo>
                    <a:lnTo>
                      <a:pt x="60" y="46"/>
                    </a:lnTo>
                    <a:lnTo>
                      <a:pt x="59" y="43"/>
                    </a:lnTo>
                    <a:lnTo>
                      <a:pt x="44" y="25"/>
                    </a:lnTo>
                    <a:lnTo>
                      <a:pt x="35" y="25"/>
                    </a:lnTo>
                    <a:lnTo>
                      <a:pt x="22" y="14"/>
                    </a:lnTo>
                    <a:lnTo>
                      <a:pt x="16" y="4"/>
                    </a:lnTo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56" name="Freeform 244"/>
              <p:cNvSpPr>
                <a:spLocks/>
              </p:cNvSpPr>
              <p:nvPr>
                <p:custDataLst>
                  <p:tags r:id="rId181"/>
                </p:custDataLst>
              </p:nvPr>
            </p:nvSpPr>
            <p:spPr bwMode="auto">
              <a:xfrm>
                <a:off x="2974" y="1916"/>
                <a:ext cx="60" cy="92"/>
              </a:xfrm>
              <a:custGeom>
                <a:avLst/>
                <a:gdLst>
                  <a:gd name="T0" fmla="*/ 13 w 403"/>
                  <a:gd name="T1" fmla="*/ 92 h 616"/>
                  <a:gd name="T2" fmla="*/ 23 w 403"/>
                  <a:gd name="T3" fmla="*/ 99 h 616"/>
                  <a:gd name="T4" fmla="*/ 19 w 403"/>
                  <a:gd name="T5" fmla="*/ 111 h 616"/>
                  <a:gd name="T6" fmla="*/ 28 w 403"/>
                  <a:gd name="T7" fmla="*/ 124 h 616"/>
                  <a:gd name="T8" fmla="*/ 60 w 403"/>
                  <a:gd name="T9" fmla="*/ 136 h 616"/>
                  <a:gd name="T10" fmla="*/ 49 w 403"/>
                  <a:gd name="T11" fmla="*/ 141 h 616"/>
                  <a:gd name="T12" fmla="*/ 34 w 403"/>
                  <a:gd name="T13" fmla="*/ 140 h 616"/>
                  <a:gd name="T14" fmla="*/ 28 w 403"/>
                  <a:gd name="T15" fmla="*/ 161 h 616"/>
                  <a:gd name="T16" fmla="*/ 29 w 403"/>
                  <a:gd name="T17" fmla="*/ 180 h 616"/>
                  <a:gd name="T18" fmla="*/ 24 w 403"/>
                  <a:gd name="T19" fmla="*/ 189 h 616"/>
                  <a:gd name="T20" fmla="*/ 53 w 403"/>
                  <a:gd name="T21" fmla="*/ 189 h 616"/>
                  <a:gd name="T22" fmla="*/ 32 w 403"/>
                  <a:gd name="T23" fmla="*/ 237 h 616"/>
                  <a:gd name="T24" fmla="*/ 28 w 403"/>
                  <a:gd name="T25" fmla="*/ 256 h 616"/>
                  <a:gd name="T26" fmla="*/ 50 w 403"/>
                  <a:gd name="T27" fmla="*/ 274 h 616"/>
                  <a:gd name="T28" fmla="*/ 76 w 403"/>
                  <a:gd name="T29" fmla="*/ 305 h 616"/>
                  <a:gd name="T30" fmla="*/ 66 w 403"/>
                  <a:gd name="T31" fmla="*/ 321 h 616"/>
                  <a:gd name="T32" fmla="*/ 45 w 403"/>
                  <a:gd name="T33" fmla="*/ 323 h 616"/>
                  <a:gd name="T34" fmla="*/ 68 w 403"/>
                  <a:gd name="T35" fmla="*/ 366 h 616"/>
                  <a:gd name="T36" fmla="*/ 55 w 403"/>
                  <a:gd name="T37" fmla="*/ 369 h 616"/>
                  <a:gd name="T38" fmla="*/ 40 w 403"/>
                  <a:gd name="T39" fmla="*/ 388 h 616"/>
                  <a:gd name="T40" fmla="*/ 69 w 403"/>
                  <a:gd name="T41" fmla="*/ 411 h 616"/>
                  <a:gd name="T42" fmla="*/ 99 w 403"/>
                  <a:gd name="T43" fmla="*/ 438 h 616"/>
                  <a:gd name="T44" fmla="*/ 113 w 403"/>
                  <a:gd name="T45" fmla="*/ 440 h 616"/>
                  <a:gd name="T46" fmla="*/ 126 w 403"/>
                  <a:gd name="T47" fmla="*/ 461 h 616"/>
                  <a:gd name="T48" fmla="*/ 151 w 403"/>
                  <a:gd name="T49" fmla="*/ 475 h 616"/>
                  <a:gd name="T50" fmla="*/ 138 w 403"/>
                  <a:gd name="T51" fmla="*/ 486 h 616"/>
                  <a:gd name="T52" fmla="*/ 115 w 403"/>
                  <a:gd name="T53" fmla="*/ 491 h 616"/>
                  <a:gd name="T54" fmla="*/ 126 w 403"/>
                  <a:gd name="T55" fmla="*/ 505 h 616"/>
                  <a:gd name="T56" fmla="*/ 141 w 403"/>
                  <a:gd name="T57" fmla="*/ 551 h 616"/>
                  <a:gd name="T58" fmla="*/ 188 w 403"/>
                  <a:gd name="T59" fmla="*/ 616 h 616"/>
                  <a:gd name="T60" fmla="*/ 195 w 403"/>
                  <a:gd name="T61" fmla="*/ 586 h 616"/>
                  <a:gd name="T62" fmla="*/ 227 w 403"/>
                  <a:gd name="T63" fmla="*/ 569 h 616"/>
                  <a:gd name="T64" fmla="*/ 248 w 403"/>
                  <a:gd name="T65" fmla="*/ 579 h 616"/>
                  <a:gd name="T66" fmla="*/ 282 w 403"/>
                  <a:gd name="T67" fmla="*/ 561 h 616"/>
                  <a:gd name="T68" fmla="*/ 301 w 403"/>
                  <a:gd name="T69" fmla="*/ 553 h 616"/>
                  <a:gd name="T70" fmla="*/ 318 w 403"/>
                  <a:gd name="T71" fmla="*/ 554 h 616"/>
                  <a:gd name="T72" fmla="*/ 339 w 403"/>
                  <a:gd name="T73" fmla="*/ 549 h 616"/>
                  <a:gd name="T74" fmla="*/ 346 w 403"/>
                  <a:gd name="T75" fmla="*/ 501 h 616"/>
                  <a:gd name="T76" fmla="*/ 401 w 403"/>
                  <a:gd name="T77" fmla="*/ 429 h 616"/>
                  <a:gd name="T78" fmla="*/ 381 w 403"/>
                  <a:gd name="T79" fmla="*/ 275 h 616"/>
                  <a:gd name="T80" fmla="*/ 385 w 403"/>
                  <a:gd name="T81" fmla="*/ 230 h 616"/>
                  <a:gd name="T82" fmla="*/ 332 w 403"/>
                  <a:gd name="T83" fmla="*/ 231 h 616"/>
                  <a:gd name="T84" fmla="*/ 271 w 403"/>
                  <a:gd name="T85" fmla="*/ 200 h 616"/>
                  <a:gd name="T86" fmla="*/ 269 w 403"/>
                  <a:gd name="T87" fmla="*/ 175 h 616"/>
                  <a:gd name="T88" fmla="*/ 246 w 403"/>
                  <a:gd name="T89" fmla="*/ 131 h 616"/>
                  <a:gd name="T90" fmla="*/ 188 w 403"/>
                  <a:gd name="T91" fmla="*/ 78 h 616"/>
                  <a:gd name="T92" fmla="*/ 150 w 403"/>
                  <a:gd name="T93" fmla="*/ 25 h 616"/>
                  <a:gd name="T94" fmla="*/ 0 w 403"/>
                  <a:gd name="T95" fmla="*/ 41 h 616"/>
                  <a:gd name="T96" fmla="*/ 13 w 403"/>
                  <a:gd name="T97" fmla="*/ 71 h 61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403"/>
                  <a:gd name="T148" fmla="*/ 0 h 616"/>
                  <a:gd name="T149" fmla="*/ 403 w 403"/>
                  <a:gd name="T150" fmla="*/ 616 h 61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403" h="616">
                    <a:moveTo>
                      <a:pt x="13" y="74"/>
                    </a:moveTo>
                    <a:lnTo>
                      <a:pt x="11" y="78"/>
                    </a:lnTo>
                    <a:lnTo>
                      <a:pt x="11" y="88"/>
                    </a:lnTo>
                    <a:lnTo>
                      <a:pt x="13" y="92"/>
                    </a:lnTo>
                    <a:lnTo>
                      <a:pt x="19" y="90"/>
                    </a:lnTo>
                    <a:lnTo>
                      <a:pt x="24" y="92"/>
                    </a:lnTo>
                    <a:lnTo>
                      <a:pt x="27" y="99"/>
                    </a:lnTo>
                    <a:lnTo>
                      <a:pt x="23" y="99"/>
                    </a:lnTo>
                    <a:lnTo>
                      <a:pt x="20" y="97"/>
                    </a:lnTo>
                    <a:lnTo>
                      <a:pt x="19" y="102"/>
                    </a:lnTo>
                    <a:lnTo>
                      <a:pt x="20" y="110"/>
                    </a:lnTo>
                    <a:lnTo>
                      <a:pt x="19" y="111"/>
                    </a:lnTo>
                    <a:lnTo>
                      <a:pt x="16" y="113"/>
                    </a:lnTo>
                    <a:lnTo>
                      <a:pt x="19" y="120"/>
                    </a:lnTo>
                    <a:lnTo>
                      <a:pt x="27" y="118"/>
                    </a:lnTo>
                    <a:lnTo>
                      <a:pt x="28" y="124"/>
                    </a:lnTo>
                    <a:lnTo>
                      <a:pt x="34" y="131"/>
                    </a:lnTo>
                    <a:lnTo>
                      <a:pt x="44" y="131"/>
                    </a:lnTo>
                    <a:lnTo>
                      <a:pt x="48" y="136"/>
                    </a:lnTo>
                    <a:lnTo>
                      <a:pt x="60" y="136"/>
                    </a:lnTo>
                    <a:lnTo>
                      <a:pt x="60" y="141"/>
                    </a:lnTo>
                    <a:lnTo>
                      <a:pt x="57" y="145"/>
                    </a:lnTo>
                    <a:lnTo>
                      <a:pt x="52" y="145"/>
                    </a:lnTo>
                    <a:lnTo>
                      <a:pt x="49" y="141"/>
                    </a:lnTo>
                    <a:lnTo>
                      <a:pt x="45" y="143"/>
                    </a:lnTo>
                    <a:lnTo>
                      <a:pt x="41" y="143"/>
                    </a:lnTo>
                    <a:lnTo>
                      <a:pt x="39" y="140"/>
                    </a:lnTo>
                    <a:lnTo>
                      <a:pt x="34" y="140"/>
                    </a:lnTo>
                    <a:lnTo>
                      <a:pt x="36" y="145"/>
                    </a:lnTo>
                    <a:lnTo>
                      <a:pt x="31" y="150"/>
                    </a:lnTo>
                    <a:lnTo>
                      <a:pt x="28" y="150"/>
                    </a:lnTo>
                    <a:lnTo>
                      <a:pt x="28" y="161"/>
                    </a:lnTo>
                    <a:lnTo>
                      <a:pt x="29" y="164"/>
                    </a:lnTo>
                    <a:lnTo>
                      <a:pt x="28" y="170"/>
                    </a:lnTo>
                    <a:lnTo>
                      <a:pt x="29" y="175"/>
                    </a:lnTo>
                    <a:lnTo>
                      <a:pt x="29" y="180"/>
                    </a:lnTo>
                    <a:lnTo>
                      <a:pt x="27" y="182"/>
                    </a:lnTo>
                    <a:lnTo>
                      <a:pt x="23" y="180"/>
                    </a:lnTo>
                    <a:lnTo>
                      <a:pt x="19" y="184"/>
                    </a:lnTo>
                    <a:lnTo>
                      <a:pt x="24" y="189"/>
                    </a:lnTo>
                    <a:lnTo>
                      <a:pt x="32" y="182"/>
                    </a:lnTo>
                    <a:lnTo>
                      <a:pt x="40" y="182"/>
                    </a:lnTo>
                    <a:lnTo>
                      <a:pt x="53" y="185"/>
                    </a:lnTo>
                    <a:lnTo>
                      <a:pt x="53" y="189"/>
                    </a:lnTo>
                    <a:lnTo>
                      <a:pt x="50" y="207"/>
                    </a:lnTo>
                    <a:lnTo>
                      <a:pt x="43" y="221"/>
                    </a:lnTo>
                    <a:lnTo>
                      <a:pt x="36" y="231"/>
                    </a:lnTo>
                    <a:lnTo>
                      <a:pt x="32" y="237"/>
                    </a:lnTo>
                    <a:lnTo>
                      <a:pt x="31" y="240"/>
                    </a:lnTo>
                    <a:lnTo>
                      <a:pt x="32" y="245"/>
                    </a:lnTo>
                    <a:lnTo>
                      <a:pt x="32" y="253"/>
                    </a:lnTo>
                    <a:lnTo>
                      <a:pt x="28" y="256"/>
                    </a:lnTo>
                    <a:lnTo>
                      <a:pt x="29" y="265"/>
                    </a:lnTo>
                    <a:lnTo>
                      <a:pt x="32" y="272"/>
                    </a:lnTo>
                    <a:lnTo>
                      <a:pt x="40" y="275"/>
                    </a:lnTo>
                    <a:lnTo>
                      <a:pt x="50" y="274"/>
                    </a:lnTo>
                    <a:lnTo>
                      <a:pt x="53" y="288"/>
                    </a:lnTo>
                    <a:lnTo>
                      <a:pt x="61" y="293"/>
                    </a:lnTo>
                    <a:lnTo>
                      <a:pt x="69" y="304"/>
                    </a:lnTo>
                    <a:lnTo>
                      <a:pt x="76" y="305"/>
                    </a:lnTo>
                    <a:lnTo>
                      <a:pt x="78" y="307"/>
                    </a:lnTo>
                    <a:lnTo>
                      <a:pt x="76" y="313"/>
                    </a:lnTo>
                    <a:lnTo>
                      <a:pt x="73" y="316"/>
                    </a:lnTo>
                    <a:lnTo>
                      <a:pt x="66" y="321"/>
                    </a:lnTo>
                    <a:lnTo>
                      <a:pt x="56" y="320"/>
                    </a:lnTo>
                    <a:lnTo>
                      <a:pt x="50" y="316"/>
                    </a:lnTo>
                    <a:lnTo>
                      <a:pt x="41" y="313"/>
                    </a:lnTo>
                    <a:lnTo>
                      <a:pt x="45" y="323"/>
                    </a:lnTo>
                    <a:lnTo>
                      <a:pt x="55" y="330"/>
                    </a:lnTo>
                    <a:lnTo>
                      <a:pt x="64" y="343"/>
                    </a:lnTo>
                    <a:lnTo>
                      <a:pt x="69" y="353"/>
                    </a:lnTo>
                    <a:lnTo>
                      <a:pt x="68" y="366"/>
                    </a:lnTo>
                    <a:lnTo>
                      <a:pt x="68" y="373"/>
                    </a:lnTo>
                    <a:lnTo>
                      <a:pt x="66" y="374"/>
                    </a:lnTo>
                    <a:lnTo>
                      <a:pt x="57" y="371"/>
                    </a:lnTo>
                    <a:lnTo>
                      <a:pt x="55" y="369"/>
                    </a:lnTo>
                    <a:lnTo>
                      <a:pt x="52" y="369"/>
                    </a:lnTo>
                    <a:lnTo>
                      <a:pt x="48" y="376"/>
                    </a:lnTo>
                    <a:lnTo>
                      <a:pt x="40" y="383"/>
                    </a:lnTo>
                    <a:lnTo>
                      <a:pt x="40" y="388"/>
                    </a:lnTo>
                    <a:lnTo>
                      <a:pt x="50" y="392"/>
                    </a:lnTo>
                    <a:lnTo>
                      <a:pt x="56" y="399"/>
                    </a:lnTo>
                    <a:lnTo>
                      <a:pt x="64" y="404"/>
                    </a:lnTo>
                    <a:lnTo>
                      <a:pt x="69" y="411"/>
                    </a:lnTo>
                    <a:lnTo>
                      <a:pt x="73" y="420"/>
                    </a:lnTo>
                    <a:lnTo>
                      <a:pt x="80" y="429"/>
                    </a:lnTo>
                    <a:lnTo>
                      <a:pt x="86" y="433"/>
                    </a:lnTo>
                    <a:lnTo>
                      <a:pt x="99" y="438"/>
                    </a:lnTo>
                    <a:lnTo>
                      <a:pt x="104" y="441"/>
                    </a:lnTo>
                    <a:lnTo>
                      <a:pt x="106" y="441"/>
                    </a:lnTo>
                    <a:lnTo>
                      <a:pt x="110" y="440"/>
                    </a:lnTo>
                    <a:lnTo>
                      <a:pt x="113" y="440"/>
                    </a:lnTo>
                    <a:lnTo>
                      <a:pt x="115" y="447"/>
                    </a:lnTo>
                    <a:lnTo>
                      <a:pt x="122" y="454"/>
                    </a:lnTo>
                    <a:lnTo>
                      <a:pt x="123" y="457"/>
                    </a:lnTo>
                    <a:lnTo>
                      <a:pt x="126" y="461"/>
                    </a:lnTo>
                    <a:lnTo>
                      <a:pt x="131" y="459"/>
                    </a:lnTo>
                    <a:lnTo>
                      <a:pt x="134" y="461"/>
                    </a:lnTo>
                    <a:lnTo>
                      <a:pt x="147" y="468"/>
                    </a:lnTo>
                    <a:lnTo>
                      <a:pt x="151" y="475"/>
                    </a:lnTo>
                    <a:lnTo>
                      <a:pt x="152" y="480"/>
                    </a:lnTo>
                    <a:lnTo>
                      <a:pt x="148" y="482"/>
                    </a:lnTo>
                    <a:lnTo>
                      <a:pt x="142" y="482"/>
                    </a:lnTo>
                    <a:lnTo>
                      <a:pt x="138" y="486"/>
                    </a:lnTo>
                    <a:lnTo>
                      <a:pt x="138" y="491"/>
                    </a:lnTo>
                    <a:lnTo>
                      <a:pt x="135" y="493"/>
                    </a:lnTo>
                    <a:lnTo>
                      <a:pt x="122" y="489"/>
                    </a:lnTo>
                    <a:lnTo>
                      <a:pt x="115" y="491"/>
                    </a:lnTo>
                    <a:lnTo>
                      <a:pt x="115" y="498"/>
                    </a:lnTo>
                    <a:lnTo>
                      <a:pt x="117" y="501"/>
                    </a:lnTo>
                    <a:lnTo>
                      <a:pt x="122" y="501"/>
                    </a:lnTo>
                    <a:lnTo>
                      <a:pt x="126" y="505"/>
                    </a:lnTo>
                    <a:lnTo>
                      <a:pt x="126" y="509"/>
                    </a:lnTo>
                    <a:lnTo>
                      <a:pt x="121" y="528"/>
                    </a:lnTo>
                    <a:lnTo>
                      <a:pt x="123" y="528"/>
                    </a:lnTo>
                    <a:lnTo>
                      <a:pt x="141" y="551"/>
                    </a:lnTo>
                    <a:lnTo>
                      <a:pt x="172" y="606"/>
                    </a:lnTo>
                    <a:lnTo>
                      <a:pt x="174" y="613"/>
                    </a:lnTo>
                    <a:lnTo>
                      <a:pt x="179" y="616"/>
                    </a:lnTo>
                    <a:lnTo>
                      <a:pt x="188" y="616"/>
                    </a:lnTo>
                    <a:lnTo>
                      <a:pt x="191" y="611"/>
                    </a:lnTo>
                    <a:lnTo>
                      <a:pt x="192" y="606"/>
                    </a:lnTo>
                    <a:lnTo>
                      <a:pt x="191" y="597"/>
                    </a:lnTo>
                    <a:lnTo>
                      <a:pt x="195" y="586"/>
                    </a:lnTo>
                    <a:lnTo>
                      <a:pt x="197" y="583"/>
                    </a:lnTo>
                    <a:lnTo>
                      <a:pt x="217" y="576"/>
                    </a:lnTo>
                    <a:lnTo>
                      <a:pt x="224" y="572"/>
                    </a:lnTo>
                    <a:lnTo>
                      <a:pt x="227" y="569"/>
                    </a:lnTo>
                    <a:lnTo>
                      <a:pt x="236" y="576"/>
                    </a:lnTo>
                    <a:lnTo>
                      <a:pt x="240" y="583"/>
                    </a:lnTo>
                    <a:lnTo>
                      <a:pt x="246" y="583"/>
                    </a:lnTo>
                    <a:lnTo>
                      <a:pt x="248" y="579"/>
                    </a:lnTo>
                    <a:lnTo>
                      <a:pt x="245" y="576"/>
                    </a:lnTo>
                    <a:lnTo>
                      <a:pt x="262" y="560"/>
                    </a:lnTo>
                    <a:lnTo>
                      <a:pt x="270" y="561"/>
                    </a:lnTo>
                    <a:lnTo>
                      <a:pt x="282" y="561"/>
                    </a:lnTo>
                    <a:lnTo>
                      <a:pt x="289" y="563"/>
                    </a:lnTo>
                    <a:lnTo>
                      <a:pt x="292" y="558"/>
                    </a:lnTo>
                    <a:lnTo>
                      <a:pt x="298" y="551"/>
                    </a:lnTo>
                    <a:lnTo>
                      <a:pt x="301" y="553"/>
                    </a:lnTo>
                    <a:lnTo>
                      <a:pt x="306" y="554"/>
                    </a:lnTo>
                    <a:lnTo>
                      <a:pt x="310" y="553"/>
                    </a:lnTo>
                    <a:lnTo>
                      <a:pt x="313" y="551"/>
                    </a:lnTo>
                    <a:lnTo>
                      <a:pt x="318" y="554"/>
                    </a:lnTo>
                    <a:lnTo>
                      <a:pt x="320" y="553"/>
                    </a:lnTo>
                    <a:lnTo>
                      <a:pt x="325" y="551"/>
                    </a:lnTo>
                    <a:lnTo>
                      <a:pt x="332" y="551"/>
                    </a:lnTo>
                    <a:lnTo>
                      <a:pt x="339" y="549"/>
                    </a:lnTo>
                    <a:lnTo>
                      <a:pt x="343" y="547"/>
                    </a:lnTo>
                    <a:lnTo>
                      <a:pt x="344" y="547"/>
                    </a:lnTo>
                    <a:lnTo>
                      <a:pt x="346" y="535"/>
                    </a:lnTo>
                    <a:lnTo>
                      <a:pt x="346" y="501"/>
                    </a:lnTo>
                    <a:lnTo>
                      <a:pt x="356" y="484"/>
                    </a:lnTo>
                    <a:lnTo>
                      <a:pt x="389" y="463"/>
                    </a:lnTo>
                    <a:lnTo>
                      <a:pt x="403" y="443"/>
                    </a:lnTo>
                    <a:lnTo>
                      <a:pt x="401" y="429"/>
                    </a:lnTo>
                    <a:lnTo>
                      <a:pt x="344" y="358"/>
                    </a:lnTo>
                    <a:lnTo>
                      <a:pt x="341" y="341"/>
                    </a:lnTo>
                    <a:lnTo>
                      <a:pt x="348" y="321"/>
                    </a:lnTo>
                    <a:lnTo>
                      <a:pt x="381" y="275"/>
                    </a:lnTo>
                    <a:lnTo>
                      <a:pt x="362" y="263"/>
                    </a:lnTo>
                    <a:lnTo>
                      <a:pt x="356" y="242"/>
                    </a:lnTo>
                    <a:lnTo>
                      <a:pt x="369" y="230"/>
                    </a:lnTo>
                    <a:lnTo>
                      <a:pt x="385" y="230"/>
                    </a:lnTo>
                    <a:lnTo>
                      <a:pt x="380" y="221"/>
                    </a:lnTo>
                    <a:lnTo>
                      <a:pt x="352" y="205"/>
                    </a:lnTo>
                    <a:lnTo>
                      <a:pt x="341" y="214"/>
                    </a:lnTo>
                    <a:lnTo>
                      <a:pt x="332" y="231"/>
                    </a:lnTo>
                    <a:lnTo>
                      <a:pt x="325" y="240"/>
                    </a:lnTo>
                    <a:lnTo>
                      <a:pt x="298" y="215"/>
                    </a:lnTo>
                    <a:lnTo>
                      <a:pt x="273" y="212"/>
                    </a:lnTo>
                    <a:lnTo>
                      <a:pt x="271" y="200"/>
                    </a:lnTo>
                    <a:lnTo>
                      <a:pt x="261" y="200"/>
                    </a:lnTo>
                    <a:lnTo>
                      <a:pt x="250" y="196"/>
                    </a:lnTo>
                    <a:lnTo>
                      <a:pt x="248" y="185"/>
                    </a:lnTo>
                    <a:lnTo>
                      <a:pt x="269" y="175"/>
                    </a:lnTo>
                    <a:lnTo>
                      <a:pt x="249" y="166"/>
                    </a:lnTo>
                    <a:lnTo>
                      <a:pt x="262" y="148"/>
                    </a:lnTo>
                    <a:lnTo>
                      <a:pt x="260" y="140"/>
                    </a:lnTo>
                    <a:lnTo>
                      <a:pt x="246" y="131"/>
                    </a:lnTo>
                    <a:lnTo>
                      <a:pt x="223" y="122"/>
                    </a:lnTo>
                    <a:lnTo>
                      <a:pt x="190" y="92"/>
                    </a:lnTo>
                    <a:lnTo>
                      <a:pt x="192" y="85"/>
                    </a:lnTo>
                    <a:lnTo>
                      <a:pt x="188" y="78"/>
                    </a:lnTo>
                    <a:lnTo>
                      <a:pt x="191" y="55"/>
                    </a:lnTo>
                    <a:lnTo>
                      <a:pt x="183" y="53"/>
                    </a:lnTo>
                    <a:lnTo>
                      <a:pt x="175" y="37"/>
                    </a:lnTo>
                    <a:lnTo>
                      <a:pt x="150" y="25"/>
                    </a:lnTo>
                    <a:lnTo>
                      <a:pt x="147" y="5"/>
                    </a:lnTo>
                    <a:lnTo>
                      <a:pt x="106" y="0"/>
                    </a:lnTo>
                    <a:lnTo>
                      <a:pt x="68" y="5"/>
                    </a:lnTo>
                    <a:lnTo>
                      <a:pt x="0" y="41"/>
                    </a:lnTo>
                    <a:lnTo>
                      <a:pt x="9" y="50"/>
                    </a:lnTo>
                    <a:lnTo>
                      <a:pt x="12" y="55"/>
                    </a:lnTo>
                    <a:lnTo>
                      <a:pt x="12" y="67"/>
                    </a:lnTo>
                    <a:lnTo>
                      <a:pt x="13" y="71"/>
                    </a:lnTo>
                    <a:lnTo>
                      <a:pt x="13" y="74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57" name="Freeform 245"/>
              <p:cNvSpPr>
                <a:spLocks/>
              </p:cNvSpPr>
              <p:nvPr>
                <p:custDataLst>
                  <p:tags r:id="rId182"/>
                </p:custDataLst>
              </p:nvPr>
            </p:nvSpPr>
            <p:spPr bwMode="auto">
              <a:xfrm>
                <a:off x="2929" y="1936"/>
                <a:ext cx="57" cy="58"/>
              </a:xfrm>
              <a:custGeom>
                <a:avLst/>
                <a:gdLst>
                  <a:gd name="T0" fmla="*/ 140 w 379"/>
                  <a:gd name="T1" fmla="*/ 13 h 383"/>
                  <a:gd name="T2" fmla="*/ 107 w 379"/>
                  <a:gd name="T3" fmla="*/ 7 h 383"/>
                  <a:gd name="T4" fmla="*/ 76 w 379"/>
                  <a:gd name="T5" fmla="*/ 6 h 383"/>
                  <a:gd name="T6" fmla="*/ 59 w 379"/>
                  <a:gd name="T7" fmla="*/ 36 h 383"/>
                  <a:gd name="T8" fmla="*/ 27 w 379"/>
                  <a:gd name="T9" fmla="*/ 6 h 383"/>
                  <a:gd name="T10" fmla="*/ 2 w 379"/>
                  <a:gd name="T11" fmla="*/ 29 h 383"/>
                  <a:gd name="T12" fmla="*/ 6 w 379"/>
                  <a:gd name="T13" fmla="*/ 55 h 383"/>
                  <a:gd name="T14" fmla="*/ 7 w 379"/>
                  <a:gd name="T15" fmla="*/ 71 h 383"/>
                  <a:gd name="T16" fmla="*/ 21 w 379"/>
                  <a:gd name="T17" fmla="*/ 81 h 383"/>
                  <a:gd name="T18" fmla="*/ 39 w 379"/>
                  <a:gd name="T19" fmla="*/ 117 h 383"/>
                  <a:gd name="T20" fmla="*/ 43 w 379"/>
                  <a:gd name="T21" fmla="*/ 134 h 383"/>
                  <a:gd name="T22" fmla="*/ 52 w 379"/>
                  <a:gd name="T23" fmla="*/ 150 h 383"/>
                  <a:gd name="T24" fmla="*/ 77 w 379"/>
                  <a:gd name="T25" fmla="*/ 177 h 383"/>
                  <a:gd name="T26" fmla="*/ 107 w 379"/>
                  <a:gd name="T27" fmla="*/ 219 h 383"/>
                  <a:gd name="T28" fmla="*/ 144 w 379"/>
                  <a:gd name="T29" fmla="*/ 254 h 383"/>
                  <a:gd name="T30" fmla="*/ 152 w 379"/>
                  <a:gd name="T31" fmla="*/ 283 h 383"/>
                  <a:gd name="T32" fmla="*/ 187 w 379"/>
                  <a:gd name="T33" fmla="*/ 313 h 383"/>
                  <a:gd name="T34" fmla="*/ 181 w 379"/>
                  <a:gd name="T35" fmla="*/ 337 h 383"/>
                  <a:gd name="T36" fmla="*/ 203 w 379"/>
                  <a:gd name="T37" fmla="*/ 336 h 383"/>
                  <a:gd name="T38" fmla="*/ 231 w 379"/>
                  <a:gd name="T39" fmla="*/ 357 h 383"/>
                  <a:gd name="T40" fmla="*/ 254 w 379"/>
                  <a:gd name="T41" fmla="*/ 376 h 383"/>
                  <a:gd name="T42" fmla="*/ 265 w 379"/>
                  <a:gd name="T43" fmla="*/ 383 h 383"/>
                  <a:gd name="T44" fmla="*/ 276 w 379"/>
                  <a:gd name="T45" fmla="*/ 364 h 383"/>
                  <a:gd name="T46" fmla="*/ 268 w 379"/>
                  <a:gd name="T47" fmla="*/ 323 h 383"/>
                  <a:gd name="T48" fmla="*/ 283 w 379"/>
                  <a:gd name="T49" fmla="*/ 316 h 383"/>
                  <a:gd name="T50" fmla="*/ 284 w 379"/>
                  <a:gd name="T51" fmla="*/ 300 h 383"/>
                  <a:gd name="T52" fmla="*/ 293 w 379"/>
                  <a:gd name="T53" fmla="*/ 283 h 383"/>
                  <a:gd name="T54" fmla="*/ 314 w 379"/>
                  <a:gd name="T55" fmla="*/ 277 h 383"/>
                  <a:gd name="T56" fmla="*/ 325 w 379"/>
                  <a:gd name="T57" fmla="*/ 286 h 383"/>
                  <a:gd name="T58" fmla="*/ 320 w 379"/>
                  <a:gd name="T59" fmla="*/ 263 h 383"/>
                  <a:gd name="T60" fmla="*/ 318 w 379"/>
                  <a:gd name="T61" fmla="*/ 247 h 383"/>
                  <a:gd name="T62" fmla="*/ 332 w 379"/>
                  <a:gd name="T63" fmla="*/ 249 h 383"/>
                  <a:gd name="T64" fmla="*/ 349 w 379"/>
                  <a:gd name="T65" fmla="*/ 242 h 383"/>
                  <a:gd name="T66" fmla="*/ 358 w 379"/>
                  <a:gd name="T67" fmla="*/ 237 h 383"/>
                  <a:gd name="T68" fmla="*/ 369 w 379"/>
                  <a:gd name="T69" fmla="*/ 232 h 383"/>
                  <a:gd name="T70" fmla="*/ 356 w 379"/>
                  <a:gd name="T71" fmla="*/ 196 h 383"/>
                  <a:gd name="T72" fmla="*/ 351 w 379"/>
                  <a:gd name="T73" fmla="*/ 182 h 383"/>
                  <a:gd name="T74" fmla="*/ 374 w 379"/>
                  <a:gd name="T75" fmla="*/ 182 h 383"/>
                  <a:gd name="T76" fmla="*/ 377 w 379"/>
                  <a:gd name="T77" fmla="*/ 171 h 383"/>
                  <a:gd name="T78" fmla="*/ 354 w 379"/>
                  <a:gd name="T79" fmla="*/ 154 h 383"/>
                  <a:gd name="T80" fmla="*/ 333 w 379"/>
                  <a:gd name="T81" fmla="*/ 138 h 383"/>
                  <a:gd name="T82" fmla="*/ 333 w 379"/>
                  <a:gd name="T83" fmla="*/ 119 h 383"/>
                  <a:gd name="T84" fmla="*/ 333 w 379"/>
                  <a:gd name="T85" fmla="*/ 103 h 383"/>
                  <a:gd name="T86" fmla="*/ 351 w 379"/>
                  <a:gd name="T87" fmla="*/ 73 h 383"/>
                  <a:gd name="T88" fmla="*/ 341 w 379"/>
                  <a:gd name="T89" fmla="*/ 48 h 383"/>
                  <a:gd name="T90" fmla="*/ 320 w 379"/>
                  <a:gd name="T91" fmla="*/ 57 h 383"/>
                  <a:gd name="T92" fmla="*/ 296 w 379"/>
                  <a:gd name="T93" fmla="*/ 48 h 383"/>
                  <a:gd name="T94" fmla="*/ 292 w 379"/>
                  <a:gd name="T95" fmla="*/ 36 h 383"/>
                  <a:gd name="T96" fmla="*/ 275 w 379"/>
                  <a:gd name="T97" fmla="*/ 27 h 383"/>
                  <a:gd name="T98" fmla="*/ 254 w 379"/>
                  <a:gd name="T99" fmla="*/ 20 h 383"/>
                  <a:gd name="T100" fmla="*/ 236 w 379"/>
                  <a:gd name="T101" fmla="*/ 25 h 383"/>
                  <a:gd name="T102" fmla="*/ 219 w 379"/>
                  <a:gd name="T103" fmla="*/ 18 h 383"/>
                  <a:gd name="T104" fmla="*/ 200 w 379"/>
                  <a:gd name="T105" fmla="*/ 23 h 383"/>
                  <a:gd name="T106" fmla="*/ 173 w 379"/>
                  <a:gd name="T107" fmla="*/ 20 h 383"/>
                  <a:gd name="T108" fmla="*/ 152 w 379"/>
                  <a:gd name="T109" fmla="*/ 9 h 38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79"/>
                  <a:gd name="T166" fmla="*/ 0 h 383"/>
                  <a:gd name="T167" fmla="*/ 379 w 379"/>
                  <a:gd name="T168" fmla="*/ 383 h 383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79" h="383">
                    <a:moveTo>
                      <a:pt x="146" y="14"/>
                    </a:moveTo>
                    <a:lnTo>
                      <a:pt x="142" y="16"/>
                    </a:lnTo>
                    <a:lnTo>
                      <a:pt x="140" y="13"/>
                    </a:lnTo>
                    <a:lnTo>
                      <a:pt x="116" y="0"/>
                    </a:lnTo>
                    <a:lnTo>
                      <a:pt x="113" y="0"/>
                    </a:lnTo>
                    <a:lnTo>
                      <a:pt x="107" y="7"/>
                    </a:lnTo>
                    <a:lnTo>
                      <a:pt x="101" y="7"/>
                    </a:lnTo>
                    <a:lnTo>
                      <a:pt x="84" y="4"/>
                    </a:lnTo>
                    <a:lnTo>
                      <a:pt x="76" y="6"/>
                    </a:lnTo>
                    <a:lnTo>
                      <a:pt x="71" y="13"/>
                    </a:lnTo>
                    <a:lnTo>
                      <a:pt x="64" y="21"/>
                    </a:lnTo>
                    <a:lnTo>
                      <a:pt x="59" y="36"/>
                    </a:lnTo>
                    <a:lnTo>
                      <a:pt x="51" y="34"/>
                    </a:lnTo>
                    <a:lnTo>
                      <a:pt x="39" y="25"/>
                    </a:lnTo>
                    <a:lnTo>
                      <a:pt x="27" y="6"/>
                    </a:lnTo>
                    <a:lnTo>
                      <a:pt x="14" y="2"/>
                    </a:lnTo>
                    <a:lnTo>
                      <a:pt x="7" y="6"/>
                    </a:lnTo>
                    <a:lnTo>
                      <a:pt x="2" y="29"/>
                    </a:lnTo>
                    <a:lnTo>
                      <a:pt x="5" y="37"/>
                    </a:lnTo>
                    <a:lnTo>
                      <a:pt x="5" y="43"/>
                    </a:lnTo>
                    <a:lnTo>
                      <a:pt x="6" y="55"/>
                    </a:lnTo>
                    <a:lnTo>
                      <a:pt x="0" y="60"/>
                    </a:lnTo>
                    <a:lnTo>
                      <a:pt x="2" y="66"/>
                    </a:lnTo>
                    <a:lnTo>
                      <a:pt x="7" y="71"/>
                    </a:lnTo>
                    <a:lnTo>
                      <a:pt x="10" y="76"/>
                    </a:lnTo>
                    <a:lnTo>
                      <a:pt x="17" y="80"/>
                    </a:lnTo>
                    <a:lnTo>
                      <a:pt x="21" y="81"/>
                    </a:lnTo>
                    <a:lnTo>
                      <a:pt x="28" y="92"/>
                    </a:lnTo>
                    <a:lnTo>
                      <a:pt x="35" y="108"/>
                    </a:lnTo>
                    <a:lnTo>
                      <a:pt x="39" y="117"/>
                    </a:lnTo>
                    <a:lnTo>
                      <a:pt x="40" y="124"/>
                    </a:lnTo>
                    <a:lnTo>
                      <a:pt x="47" y="131"/>
                    </a:lnTo>
                    <a:lnTo>
                      <a:pt x="43" y="134"/>
                    </a:lnTo>
                    <a:lnTo>
                      <a:pt x="43" y="141"/>
                    </a:lnTo>
                    <a:lnTo>
                      <a:pt x="44" y="150"/>
                    </a:lnTo>
                    <a:lnTo>
                      <a:pt x="52" y="150"/>
                    </a:lnTo>
                    <a:lnTo>
                      <a:pt x="58" y="166"/>
                    </a:lnTo>
                    <a:lnTo>
                      <a:pt x="63" y="173"/>
                    </a:lnTo>
                    <a:lnTo>
                      <a:pt x="77" y="177"/>
                    </a:lnTo>
                    <a:lnTo>
                      <a:pt x="93" y="200"/>
                    </a:lnTo>
                    <a:lnTo>
                      <a:pt x="95" y="212"/>
                    </a:lnTo>
                    <a:lnTo>
                      <a:pt x="107" y="219"/>
                    </a:lnTo>
                    <a:lnTo>
                      <a:pt x="125" y="242"/>
                    </a:lnTo>
                    <a:lnTo>
                      <a:pt x="133" y="249"/>
                    </a:lnTo>
                    <a:lnTo>
                      <a:pt x="144" y="254"/>
                    </a:lnTo>
                    <a:lnTo>
                      <a:pt x="148" y="258"/>
                    </a:lnTo>
                    <a:lnTo>
                      <a:pt x="148" y="265"/>
                    </a:lnTo>
                    <a:lnTo>
                      <a:pt x="152" y="283"/>
                    </a:lnTo>
                    <a:lnTo>
                      <a:pt x="160" y="288"/>
                    </a:lnTo>
                    <a:lnTo>
                      <a:pt x="175" y="306"/>
                    </a:lnTo>
                    <a:lnTo>
                      <a:pt x="187" y="313"/>
                    </a:lnTo>
                    <a:lnTo>
                      <a:pt x="190" y="327"/>
                    </a:lnTo>
                    <a:lnTo>
                      <a:pt x="177" y="332"/>
                    </a:lnTo>
                    <a:lnTo>
                      <a:pt x="181" y="337"/>
                    </a:lnTo>
                    <a:lnTo>
                      <a:pt x="187" y="339"/>
                    </a:lnTo>
                    <a:lnTo>
                      <a:pt x="193" y="332"/>
                    </a:lnTo>
                    <a:lnTo>
                      <a:pt x="203" y="336"/>
                    </a:lnTo>
                    <a:lnTo>
                      <a:pt x="209" y="346"/>
                    </a:lnTo>
                    <a:lnTo>
                      <a:pt x="222" y="357"/>
                    </a:lnTo>
                    <a:lnTo>
                      <a:pt x="231" y="357"/>
                    </a:lnTo>
                    <a:lnTo>
                      <a:pt x="246" y="375"/>
                    </a:lnTo>
                    <a:lnTo>
                      <a:pt x="247" y="378"/>
                    </a:lnTo>
                    <a:lnTo>
                      <a:pt x="254" y="376"/>
                    </a:lnTo>
                    <a:lnTo>
                      <a:pt x="259" y="378"/>
                    </a:lnTo>
                    <a:lnTo>
                      <a:pt x="263" y="380"/>
                    </a:lnTo>
                    <a:lnTo>
                      <a:pt x="265" y="383"/>
                    </a:lnTo>
                    <a:lnTo>
                      <a:pt x="275" y="376"/>
                    </a:lnTo>
                    <a:lnTo>
                      <a:pt x="277" y="371"/>
                    </a:lnTo>
                    <a:lnTo>
                      <a:pt x="276" y="364"/>
                    </a:lnTo>
                    <a:lnTo>
                      <a:pt x="273" y="359"/>
                    </a:lnTo>
                    <a:lnTo>
                      <a:pt x="268" y="348"/>
                    </a:lnTo>
                    <a:lnTo>
                      <a:pt x="268" y="323"/>
                    </a:lnTo>
                    <a:lnTo>
                      <a:pt x="273" y="318"/>
                    </a:lnTo>
                    <a:lnTo>
                      <a:pt x="277" y="316"/>
                    </a:lnTo>
                    <a:lnTo>
                      <a:pt x="283" y="316"/>
                    </a:lnTo>
                    <a:lnTo>
                      <a:pt x="287" y="313"/>
                    </a:lnTo>
                    <a:lnTo>
                      <a:pt x="287" y="306"/>
                    </a:lnTo>
                    <a:lnTo>
                      <a:pt x="284" y="300"/>
                    </a:lnTo>
                    <a:lnTo>
                      <a:pt x="289" y="293"/>
                    </a:lnTo>
                    <a:lnTo>
                      <a:pt x="291" y="288"/>
                    </a:lnTo>
                    <a:lnTo>
                      <a:pt x="293" y="283"/>
                    </a:lnTo>
                    <a:lnTo>
                      <a:pt x="305" y="274"/>
                    </a:lnTo>
                    <a:lnTo>
                      <a:pt x="312" y="274"/>
                    </a:lnTo>
                    <a:lnTo>
                      <a:pt x="314" y="277"/>
                    </a:lnTo>
                    <a:lnTo>
                      <a:pt x="316" y="283"/>
                    </a:lnTo>
                    <a:lnTo>
                      <a:pt x="320" y="286"/>
                    </a:lnTo>
                    <a:lnTo>
                      <a:pt x="325" y="286"/>
                    </a:lnTo>
                    <a:lnTo>
                      <a:pt x="328" y="279"/>
                    </a:lnTo>
                    <a:lnTo>
                      <a:pt x="325" y="274"/>
                    </a:lnTo>
                    <a:lnTo>
                      <a:pt x="320" y="263"/>
                    </a:lnTo>
                    <a:lnTo>
                      <a:pt x="316" y="256"/>
                    </a:lnTo>
                    <a:lnTo>
                      <a:pt x="316" y="251"/>
                    </a:lnTo>
                    <a:lnTo>
                      <a:pt x="318" y="247"/>
                    </a:lnTo>
                    <a:lnTo>
                      <a:pt x="324" y="246"/>
                    </a:lnTo>
                    <a:lnTo>
                      <a:pt x="326" y="249"/>
                    </a:lnTo>
                    <a:lnTo>
                      <a:pt x="332" y="249"/>
                    </a:lnTo>
                    <a:lnTo>
                      <a:pt x="338" y="246"/>
                    </a:lnTo>
                    <a:lnTo>
                      <a:pt x="341" y="249"/>
                    </a:lnTo>
                    <a:lnTo>
                      <a:pt x="349" y="242"/>
                    </a:lnTo>
                    <a:lnTo>
                      <a:pt x="353" y="235"/>
                    </a:lnTo>
                    <a:lnTo>
                      <a:pt x="356" y="235"/>
                    </a:lnTo>
                    <a:lnTo>
                      <a:pt x="358" y="237"/>
                    </a:lnTo>
                    <a:lnTo>
                      <a:pt x="367" y="240"/>
                    </a:lnTo>
                    <a:lnTo>
                      <a:pt x="369" y="239"/>
                    </a:lnTo>
                    <a:lnTo>
                      <a:pt x="369" y="232"/>
                    </a:lnTo>
                    <a:lnTo>
                      <a:pt x="370" y="219"/>
                    </a:lnTo>
                    <a:lnTo>
                      <a:pt x="365" y="209"/>
                    </a:lnTo>
                    <a:lnTo>
                      <a:pt x="356" y="196"/>
                    </a:lnTo>
                    <a:lnTo>
                      <a:pt x="346" y="189"/>
                    </a:lnTo>
                    <a:lnTo>
                      <a:pt x="342" y="179"/>
                    </a:lnTo>
                    <a:lnTo>
                      <a:pt x="351" y="182"/>
                    </a:lnTo>
                    <a:lnTo>
                      <a:pt x="357" y="186"/>
                    </a:lnTo>
                    <a:lnTo>
                      <a:pt x="367" y="187"/>
                    </a:lnTo>
                    <a:lnTo>
                      <a:pt x="374" y="182"/>
                    </a:lnTo>
                    <a:lnTo>
                      <a:pt x="377" y="179"/>
                    </a:lnTo>
                    <a:lnTo>
                      <a:pt x="379" y="173"/>
                    </a:lnTo>
                    <a:lnTo>
                      <a:pt x="377" y="171"/>
                    </a:lnTo>
                    <a:lnTo>
                      <a:pt x="370" y="170"/>
                    </a:lnTo>
                    <a:lnTo>
                      <a:pt x="362" y="159"/>
                    </a:lnTo>
                    <a:lnTo>
                      <a:pt x="354" y="154"/>
                    </a:lnTo>
                    <a:lnTo>
                      <a:pt x="351" y="140"/>
                    </a:lnTo>
                    <a:lnTo>
                      <a:pt x="341" y="141"/>
                    </a:lnTo>
                    <a:lnTo>
                      <a:pt x="333" y="138"/>
                    </a:lnTo>
                    <a:lnTo>
                      <a:pt x="330" y="131"/>
                    </a:lnTo>
                    <a:lnTo>
                      <a:pt x="329" y="122"/>
                    </a:lnTo>
                    <a:lnTo>
                      <a:pt x="333" y="119"/>
                    </a:lnTo>
                    <a:lnTo>
                      <a:pt x="333" y="111"/>
                    </a:lnTo>
                    <a:lnTo>
                      <a:pt x="332" y="106"/>
                    </a:lnTo>
                    <a:lnTo>
                      <a:pt x="333" y="103"/>
                    </a:lnTo>
                    <a:lnTo>
                      <a:pt x="337" y="97"/>
                    </a:lnTo>
                    <a:lnTo>
                      <a:pt x="344" y="87"/>
                    </a:lnTo>
                    <a:lnTo>
                      <a:pt x="351" y="73"/>
                    </a:lnTo>
                    <a:lnTo>
                      <a:pt x="354" y="55"/>
                    </a:lnTo>
                    <a:lnTo>
                      <a:pt x="354" y="51"/>
                    </a:lnTo>
                    <a:lnTo>
                      <a:pt x="341" y="48"/>
                    </a:lnTo>
                    <a:lnTo>
                      <a:pt x="333" y="48"/>
                    </a:lnTo>
                    <a:lnTo>
                      <a:pt x="325" y="55"/>
                    </a:lnTo>
                    <a:lnTo>
                      <a:pt x="320" y="57"/>
                    </a:lnTo>
                    <a:lnTo>
                      <a:pt x="313" y="59"/>
                    </a:lnTo>
                    <a:lnTo>
                      <a:pt x="304" y="57"/>
                    </a:lnTo>
                    <a:lnTo>
                      <a:pt x="296" y="48"/>
                    </a:lnTo>
                    <a:lnTo>
                      <a:pt x="300" y="43"/>
                    </a:lnTo>
                    <a:lnTo>
                      <a:pt x="298" y="36"/>
                    </a:lnTo>
                    <a:lnTo>
                      <a:pt x="292" y="36"/>
                    </a:lnTo>
                    <a:lnTo>
                      <a:pt x="291" y="29"/>
                    </a:lnTo>
                    <a:lnTo>
                      <a:pt x="279" y="21"/>
                    </a:lnTo>
                    <a:lnTo>
                      <a:pt x="275" y="27"/>
                    </a:lnTo>
                    <a:lnTo>
                      <a:pt x="270" y="27"/>
                    </a:lnTo>
                    <a:lnTo>
                      <a:pt x="259" y="20"/>
                    </a:lnTo>
                    <a:lnTo>
                      <a:pt x="254" y="20"/>
                    </a:lnTo>
                    <a:lnTo>
                      <a:pt x="246" y="18"/>
                    </a:lnTo>
                    <a:lnTo>
                      <a:pt x="242" y="21"/>
                    </a:lnTo>
                    <a:lnTo>
                      <a:pt x="236" y="25"/>
                    </a:lnTo>
                    <a:lnTo>
                      <a:pt x="230" y="21"/>
                    </a:lnTo>
                    <a:lnTo>
                      <a:pt x="226" y="18"/>
                    </a:lnTo>
                    <a:lnTo>
                      <a:pt x="219" y="18"/>
                    </a:lnTo>
                    <a:lnTo>
                      <a:pt x="215" y="23"/>
                    </a:lnTo>
                    <a:lnTo>
                      <a:pt x="207" y="29"/>
                    </a:lnTo>
                    <a:lnTo>
                      <a:pt x="200" y="23"/>
                    </a:lnTo>
                    <a:lnTo>
                      <a:pt x="189" y="18"/>
                    </a:lnTo>
                    <a:lnTo>
                      <a:pt x="181" y="20"/>
                    </a:lnTo>
                    <a:lnTo>
                      <a:pt x="173" y="20"/>
                    </a:lnTo>
                    <a:lnTo>
                      <a:pt x="165" y="16"/>
                    </a:lnTo>
                    <a:lnTo>
                      <a:pt x="157" y="14"/>
                    </a:lnTo>
                    <a:lnTo>
                      <a:pt x="152" y="9"/>
                    </a:lnTo>
                    <a:lnTo>
                      <a:pt x="146" y="14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58" name="Freeform 246"/>
              <p:cNvSpPr>
                <a:spLocks/>
              </p:cNvSpPr>
              <p:nvPr>
                <p:custDataLst>
                  <p:tags r:id="rId183"/>
                </p:custDataLst>
              </p:nvPr>
            </p:nvSpPr>
            <p:spPr bwMode="auto">
              <a:xfrm>
                <a:off x="3023" y="1958"/>
                <a:ext cx="92" cy="64"/>
              </a:xfrm>
              <a:custGeom>
                <a:avLst/>
                <a:gdLst>
                  <a:gd name="T0" fmla="*/ 40 w 609"/>
                  <a:gd name="T1" fmla="*/ 0 h 439"/>
                  <a:gd name="T2" fmla="*/ 0 w 609"/>
                  <a:gd name="T3" fmla="*/ 66 h 439"/>
                  <a:gd name="T4" fmla="*/ 60 w 609"/>
                  <a:gd name="T5" fmla="*/ 154 h 439"/>
                  <a:gd name="T6" fmla="*/ 48 w 609"/>
                  <a:gd name="T7" fmla="*/ 188 h 439"/>
                  <a:gd name="T8" fmla="*/ 5 w 609"/>
                  <a:gd name="T9" fmla="*/ 226 h 439"/>
                  <a:gd name="T10" fmla="*/ 3 w 609"/>
                  <a:gd name="T11" fmla="*/ 272 h 439"/>
                  <a:gd name="T12" fmla="*/ 9 w 609"/>
                  <a:gd name="T13" fmla="*/ 294 h 439"/>
                  <a:gd name="T14" fmla="*/ 55 w 609"/>
                  <a:gd name="T15" fmla="*/ 336 h 439"/>
                  <a:gd name="T16" fmla="*/ 64 w 609"/>
                  <a:gd name="T17" fmla="*/ 398 h 439"/>
                  <a:gd name="T18" fmla="*/ 60 w 609"/>
                  <a:gd name="T19" fmla="*/ 429 h 439"/>
                  <a:gd name="T20" fmla="*/ 146 w 609"/>
                  <a:gd name="T21" fmla="*/ 414 h 439"/>
                  <a:gd name="T22" fmla="*/ 209 w 609"/>
                  <a:gd name="T23" fmla="*/ 394 h 439"/>
                  <a:gd name="T24" fmla="*/ 317 w 609"/>
                  <a:gd name="T25" fmla="*/ 438 h 439"/>
                  <a:gd name="T26" fmla="*/ 370 w 609"/>
                  <a:gd name="T27" fmla="*/ 403 h 439"/>
                  <a:gd name="T28" fmla="*/ 381 w 609"/>
                  <a:gd name="T29" fmla="*/ 369 h 439"/>
                  <a:gd name="T30" fmla="*/ 419 w 609"/>
                  <a:gd name="T31" fmla="*/ 343 h 439"/>
                  <a:gd name="T32" fmla="*/ 469 w 609"/>
                  <a:gd name="T33" fmla="*/ 316 h 439"/>
                  <a:gd name="T34" fmla="*/ 551 w 609"/>
                  <a:gd name="T35" fmla="*/ 324 h 439"/>
                  <a:gd name="T36" fmla="*/ 534 w 609"/>
                  <a:gd name="T37" fmla="*/ 286 h 439"/>
                  <a:gd name="T38" fmla="*/ 522 w 609"/>
                  <a:gd name="T39" fmla="*/ 262 h 439"/>
                  <a:gd name="T40" fmla="*/ 512 w 609"/>
                  <a:gd name="T41" fmla="*/ 248 h 439"/>
                  <a:gd name="T42" fmla="*/ 544 w 609"/>
                  <a:gd name="T43" fmla="*/ 218 h 439"/>
                  <a:gd name="T44" fmla="*/ 549 w 609"/>
                  <a:gd name="T45" fmla="*/ 172 h 439"/>
                  <a:gd name="T46" fmla="*/ 578 w 609"/>
                  <a:gd name="T47" fmla="*/ 115 h 439"/>
                  <a:gd name="T48" fmla="*/ 603 w 609"/>
                  <a:gd name="T49" fmla="*/ 112 h 439"/>
                  <a:gd name="T50" fmla="*/ 521 w 609"/>
                  <a:gd name="T51" fmla="*/ 45 h 439"/>
                  <a:gd name="T52" fmla="*/ 485 w 609"/>
                  <a:gd name="T53" fmla="*/ 29 h 439"/>
                  <a:gd name="T54" fmla="*/ 430 w 609"/>
                  <a:gd name="T55" fmla="*/ 2 h 439"/>
                  <a:gd name="T56" fmla="*/ 302 w 609"/>
                  <a:gd name="T57" fmla="*/ 69 h 439"/>
                  <a:gd name="T58" fmla="*/ 228 w 609"/>
                  <a:gd name="T59" fmla="*/ 46 h 439"/>
                  <a:gd name="T60" fmla="*/ 182 w 609"/>
                  <a:gd name="T61" fmla="*/ 64 h 439"/>
                  <a:gd name="T62" fmla="*/ 109 w 609"/>
                  <a:gd name="T63" fmla="*/ 39 h 439"/>
                  <a:gd name="T64" fmla="*/ 64 w 609"/>
                  <a:gd name="T65" fmla="*/ 53 h 439"/>
                  <a:gd name="T66" fmla="*/ 72 w 609"/>
                  <a:gd name="T67" fmla="*/ 20 h 43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609"/>
                  <a:gd name="T103" fmla="*/ 0 h 439"/>
                  <a:gd name="T104" fmla="*/ 609 w 609"/>
                  <a:gd name="T105" fmla="*/ 439 h 439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609" h="439">
                    <a:moveTo>
                      <a:pt x="56" y="13"/>
                    </a:moveTo>
                    <a:lnTo>
                      <a:pt x="40" y="0"/>
                    </a:lnTo>
                    <a:lnTo>
                      <a:pt x="7" y="46"/>
                    </a:lnTo>
                    <a:lnTo>
                      <a:pt x="0" y="66"/>
                    </a:lnTo>
                    <a:lnTo>
                      <a:pt x="3" y="83"/>
                    </a:lnTo>
                    <a:lnTo>
                      <a:pt x="60" y="154"/>
                    </a:lnTo>
                    <a:lnTo>
                      <a:pt x="62" y="168"/>
                    </a:lnTo>
                    <a:lnTo>
                      <a:pt x="48" y="188"/>
                    </a:lnTo>
                    <a:lnTo>
                      <a:pt x="15" y="209"/>
                    </a:lnTo>
                    <a:lnTo>
                      <a:pt x="5" y="226"/>
                    </a:lnTo>
                    <a:lnTo>
                      <a:pt x="5" y="260"/>
                    </a:lnTo>
                    <a:lnTo>
                      <a:pt x="3" y="272"/>
                    </a:lnTo>
                    <a:lnTo>
                      <a:pt x="3" y="279"/>
                    </a:lnTo>
                    <a:lnTo>
                      <a:pt x="9" y="294"/>
                    </a:lnTo>
                    <a:lnTo>
                      <a:pt x="39" y="311"/>
                    </a:lnTo>
                    <a:lnTo>
                      <a:pt x="55" y="336"/>
                    </a:lnTo>
                    <a:lnTo>
                      <a:pt x="64" y="366"/>
                    </a:lnTo>
                    <a:lnTo>
                      <a:pt x="64" y="398"/>
                    </a:lnTo>
                    <a:lnTo>
                      <a:pt x="59" y="415"/>
                    </a:lnTo>
                    <a:lnTo>
                      <a:pt x="60" y="429"/>
                    </a:lnTo>
                    <a:lnTo>
                      <a:pt x="65" y="427"/>
                    </a:lnTo>
                    <a:lnTo>
                      <a:pt x="146" y="414"/>
                    </a:lnTo>
                    <a:lnTo>
                      <a:pt x="182" y="398"/>
                    </a:lnTo>
                    <a:lnTo>
                      <a:pt x="209" y="394"/>
                    </a:lnTo>
                    <a:lnTo>
                      <a:pt x="301" y="439"/>
                    </a:lnTo>
                    <a:lnTo>
                      <a:pt x="317" y="438"/>
                    </a:lnTo>
                    <a:lnTo>
                      <a:pt x="367" y="420"/>
                    </a:lnTo>
                    <a:lnTo>
                      <a:pt x="370" y="403"/>
                    </a:lnTo>
                    <a:lnTo>
                      <a:pt x="366" y="384"/>
                    </a:lnTo>
                    <a:lnTo>
                      <a:pt x="381" y="369"/>
                    </a:lnTo>
                    <a:lnTo>
                      <a:pt x="398" y="371"/>
                    </a:lnTo>
                    <a:lnTo>
                      <a:pt x="419" y="343"/>
                    </a:lnTo>
                    <a:lnTo>
                      <a:pt x="448" y="320"/>
                    </a:lnTo>
                    <a:lnTo>
                      <a:pt x="469" y="316"/>
                    </a:lnTo>
                    <a:lnTo>
                      <a:pt x="492" y="324"/>
                    </a:lnTo>
                    <a:lnTo>
                      <a:pt x="551" y="324"/>
                    </a:lnTo>
                    <a:lnTo>
                      <a:pt x="551" y="309"/>
                    </a:lnTo>
                    <a:lnTo>
                      <a:pt x="534" y="286"/>
                    </a:lnTo>
                    <a:lnTo>
                      <a:pt x="533" y="276"/>
                    </a:lnTo>
                    <a:lnTo>
                      <a:pt x="522" y="262"/>
                    </a:lnTo>
                    <a:lnTo>
                      <a:pt x="510" y="265"/>
                    </a:lnTo>
                    <a:lnTo>
                      <a:pt x="512" y="248"/>
                    </a:lnTo>
                    <a:lnTo>
                      <a:pt x="526" y="225"/>
                    </a:lnTo>
                    <a:lnTo>
                      <a:pt x="544" y="218"/>
                    </a:lnTo>
                    <a:lnTo>
                      <a:pt x="547" y="209"/>
                    </a:lnTo>
                    <a:lnTo>
                      <a:pt x="549" y="172"/>
                    </a:lnTo>
                    <a:lnTo>
                      <a:pt x="563" y="124"/>
                    </a:lnTo>
                    <a:lnTo>
                      <a:pt x="578" y="115"/>
                    </a:lnTo>
                    <a:lnTo>
                      <a:pt x="591" y="117"/>
                    </a:lnTo>
                    <a:lnTo>
                      <a:pt x="603" y="112"/>
                    </a:lnTo>
                    <a:lnTo>
                      <a:pt x="609" y="75"/>
                    </a:lnTo>
                    <a:lnTo>
                      <a:pt x="521" y="45"/>
                    </a:lnTo>
                    <a:lnTo>
                      <a:pt x="498" y="30"/>
                    </a:lnTo>
                    <a:lnTo>
                      <a:pt x="485" y="29"/>
                    </a:lnTo>
                    <a:lnTo>
                      <a:pt x="455" y="4"/>
                    </a:lnTo>
                    <a:lnTo>
                      <a:pt x="430" y="2"/>
                    </a:lnTo>
                    <a:lnTo>
                      <a:pt x="318" y="66"/>
                    </a:lnTo>
                    <a:lnTo>
                      <a:pt x="302" y="69"/>
                    </a:lnTo>
                    <a:lnTo>
                      <a:pt x="242" y="46"/>
                    </a:lnTo>
                    <a:lnTo>
                      <a:pt x="228" y="46"/>
                    </a:lnTo>
                    <a:lnTo>
                      <a:pt x="197" y="62"/>
                    </a:lnTo>
                    <a:lnTo>
                      <a:pt x="182" y="64"/>
                    </a:lnTo>
                    <a:lnTo>
                      <a:pt x="132" y="39"/>
                    </a:lnTo>
                    <a:lnTo>
                      <a:pt x="109" y="39"/>
                    </a:lnTo>
                    <a:lnTo>
                      <a:pt x="76" y="52"/>
                    </a:lnTo>
                    <a:lnTo>
                      <a:pt x="64" y="53"/>
                    </a:lnTo>
                    <a:lnTo>
                      <a:pt x="62" y="41"/>
                    </a:lnTo>
                    <a:lnTo>
                      <a:pt x="72" y="20"/>
                    </a:lnTo>
                    <a:lnTo>
                      <a:pt x="56" y="13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59" name="Freeform 247"/>
              <p:cNvSpPr>
                <a:spLocks/>
              </p:cNvSpPr>
              <p:nvPr>
                <p:custDataLst>
                  <p:tags r:id="rId184"/>
                </p:custDataLst>
              </p:nvPr>
            </p:nvSpPr>
            <p:spPr bwMode="auto">
              <a:xfrm>
                <a:off x="2561" y="1968"/>
                <a:ext cx="182" cy="159"/>
              </a:xfrm>
              <a:custGeom>
                <a:avLst/>
                <a:gdLst>
                  <a:gd name="T0" fmla="*/ 62 w 1219"/>
                  <a:gd name="T1" fmla="*/ 187 h 1066"/>
                  <a:gd name="T2" fmla="*/ 46 w 1219"/>
                  <a:gd name="T3" fmla="*/ 261 h 1066"/>
                  <a:gd name="T4" fmla="*/ 213 w 1219"/>
                  <a:gd name="T5" fmla="*/ 264 h 1066"/>
                  <a:gd name="T6" fmla="*/ 263 w 1219"/>
                  <a:gd name="T7" fmla="*/ 266 h 1066"/>
                  <a:gd name="T8" fmla="*/ 309 w 1219"/>
                  <a:gd name="T9" fmla="*/ 328 h 1066"/>
                  <a:gd name="T10" fmla="*/ 238 w 1219"/>
                  <a:gd name="T11" fmla="*/ 378 h 1066"/>
                  <a:gd name="T12" fmla="*/ 234 w 1219"/>
                  <a:gd name="T13" fmla="*/ 495 h 1066"/>
                  <a:gd name="T14" fmla="*/ 214 w 1219"/>
                  <a:gd name="T15" fmla="*/ 580 h 1066"/>
                  <a:gd name="T16" fmla="*/ 202 w 1219"/>
                  <a:gd name="T17" fmla="*/ 620 h 1066"/>
                  <a:gd name="T18" fmla="*/ 192 w 1219"/>
                  <a:gd name="T19" fmla="*/ 730 h 1066"/>
                  <a:gd name="T20" fmla="*/ 238 w 1219"/>
                  <a:gd name="T21" fmla="*/ 784 h 1066"/>
                  <a:gd name="T22" fmla="*/ 174 w 1219"/>
                  <a:gd name="T23" fmla="*/ 903 h 1066"/>
                  <a:gd name="T24" fmla="*/ 222 w 1219"/>
                  <a:gd name="T25" fmla="*/ 910 h 1066"/>
                  <a:gd name="T26" fmla="*/ 272 w 1219"/>
                  <a:gd name="T27" fmla="*/ 970 h 1066"/>
                  <a:gd name="T28" fmla="*/ 290 w 1219"/>
                  <a:gd name="T29" fmla="*/ 1005 h 1066"/>
                  <a:gd name="T30" fmla="*/ 354 w 1219"/>
                  <a:gd name="T31" fmla="*/ 1066 h 1066"/>
                  <a:gd name="T32" fmla="*/ 374 w 1219"/>
                  <a:gd name="T33" fmla="*/ 1044 h 1066"/>
                  <a:gd name="T34" fmla="*/ 382 w 1219"/>
                  <a:gd name="T35" fmla="*/ 1035 h 1066"/>
                  <a:gd name="T36" fmla="*/ 472 w 1219"/>
                  <a:gd name="T37" fmla="*/ 970 h 1066"/>
                  <a:gd name="T38" fmla="*/ 639 w 1219"/>
                  <a:gd name="T39" fmla="*/ 973 h 1066"/>
                  <a:gd name="T40" fmla="*/ 689 w 1219"/>
                  <a:gd name="T41" fmla="*/ 970 h 1066"/>
                  <a:gd name="T42" fmla="*/ 750 w 1219"/>
                  <a:gd name="T43" fmla="*/ 873 h 1066"/>
                  <a:gd name="T44" fmla="*/ 830 w 1219"/>
                  <a:gd name="T45" fmla="*/ 850 h 1066"/>
                  <a:gd name="T46" fmla="*/ 853 w 1219"/>
                  <a:gd name="T47" fmla="*/ 769 h 1066"/>
                  <a:gd name="T48" fmla="*/ 922 w 1219"/>
                  <a:gd name="T49" fmla="*/ 686 h 1066"/>
                  <a:gd name="T50" fmla="*/ 886 w 1219"/>
                  <a:gd name="T51" fmla="*/ 654 h 1066"/>
                  <a:gd name="T52" fmla="*/ 932 w 1219"/>
                  <a:gd name="T53" fmla="*/ 491 h 1066"/>
                  <a:gd name="T54" fmla="*/ 990 w 1219"/>
                  <a:gd name="T55" fmla="*/ 424 h 1066"/>
                  <a:gd name="T56" fmla="*/ 995 w 1219"/>
                  <a:gd name="T57" fmla="*/ 384 h 1066"/>
                  <a:gd name="T58" fmla="*/ 1125 w 1219"/>
                  <a:gd name="T59" fmla="*/ 323 h 1066"/>
                  <a:gd name="T60" fmla="*/ 1212 w 1219"/>
                  <a:gd name="T61" fmla="*/ 229 h 1066"/>
                  <a:gd name="T62" fmla="*/ 1163 w 1219"/>
                  <a:gd name="T63" fmla="*/ 197 h 1066"/>
                  <a:gd name="T64" fmla="*/ 1122 w 1219"/>
                  <a:gd name="T65" fmla="*/ 192 h 1066"/>
                  <a:gd name="T66" fmla="*/ 1092 w 1219"/>
                  <a:gd name="T67" fmla="*/ 192 h 1066"/>
                  <a:gd name="T68" fmla="*/ 1051 w 1219"/>
                  <a:gd name="T69" fmla="*/ 194 h 1066"/>
                  <a:gd name="T70" fmla="*/ 1037 w 1219"/>
                  <a:gd name="T71" fmla="*/ 157 h 1066"/>
                  <a:gd name="T72" fmla="*/ 967 w 1219"/>
                  <a:gd name="T73" fmla="*/ 157 h 1066"/>
                  <a:gd name="T74" fmla="*/ 926 w 1219"/>
                  <a:gd name="T75" fmla="*/ 153 h 1066"/>
                  <a:gd name="T76" fmla="*/ 888 w 1219"/>
                  <a:gd name="T77" fmla="*/ 144 h 1066"/>
                  <a:gd name="T78" fmla="*/ 852 w 1219"/>
                  <a:gd name="T79" fmla="*/ 137 h 1066"/>
                  <a:gd name="T80" fmla="*/ 819 w 1219"/>
                  <a:gd name="T81" fmla="*/ 121 h 1066"/>
                  <a:gd name="T82" fmla="*/ 760 w 1219"/>
                  <a:gd name="T83" fmla="*/ 106 h 1066"/>
                  <a:gd name="T84" fmla="*/ 763 w 1219"/>
                  <a:gd name="T85" fmla="*/ 76 h 1066"/>
                  <a:gd name="T86" fmla="*/ 707 w 1219"/>
                  <a:gd name="T87" fmla="*/ 58 h 1066"/>
                  <a:gd name="T88" fmla="*/ 615 w 1219"/>
                  <a:gd name="T89" fmla="*/ 26 h 1066"/>
                  <a:gd name="T90" fmla="*/ 532 w 1219"/>
                  <a:gd name="T91" fmla="*/ 42 h 1066"/>
                  <a:gd name="T92" fmla="*/ 339 w 1219"/>
                  <a:gd name="T93" fmla="*/ 5 h 1066"/>
                  <a:gd name="T94" fmla="*/ 241 w 1219"/>
                  <a:gd name="T95" fmla="*/ 31 h 1066"/>
                  <a:gd name="T96" fmla="*/ 127 w 1219"/>
                  <a:gd name="T97" fmla="*/ 0 h 1066"/>
                  <a:gd name="T98" fmla="*/ 95 w 1219"/>
                  <a:gd name="T99" fmla="*/ 54 h 1066"/>
                  <a:gd name="T100" fmla="*/ 8 w 1219"/>
                  <a:gd name="T101" fmla="*/ 83 h 1066"/>
                  <a:gd name="T102" fmla="*/ 10 w 1219"/>
                  <a:gd name="T103" fmla="*/ 125 h 106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1219"/>
                  <a:gd name="T157" fmla="*/ 0 h 1066"/>
                  <a:gd name="T158" fmla="*/ 1219 w 1219"/>
                  <a:gd name="T159" fmla="*/ 1066 h 106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1219" h="1066">
                    <a:moveTo>
                      <a:pt x="10" y="125"/>
                    </a:moveTo>
                    <a:lnTo>
                      <a:pt x="33" y="130"/>
                    </a:lnTo>
                    <a:lnTo>
                      <a:pt x="62" y="187"/>
                    </a:lnTo>
                    <a:lnTo>
                      <a:pt x="47" y="219"/>
                    </a:lnTo>
                    <a:lnTo>
                      <a:pt x="39" y="243"/>
                    </a:lnTo>
                    <a:lnTo>
                      <a:pt x="46" y="261"/>
                    </a:lnTo>
                    <a:lnTo>
                      <a:pt x="110" y="234"/>
                    </a:lnTo>
                    <a:lnTo>
                      <a:pt x="133" y="261"/>
                    </a:lnTo>
                    <a:lnTo>
                      <a:pt x="213" y="264"/>
                    </a:lnTo>
                    <a:lnTo>
                      <a:pt x="237" y="249"/>
                    </a:lnTo>
                    <a:lnTo>
                      <a:pt x="251" y="252"/>
                    </a:lnTo>
                    <a:lnTo>
                      <a:pt x="263" y="266"/>
                    </a:lnTo>
                    <a:lnTo>
                      <a:pt x="270" y="280"/>
                    </a:lnTo>
                    <a:lnTo>
                      <a:pt x="307" y="312"/>
                    </a:lnTo>
                    <a:lnTo>
                      <a:pt x="309" y="328"/>
                    </a:lnTo>
                    <a:lnTo>
                      <a:pt x="298" y="340"/>
                    </a:lnTo>
                    <a:lnTo>
                      <a:pt x="243" y="373"/>
                    </a:lnTo>
                    <a:lnTo>
                      <a:pt x="238" y="378"/>
                    </a:lnTo>
                    <a:lnTo>
                      <a:pt x="237" y="405"/>
                    </a:lnTo>
                    <a:lnTo>
                      <a:pt x="239" y="433"/>
                    </a:lnTo>
                    <a:lnTo>
                      <a:pt x="234" y="495"/>
                    </a:lnTo>
                    <a:lnTo>
                      <a:pt x="237" y="553"/>
                    </a:lnTo>
                    <a:lnTo>
                      <a:pt x="235" y="566"/>
                    </a:lnTo>
                    <a:lnTo>
                      <a:pt x="214" y="580"/>
                    </a:lnTo>
                    <a:lnTo>
                      <a:pt x="194" y="583"/>
                    </a:lnTo>
                    <a:lnTo>
                      <a:pt x="181" y="590"/>
                    </a:lnTo>
                    <a:lnTo>
                      <a:pt x="202" y="620"/>
                    </a:lnTo>
                    <a:lnTo>
                      <a:pt x="229" y="668"/>
                    </a:lnTo>
                    <a:lnTo>
                      <a:pt x="214" y="689"/>
                    </a:lnTo>
                    <a:lnTo>
                      <a:pt x="192" y="730"/>
                    </a:lnTo>
                    <a:lnTo>
                      <a:pt x="184" y="758"/>
                    </a:lnTo>
                    <a:lnTo>
                      <a:pt x="221" y="765"/>
                    </a:lnTo>
                    <a:lnTo>
                      <a:pt x="238" y="784"/>
                    </a:lnTo>
                    <a:lnTo>
                      <a:pt x="198" y="823"/>
                    </a:lnTo>
                    <a:lnTo>
                      <a:pt x="188" y="846"/>
                    </a:lnTo>
                    <a:lnTo>
                      <a:pt x="174" y="903"/>
                    </a:lnTo>
                    <a:lnTo>
                      <a:pt x="174" y="905"/>
                    </a:lnTo>
                    <a:lnTo>
                      <a:pt x="200" y="903"/>
                    </a:lnTo>
                    <a:lnTo>
                      <a:pt x="222" y="910"/>
                    </a:lnTo>
                    <a:lnTo>
                      <a:pt x="259" y="929"/>
                    </a:lnTo>
                    <a:lnTo>
                      <a:pt x="280" y="961"/>
                    </a:lnTo>
                    <a:lnTo>
                      <a:pt x="272" y="970"/>
                    </a:lnTo>
                    <a:lnTo>
                      <a:pt x="276" y="984"/>
                    </a:lnTo>
                    <a:lnTo>
                      <a:pt x="293" y="989"/>
                    </a:lnTo>
                    <a:lnTo>
                      <a:pt x="290" y="1005"/>
                    </a:lnTo>
                    <a:lnTo>
                      <a:pt x="300" y="1028"/>
                    </a:lnTo>
                    <a:lnTo>
                      <a:pt x="336" y="1057"/>
                    </a:lnTo>
                    <a:lnTo>
                      <a:pt x="354" y="1066"/>
                    </a:lnTo>
                    <a:lnTo>
                      <a:pt x="372" y="1059"/>
                    </a:lnTo>
                    <a:lnTo>
                      <a:pt x="372" y="1044"/>
                    </a:lnTo>
                    <a:lnTo>
                      <a:pt x="374" y="1044"/>
                    </a:lnTo>
                    <a:lnTo>
                      <a:pt x="377" y="1057"/>
                    </a:lnTo>
                    <a:lnTo>
                      <a:pt x="381" y="1052"/>
                    </a:lnTo>
                    <a:lnTo>
                      <a:pt x="382" y="1035"/>
                    </a:lnTo>
                    <a:lnTo>
                      <a:pt x="397" y="1012"/>
                    </a:lnTo>
                    <a:lnTo>
                      <a:pt x="443" y="1002"/>
                    </a:lnTo>
                    <a:lnTo>
                      <a:pt x="472" y="970"/>
                    </a:lnTo>
                    <a:lnTo>
                      <a:pt x="618" y="968"/>
                    </a:lnTo>
                    <a:lnTo>
                      <a:pt x="623" y="973"/>
                    </a:lnTo>
                    <a:lnTo>
                      <a:pt x="639" y="973"/>
                    </a:lnTo>
                    <a:lnTo>
                      <a:pt x="652" y="957"/>
                    </a:lnTo>
                    <a:lnTo>
                      <a:pt x="679" y="956"/>
                    </a:lnTo>
                    <a:lnTo>
                      <a:pt x="689" y="970"/>
                    </a:lnTo>
                    <a:lnTo>
                      <a:pt x="718" y="940"/>
                    </a:lnTo>
                    <a:lnTo>
                      <a:pt x="730" y="894"/>
                    </a:lnTo>
                    <a:lnTo>
                      <a:pt x="750" y="873"/>
                    </a:lnTo>
                    <a:lnTo>
                      <a:pt x="775" y="859"/>
                    </a:lnTo>
                    <a:lnTo>
                      <a:pt x="819" y="855"/>
                    </a:lnTo>
                    <a:lnTo>
                      <a:pt x="830" y="850"/>
                    </a:lnTo>
                    <a:lnTo>
                      <a:pt x="824" y="830"/>
                    </a:lnTo>
                    <a:lnTo>
                      <a:pt x="844" y="774"/>
                    </a:lnTo>
                    <a:lnTo>
                      <a:pt x="853" y="769"/>
                    </a:lnTo>
                    <a:lnTo>
                      <a:pt x="867" y="739"/>
                    </a:lnTo>
                    <a:lnTo>
                      <a:pt x="926" y="698"/>
                    </a:lnTo>
                    <a:lnTo>
                      <a:pt x="922" y="686"/>
                    </a:lnTo>
                    <a:lnTo>
                      <a:pt x="893" y="668"/>
                    </a:lnTo>
                    <a:lnTo>
                      <a:pt x="889" y="661"/>
                    </a:lnTo>
                    <a:lnTo>
                      <a:pt x="886" y="654"/>
                    </a:lnTo>
                    <a:lnTo>
                      <a:pt x="869" y="603"/>
                    </a:lnTo>
                    <a:lnTo>
                      <a:pt x="893" y="541"/>
                    </a:lnTo>
                    <a:lnTo>
                      <a:pt x="932" y="491"/>
                    </a:lnTo>
                    <a:lnTo>
                      <a:pt x="958" y="442"/>
                    </a:lnTo>
                    <a:lnTo>
                      <a:pt x="987" y="433"/>
                    </a:lnTo>
                    <a:lnTo>
                      <a:pt x="990" y="424"/>
                    </a:lnTo>
                    <a:lnTo>
                      <a:pt x="978" y="415"/>
                    </a:lnTo>
                    <a:lnTo>
                      <a:pt x="981" y="403"/>
                    </a:lnTo>
                    <a:lnTo>
                      <a:pt x="995" y="384"/>
                    </a:lnTo>
                    <a:lnTo>
                      <a:pt x="1037" y="364"/>
                    </a:lnTo>
                    <a:lnTo>
                      <a:pt x="1113" y="345"/>
                    </a:lnTo>
                    <a:lnTo>
                      <a:pt x="1125" y="323"/>
                    </a:lnTo>
                    <a:lnTo>
                      <a:pt x="1215" y="266"/>
                    </a:lnTo>
                    <a:lnTo>
                      <a:pt x="1219" y="234"/>
                    </a:lnTo>
                    <a:lnTo>
                      <a:pt x="1212" y="229"/>
                    </a:lnTo>
                    <a:lnTo>
                      <a:pt x="1212" y="194"/>
                    </a:lnTo>
                    <a:lnTo>
                      <a:pt x="1198" y="189"/>
                    </a:lnTo>
                    <a:lnTo>
                      <a:pt x="1163" y="197"/>
                    </a:lnTo>
                    <a:lnTo>
                      <a:pt x="1162" y="206"/>
                    </a:lnTo>
                    <a:lnTo>
                      <a:pt x="1141" y="204"/>
                    </a:lnTo>
                    <a:lnTo>
                      <a:pt x="1122" y="192"/>
                    </a:lnTo>
                    <a:lnTo>
                      <a:pt x="1104" y="203"/>
                    </a:lnTo>
                    <a:lnTo>
                      <a:pt x="1093" y="201"/>
                    </a:lnTo>
                    <a:lnTo>
                      <a:pt x="1092" y="192"/>
                    </a:lnTo>
                    <a:lnTo>
                      <a:pt x="1077" y="187"/>
                    </a:lnTo>
                    <a:lnTo>
                      <a:pt x="1067" y="189"/>
                    </a:lnTo>
                    <a:lnTo>
                      <a:pt x="1051" y="194"/>
                    </a:lnTo>
                    <a:lnTo>
                      <a:pt x="1043" y="189"/>
                    </a:lnTo>
                    <a:lnTo>
                      <a:pt x="1042" y="169"/>
                    </a:lnTo>
                    <a:lnTo>
                      <a:pt x="1037" y="157"/>
                    </a:lnTo>
                    <a:lnTo>
                      <a:pt x="982" y="137"/>
                    </a:lnTo>
                    <a:lnTo>
                      <a:pt x="966" y="137"/>
                    </a:lnTo>
                    <a:lnTo>
                      <a:pt x="967" y="157"/>
                    </a:lnTo>
                    <a:lnTo>
                      <a:pt x="942" y="157"/>
                    </a:lnTo>
                    <a:lnTo>
                      <a:pt x="928" y="160"/>
                    </a:lnTo>
                    <a:lnTo>
                      <a:pt x="926" y="153"/>
                    </a:lnTo>
                    <a:lnTo>
                      <a:pt x="893" y="155"/>
                    </a:lnTo>
                    <a:lnTo>
                      <a:pt x="889" y="148"/>
                    </a:lnTo>
                    <a:lnTo>
                      <a:pt x="888" y="144"/>
                    </a:lnTo>
                    <a:lnTo>
                      <a:pt x="868" y="136"/>
                    </a:lnTo>
                    <a:lnTo>
                      <a:pt x="863" y="141"/>
                    </a:lnTo>
                    <a:lnTo>
                      <a:pt x="852" y="137"/>
                    </a:lnTo>
                    <a:lnTo>
                      <a:pt x="849" y="143"/>
                    </a:lnTo>
                    <a:lnTo>
                      <a:pt x="827" y="118"/>
                    </a:lnTo>
                    <a:lnTo>
                      <a:pt x="819" y="121"/>
                    </a:lnTo>
                    <a:lnTo>
                      <a:pt x="772" y="100"/>
                    </a:lnTo>
                    <a:lnTo>
                      <a:pt x="767" y="107"/>
                    </a:lnTo>
                    <a:lnTo>
                      <a:pt x="760" y="106"/>
                    </a:lnTo>
                    <a:lnTo>
                      <a:pt x="756" y="98"/>
                    </a:lnTo>
                    <a:lnTo>
                      <a:pt x="766" y="83"/>
                    </a:lnTo>
                    <a:lnTo>
                      <a:pt x="763" y="76"/>
                    </a:lnTo>
                    <a:lnTo>
                      <a:pt x="742" y="77"/>
                    </a:lnTo>
                    <a:lnTo>
                      <a:pt x="721" y="61"/>
                    </a:lnTo>
                    <a:lnTo>
                      <a:pt x="707" y="58"/>
                    </a:lnTo>
                    <a:lnTo>
                      <a:pt x="677" y="58"/>
                    </a:lnTo>
                    <a:lnTo>
                      <a:pt x="638" y="28"/>
                    </a:lnTo>
                    <a:lnTo>
                      <a:pt x="615" y="26"/>
                    </a:lnTo>
                    <a:lnTo>
                      <a:pt x="595" y="42"/>
                    </a:lnTo>
                    <a:lnTo>
                      <a:pt x="573" y="51"/>
                    </a:lnTo>
                    <a:lnTo>
                      <a:pt x="532" y="42"/>
                    </a:lnTo>
                    <a:lnTo>
                      <a:pt x="397" y="33"/>
                    </a:lnTo>
                    <a:lnTo>
                      <a:pt x="366" y="23"/>
                    </a:lnTo>
                    <a:lnTo>
                      <a:pt x="339" y="5"/>
                    </a:lnTo>
                    <a:lnTo>
                      <a:pt x="323" y="5"/>
                    </a:lnTo>
                    <a:lnTo>
                      <a:pt x="275" y="24"/>
                    </a:lnTo>
                    <a:lnTo>
                      <a:pt x="241" y="31"/>
                    </a:lnTo>
                    <a:lnTo>
                      <a:pt x="207" y="26"/>
                    </a:lnTo>
                    <a:lnTo>
                      <a:pt x="160" y="3"/>
                    </a:lnTo>
                    <a:lnTo>
                      <a:pt x="127" y="0"/>
                    </a:lnTo>
                    <a:lnTo>
                      <a:pt x="103" y="17"/>
                    </a:lnTo>
                    <a:lnTo>
                      <a:pt x="100" y="44"/>
                    </a:lnTo>
                    <a:lnTo>
                      <a:pt x="95" y="54"/>
                    </a:lnTo>
                    <a:lnTo>
                      <a:pt x="41" y="58"/>
                    </a:lnTo>
                    <a:lnTo>
                      <a:pt x="25" y="65"/>
                    </a:lnTo>
                    <a:lnTo>
                      <a:pt x="8" y="83"/>
                    </a:lnTo>
                    <a:lnTo>
                      <a:pt x="0" y="98"/>
                    </a:lnTo>
                    <a:lnTo>
                      <a:pt x="2" y="120"/>
                    </a:lnTo>
                    <a:lnTo>
                      <a:pt x="10" y="125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60" name="Freeform 248"/>
              <p:cNvSpPr>
                <a:spLocks/>
              </p:cNvSpPr>
              <p:nvPr>
                <p:custDataLst>
                  <p:tags r:id="rId185"/>
                </p:custDataLst>
              </p:nvPr>
            </p:nvSpPr>
            <p:spPr bwMode="auto">
              <a:xfrm>
                <a:off x="2966" y="1973"/>
                <a:ext cx="29" cy="36"/>
              </a:xfrm>
              <a:custGeom>
                <a:avLst/>
                <a:gdLst>
                  <a:gd name="T0" fmla="*/ 40 w 188"/>
                  <a:gd name="T1" fmla="*/ 28 h 238"/>
                  <a:gd name="T2" fmla="*/ 26 w 188"/>
                  <a:gd name="T3" fmla="*/ 42 h 238"/>
                  <a:gd name="T4" fmla="*/ 19 w 188"/>
                  <a:gd name="T5" fmla="*/ 54 h 238"/>
                  <a:gd name="T6" fmla="*/ 22 w 188"/>
                  <a:gd name="T7" fmla="*/ 67 h 238"/>
                  <a:gd name="T8" fmla="*/ 12 w 188"/>
                  <a:gd name="T9" fmla="*/ 70 h 238"/>
                  <a:gd name="T10" fmla="*/ 3 w 188"/>
                  <a:gd name="T11" fmla="*/ 77 h 238"/>
                  <a:gd name="T12" fmla="*/ 8 w 188"/>
                  <a:gd name="T13" fmla="*/ 113 h 238"/>
                  <a:gd name="T14" fmla="*/ 12 w 188"/>
                  <a:gd name="T15" fmla="*/ 125 h 238"/>
                  <a:gd name="T16" fmla="*/ 0 w 188"/>
                  <a:gd name="T17" fmla="*/ 137 h 238"/>
                  <a:gd name="T18" fmla="*/ 2 w 188"/>
                  <a:gd name="T19" fmla="*/ 148 h 238"/>
                  <a:gd name="T20" fmla="*/ 6 w 188"/>
                  <a:gd name="T21" fmla="*/ 159 h 238"/>
                  <a:gd name="T22" fmla="*/ 8 w 188"/>
                  <a:gd name="T23" fmla="*/ 166 h 238"/>
                  <a:gd name="T24" fmla="*/ 67 w 188"/>
                  <a:gd name="T25" fmla="*/ 215 h 238"/>
                  <a:gd name="T26" fmla="*/ 88 w 188"/>
                  <a:gd name="T27" fmla="*/ 234 h 238"/>
                  <a:gd name="T28" fmla="*/ 91 w 188"/>
                  <a:gd name="T29" fmla="*/ 215 h 238"/>
                  <a:gd name="T30" fmla="*/ 97 w 188"/>
                  <a:gd name="T31" fmla="*/ 157 h 238"/>
                  <a:gd name="T32" fmla="*/ 157 w 188"/>
                  <a:gd name="T33" fmla="*/ 148 h 238"/>
                  <a:gd name="T34" fmla="*/ 162 w 188"/>
                  <a:gd name="T35" fmla="*/ 125 h 238"/>
                  <a:gd name="T36" fmla="*/ 153 w 188"/>
                  <a:gd name="T37" fmla="*/ 121 h 238"/>
                  <a:gd name="T38" fmla="*/ 151 w 188"/>
                  <a:gd name="T39" fmla="*/ 111 h 238"/>
                  <a:gd name="T40" fmla="*/ 171 w 188"/>
                  <a:gd name="T41" fmla="*/ 113 h 238"/>
                  <a:gd name="T42" fmla="*/ 174 w 188"/>
                  <a:gd name="T43" fmla="*/ 106 h 238"/>
                  <a:gd name="T44" fmla="*/ 184 w 188"/>
                  <a:gd name="T45" fmla="*/ 102 h 238"/>
                  <a:gd name="T46" fmla="*/ 187 w 188"/>
                  <a:gd name="T47" fmla="*/ 95 h 238"/>
                  <a:gd name="T48" fmla="*/ 170 w 188"/>
                  <a:gd name="T49" fmla="*/ 81 h 238"/>
                  <a:gd name="T50" fmla="*/ 162 w 188"/>
                  <a:gd name="T51" fmla="*/ 81 h 238"/>
                  <a:gd name="T52" fmla="*/ 158 w 188"/>
                  <a:gd name="T53" fmla="*/ 74 h 238"/>
                  <a:gd name="T54" fmla="*/ 149 w 188"/>
                  <a:gd name="T55" fmla="*/ 60 h 238"/>
                  <a:gd name="T56" fmla="*/ 142 w 188"/>
                  <a:gd name="T57" fmla="*/ 61 h 238"/>
                  <a:gd name="T58" fmla="*/ 135 w 188"/>
                  <a:gd name="T59" fmla="*/ 58 h 238"/>
                  <a:gd name="T60" fmla="*/ 116 w 188"/>
                  <a:gd name="T61" fmla="*/ 49 h 238"/>
                  <a:gd name="T62" fmla="*/ 105 w 188"/>
                  <a:gd name="T63" fmla="*/ 31 h 238"/>
                  <a:gd name="T64" fmla="*/ 92 w 188"/>
                  <a:gd name="T65" fmla="*/ 19 h 238"/>
                  <a:gd name="T66" fmla="*/ 76 w 188"/>
                  <a:gd name="T67" fmla="*/ 8 h 238"/>
                  <a:gd name="T68" fmla="*/ 73 w 188"/>
                  <a:gd name="T69" fmla="*/ 0 h 238"/>
                  <a:gd name="T70" fmla="*/ 61 w 188"/>
                  <a:gd name="T71" fmla="*/ 3 h 238"/>
                  <a:gd name="T72" fmla="*/ 53 w 188"/>
                  <a:gd name="T73" fmla="*/ 1 h 238"/>
                  <a:gd name="T74" fmla="*/ 51 w 188"/>
                  <a:gd name="T75" fmla="*/ 10 h 238"/>
                  <a:gd name="T76" fmla="*/ 60 w 188"/>
                  <a:gd name="T77" fmla="*/ 28 h 238"/>
                  <a:gd name="T78" fmla="*/ 60 w 188"/>
                  <a:gd name="T79" fmla="*/ 40 h 238"/>
                  <a:gd name="T80" fmla="*/ 51 w 188"/>
                  <a:gd name="T81" fmla="*/ 37 h 238"/>
                  <a:gd name="T82" fmla="*/ 47 w 188"/>
                  <a:gd name="T83" fmla="*/ 28 h 238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88"/>
                  <a:gd name="T127" fmla="*/ 0 h 238"/>
                  <a:gd name="T128" fmla="*/ 188 w 188"/>
                  <a:gd name="T129" fmla="*/ 238 h 238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88" h="238">
                    <a:moveTo>
                      <a:pt x="47" y="28"/>
                    </a:moveTo>
                    <a:lnTo>
                      <a:pt x="40" y="28"/>
                    </a:lnTo>
                    <a:lnTo>
                      <a:pt x="28" y="37"/>
                    </a:lnTo>
                    <a:lnTo>
                      <a:pt x="26" y="42"/>
                    </a:lnTo>
                    <a:lnTo>
                      <a:pt x="24" y="47"/>
                    </a:lnTo>
                    <a:lnTo>
                      <a:pt x="19" y="54"/>
                    </a:lnTo>
                    <a:lnTo>
                      <a:pt x="22" y="60"/>
                    </a:lnTo>
                    <a:lnTo>
                      <a:pt x="22" y="67"/>
                    </a:lnTo>
                    <a:lnTo>
                      <a:pt x="18" y="70"/>
                    </a:lnTo>
                    <a:lnTo>
                      <a:pt x="12" y="70"/>
                    </a:lnTo>
                    <a:lnTo>
                      <a:pt x="8" y="72"/>
                    </a:lnTo>
                    <a:lnTo>
                      <a:pt x="3" y="77"/>
                    </a:lnTo>
                    <a:lnTo>
                      <a:pt x="3" y="102"/>
                    </a:lnTo>
                    <a:lnTo>
                      <a:pt x="8" y="113"/>
                    </a:lnTo>
                    <a:lnTo>
                      <a:pt x="11" y="118"/>
                    </a:lnTo>
                    <a:lnTo>
                      <a:pt x="12" y="125"/>
                    </a:lnTo>
                    <a:lnTo>
                      <a:pt x="10" y="130"/>
                    </a:lnTo>
                    <a:lnTo>
                      <a:pt x="0" y="137"/>
                    </a:lnTo>
                    <a:lnTo>
                      <a:pt x="0" y="143"/>
                    </a:lnTo>
                    <a:lnTo>
                      <a:pt x="2" y="148"/>
                    </a:lnTo>
                    <a:lnTo>
                      <a:pt x="5" y="153"/>
                    </a:lnTo>
                    <a:lnTo>
                      <a:pt x="6" y="159"/>
                    </a:lnTo>
                    <a:lnTo>
                      <a:pt x="6" y="166"/>
                    </a:lnTo>
                    <a:lnTo>
                      <a:pt x="8" y="166"/>
                    </a:lnTo>
                    <a:lnTo>
                      <a:pt x="45" y="185"/>
                    </a:lnTo>
                    <a:lnTo>
                      <a:pt x="67" y="215"/>
                    </a:lnTo>
                    <a:lnTo>
                      <a:pt x="68" y="226"/>
                    </a:lnTo>
                    <a:lnTo>
                      <a:pt x="88" y="234"/>
                    </a:lnTo>
                    <a:lnTo>
                      <a:pt x="89" y="238"/>
                    </a:lnTo>
                    <a:lnTo>
                      <a:pt x="91" y="215"/>
                    </a:lnTo>
                    <a:lnTo>
                      <a:pt x="85" y="189"/>
                    </a:lnTo>
                    <a:lnTo>
                      <a:pt x="97" y="157"/>
                    </a:lnTo>
                    <a:lnTo>
                      <a:pt x="109" y="139"/>
                    </a:lnTo>
                    <a:lnTo>
                      <a:pt x="157" y="148"/>
                    </a:lnTo>
                    <a:lnTo>
                      <a:pt x="162" y="129"/>
                    </a:lnTo>
                    <a:lnTo>
                      <a:pt x="162" y="125"/>
                    </a:lnTo>
                    <a:lnTo>
                      <a:pt x="158" y="121"/>
                    </a:lnTo>
                    <a:lnTo>
                      <a:pt x="153" y="121"/>
                    </a:lnTo>
                    <a:lnTo>
                      <a:pt x="151" y="118"/>
                    </a:lnTo>
                    <a:lnTo>
                      <a:pt x="151" y="111"/>
                    </a:lnTo>
                    <a:lnTo>
                      <a:pt x="158" y="109"/>
                    </a:lnTo>
                    <a:lnTo>
                      <a:pt x="171" y="113"/>
                    </a:lnTo>
                    <a:lnTo>
                      <a:pt x="174" y="111"/>
                    </a:lnTo>
                    <a:lnTo>
                      <a:pt x="174" y="106"/>
                    </a:lnTo>
                    <a:lnTo>
                      <a:pt x="178" y="102"/>
                    </a:lnTo>
                    <a:lnTo>
                      <a:pt x="184" y="102"/>
                    </a:lnTo>
                    <a:lnTo>
                      <a:pt x="188" y="100"/>
                    </a:lnTo>
                    <a:lnTo>
                      <a:pt x="187" y="95"/>
                    </a:lnTo>
                    <a:lnTo>
                      <a:pt x="183" y="88"/>
                    </a:lnTo>
                    <a:lnTo>
                      <a:pt x="170" y="81"/>
                    </a:lnTo>
                    <a:lnTo>
                      <a:pt x="167" y="79"/>
                    </a:lnTo>
                    <a:lnTo>
                      <a:pt x="162" y="81"/>
                    </a:lnTo>
                    <a:lnTo>
                      <a:pt x="159" y="77"/>
                    </a:lnTo>
                    <a:lnTo>
                      <a:pt x="158" y="74"/>
                    </a:lnTo>
                    <a:lnTo>
                      <a:pt x="151" y="67"/>
                    </a:lnTo>
                    <a:lnTo>
                      <a:pt x="149" y="60"/>
                    </a:lnTo>
                    <a:lnTo>
                      <a:pt x="146" y="60"/>
                    </a:lnTo>
                    <a:lnTo>
                      <a:pt x="142" y="61"/>
                    </a:lnTo>
                    <a:lnTo>
                      <a:pt x="140" y="61"/>
                    </a:lnTo>
                    <a:lnTo>
                      <a:pt x="135" y="58"/>
                    </a:lnTo>
                    <a:lnTo>
                      <a:pt x="122" y="53"/>
                    </a:lnTo>
                    <a:lnTo>
                      <a:pt x="116" y="49"/>
                    </a:lnTo>
                    <a:lnTo>
                      <a:pt x="109" y="40"/>
                    </a:lnTo>
                    <a:lnTo>
                      <a:pt x="105" y="31"/>
                    </a:lnTo>
                    <a:lnTo>
                      <a:pt x="100" y="24"/>
                    </a:lnTo>
                    <a:lnTo>
                      <a:pt x="92" y="19"/>
                    </a:lnTo>
                    <a:lnTo>
                      <a:pt x="86" y="12"/>
                    </a:lnTo>
                    <a:lnTo>
                      <a:pt x="76" y="8"/>
                    </a:lnTo>
                    <a:lnTo>
                      <a:pt x="76" y="3"/>
                    </a:lnTo>
                    <a:lnTo>
                      <a:pt x="73" y="0"/>
                    </a:lnTo>
                    <a:lnTo>
                      <a:pt x="67" y="3"/>
                    </a:lnTo>
                    <a:lnTo>
                      <a:pt x="61" y="3"/>
                    </a:lnTo>
                    <a:lnTo>
                      <a:pt x="59" y="0"/>
                    </a:lnTo>
                    <a:lnTo>
                      <a:pt x="53" y="1"/>
                    </a:lnTo>
                    <a:lnTo>
                      <a:pt x="51" y="5"/>
                    </a:lnTo>
                    <a:lnTo>
                      <a:pt x="51" y="10"/>
                    </a:lnTo>
                    <a:lnTo>
                      <a:pt x="55" y="17"/>
                    </a:lnTo>
                    <a:lnTo>
                      <a:pt x="60" y="28"/>
                    </a:lnTo>
                    <a:lnTo>
                      <a:pt x="63" y="33"/>
                    </a:lnTo>
                    <a:lnTo>
                      <a:pt x="60" y="40"/>
                    </a:lnTo>
                    <a:lnTo>
                      <a:pt x="55" y="40"/>
                    </a:lnTo>
                    <a:lnTo>
                      <a:pt x="51" y="37"/>
                    </a:lnTo>
                    <a:lnTo>
                      <a:pt x="49" y="31"/>
                    </a:lnTo>
                    <a:lnTo>
                      <a:pt x="47" y="28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61" name="Freeform 249"/>
              <p:cNvSpPr>
                <a:spLocks/>
              </p:cNvSpPr>
              <p:nvPr>
                <p:custDataLst>
                  <p:tags r:id="rId186"/>
                </p:custDataLst>
              </p:nvPr>
            </p:nvSpPr>
            <p:spPr bwMode="auto">
              <a:xfrm>
                <a:off x="2982" y="1994"/>
                <a:ext cx="24" cy="61"/>
              </a:xfrm>
              <a:custGeom>
                <a:avLst/>
                <a:gdLst>
                  <a:gd name="T0" fmla="*/ 92 w 168"/>
                  <a:gd name="T1" fmla="*/ 32 h 418"/>
                  <a:gd name="T2" fmla="*/ 74 w 168"/>
                  <a:gd name="T3" fmla="*/ 9 h 418"/>
                  <a:gd name="T4" fmla="*/ 72 w 168"/>
                  <a:gd name="T5" fmla="*/ 9 h 418"/>
                  <a:gd name="T6" fmla="*/ 24 w 168"/>
                  <a:gd name="T7" fmla="*/ 0 h 418"/>
                  <a:gd name="T8" fmla="*/ 12 w 168"/>
                  <a:gd name="T9" fmla="*/ 18 h 418"/>
                  <a:gd name="T10" fmla="*/ 0 w 168"/>
                  <a:gd name="T11" fmla="*/ 50 h 418"/>
                  <a:gd name="T12" fmla="*/ 6 w 168"/>
                  <a:gd name="T13" fmla="*/ 76 h 418"/>
                  <a:gd name="T14" fmla="*/ 4 w 168"/>
                  <a:gd name="T15" fmla="*/ 99 h 418"/>
                  <a:gd name="T16" fmla="*/ 13 w 168"/>
                  <a:gd name="T17" fmla="*/ 104 h 418"/>
                  <a:gd name="T18" fmla="*/ 28 w 168"/>
                  <a:gd name="T19" fmla="*/ 110 h 418"/>
                  <a:gd name="T20" fmla="*/ 29 w 168"/>
                  <a:gd name="T21" fmla="*/ 138 h 418"/>
                  <a:gd name="T22" fmla="*/ 17 w 168"/>
                  <a:gd name="T23" fmla="*/ 143 h 418"/>
                  <a:gd name="T24" fmla="*/ 11 w 168"/>
                  <a:gd name="T25" fmla="*/ 168 h 418"/>
                  <a:gd name="T26" fmla="*/ 20 w 168"/>
                  <a:gd name="T27" fmla="*/ 186 h 418"/>
                  <a:gd name="T28" fmla="*/ 13 w 168"/>
                  <a:gd name="T29" fmla="*/ 222 h 418"/>
                  <a:gd name="T30" fmla="*/ 20 w 168"/>
                  <a:gd name="T31" fmla="*/ 236 h 418"/>
                  <a:gd name="T32" fmla="*/ 3 w 168"/>
                  <a:gd name="T33" fmla="*/ 275 h 418"/>
                  <a:gd name="T34" fmla="*/ 17 w 168"/>
                  <a:gd name="T35" fmla="*/ 299 h 418"/>
                  <a:gd name="T36" fmla="*/ 16 w 168"/>
                  <a:gd name="T37" fmla="*/ 315 h 418"/>
                  <a:gd name="T38" fmla="*/ 6 w 168"/>
                  <a:gd name="T39" fmla="*/ 312 h 418"/>
                  <a:gd name="T40" fmla="*/ 6 w 168"/>
                  <a:gd name="T41" fmla="*/ 321 h 418"/>
                  <a:gd name="T42" fmla="*/ 48 w 168"/>
                  <a:gd name="T43" fmla="*/ 354 h 418"/>
                  <a:gd name="T44" fmla="*/ 69 w 168"/>
                  <a:gd name="T45" fmla="*/ 381 h 418"/>
                  <a:gd name="T46" fmla="*/ 76 w 168"/>
                  <a:gd name="T47" fmla="*/ 411 h 418"/>
                  <a:gd name="T48" fmla="*/ 78 w 168"/>
                  <a:gd name="T49" fmla="*/ 418 h 418"/>
                  <a:gd name="T50" fmla="*/ 105 w 168"/>
                  <a:gd name="T51" fmla="*/ 363 h 418"/>
                  <a:gd name="T52" fmla="*/ 146 w 168"/>
                  <a:gd name="T53" fmla="*/ 310 h 418"/>
                  <a:gd name="T54" fmla="*/ 164 w 168"/>
                  <a:gd name="T55" fmla="*/ 257 h 418"/>
                  <a:gd name="T56" fmla="*/ 168 w 168"/>
                  <a:gd name="T57" fmla="*/ 255 h 418"/>
                  <a:gd name="T58" fmla="*/ 136 w 168"/>
                  <a:gd name="T59" fmla="*/ 216 h 418"/>
                  <a:gd name="T60" fmla="*/ 123 w 168"/>
                  <a:gd name="T61" fmla="*/ 176 h 418"/>
                  <a:gd name="T62" fmla="*/ 119 w 168"/>
                  <a:gd name="T63" fmla="*/ 134 h 418"/>
                  <a:gd name="T64" fmla="*/ 126 w 168"/>
                  <a:gd name="T65" fmla="*/ 108 h 418"/>
                  <a:gd name="T66" fmla="*/ 125 w 168"/>
                  <a:gd name="T67" fmla="*/ 94 h 418"/>
                  <a:gd name="T68" fmla="*/ 123 w 168"/>
                  <a:gd name="T69" fmla="*/ 87 h 418"/>
                  <a:gd name="T70" fmla="*/ 92 w 168"/>
                  <a:gd name="T71" fmla="*/ 32 h 41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68"/>
                  <a:gd name="T109" fmla="*/ 0 h 418"/>
                  <a:gd name="T110" fmla="*/ 168 w 168"/>
                  <a:gd name="T111" fmla="*/ 418 h 418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68" h="418">
                    <a:moveTo>
                      <a:pt x="92" y="32"/>
                    </a:moveTo>
                    <a:lnTo>
                      <a:pt x="74" y="9"/>
                    </a:lnTo>
                    <a:lnTo>
                      <a:pt x="72" y="9"/>
                    </a:lnTo>
                    <a:lnTo>
                      <a:pt x="24" y="0"/>
                    </a:lnTo>
                    <a:lnTo>
                      <a:pt x="12" y="18"/>
                    </a:lnTo>
                    <a:lnTo>
                      <a:pt x="0" y="50"/>
                    </a:lnTo>
                    <a:lnTo>
                      <a:pt x="6" y="76"/>
                    </a:lnTo>
                    <a:lnTo>
                      <a:pt x="4" y="99"/>
                    </a:lnTo>
                    <a:lnTo>
                      <a:pt x="13" y="104"/>
                    </a:lnTo>
                    <a:lnTo>
                      <a:pt x="28" y="110"/>
                    </a:lnTo>
                    <a:lnTo>
                      <a:pt x="29" y="138"/>
                    </a:lnTo>
                    <a:lnTo>
                      <a:pt x="17" y="143"/>
                    </a:lnTo>
                    <a:lnTo>
                      <a:pt x="11" y="168"/>
                    </a:lnTo>
                    <a:lnTo>
                      <a:pt x="20" y="186"/>
                    </a:lnTo>
                    <a:lnTo>
                      <a:pt x="13" y="222"/>
                    </a:lnTo>
                    <a:lnTo>
                      <a:pt x="20" y="236"/>
                    </a:lnTo>
                    <a:lnTo>
                      <a:pt x="3" y="275"/>
                    </a:lnTo>
                    <a:lnTo>
                      <a:pt x="17" y="299"/>
                    </a:lnTo>
                    <a:lnTo>
                      <a:pt x="16" y="315"/>
                    </a:lnTo>
                    <a:lnTo>
                      <a:pt x="6" y="312"/>
                    </a:lnTo>
                    <a:lnTo>
                      <a:pt x="6" y="321"/>
                    </a:lnTo>
                    <a:lnTo>
                      <a:pt x="48" y="354"/>
                    </a:lnTo>
                    <a:lnTo>
                      <a:pt x="69" y="381"/>
                    </a:lnTo>
                    <a:lnTo>
                      <a:pt x="76" y="411"/>
                    </a:lnTo>
                    <a:lnTo>
                      <a:pt x="78" y="418"/>
                    </a:lnTo>
                    <a:lnTo>
                      <a:pt x="105" y="363"/>
                    </a:lnTo>
                    <a:lnTo>
                      <a:pt x="146" y="310"/>
                    </a:lnTo>
                    <a:lnTo>
                      <a:pt x="164" y="257"/>
                    </a:lnTo>
                    <a:lnTo>
                      <a:pt x="168" y="255"/>
                    </a:lnTo>
                    <a:lnTo>
                      <a:pt x="136" y="216"/>
                    </a:lnTo>
                    <a:lnTo>
                      <a:pt x="123" y="176"/>
                    </a:lnTo>
                    <a:lnTo>
                      <a:pt x="119" y="134"/>
                    </a:lnTo>
                    <a:lnTo>
                      <a:pt x="126" y="108"/>
                    </a:lnTo>
                    <a:lnTo>
                      <a:pt x="125" y="94"/>
                    </a:lnTo>
                    <a:lnTo>
                      <a:pt x="123" y="87"/>
                    </a:lnTo>
                    <a:lnTo>
                      <a:pt x="92" y="32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62" name="Freeform 250"/>
              <p:cNvSpPr>
                <a:spLocks/>
              </p:cNvSpPr>
              <p:nvPr>
                <p:custDataLst>
                  <p:tags r:id="rId187"/>
                </p:custDataLst>
              </p:nvPr>
            </p:nvSpPr>
            <p:spPr bwMode="auto">
              <a:xfrm>
                <a:off x="2999" y="1997"/>
                <a:ext cx="35" cy="34"/>
              </a:xfrm>
              <a:custGeom>
                <a:avLst/>
                <a:gdLst>
                  <a:gd name="T0" fmla="*/ 182 w 237"/>
                  <a:gd name="T1" fmla="*/ 22 h 227"/>
                  <a:gd name="T2" fmla="*/ 176 w 237"/>
                  <a:gd name="T3" fmla="*/ 7 h 227"/>
                  <a:gd name="T4" fmla="*/ 176 w 237"/>
                  <a:gd name="T5" fmla="*/ 0 h 227"/>
                  <a:gd name="T6" fmla="*/ 175 w 237"/>
                  <a:gd name="T7" fmla="*/ 0 h 227"/>
                  <a:gd name="T8" fmla="*/ 171 w 237"/>
                  <a:gd name="T9" fmla="*/ 2 h 227"/>
                  <a:gd name="T10" fmla="*/ 164 w 237"/>
                  <a:gd name="T11" fmla="*/ 4 h 227"/>
                  <a:gd name="T12" fmla="*/ 157 w 237"/>
                  <a:gd name="T13" fmla="*/ 4 h 227"/>
                  <a:gd name="T14" fmla="*/ 152 w 237"/>
                  <a:gd name="T15" fmla="*/ 6 h 227"/>
                  <a:gd name="T16" fmla="*/ 150 w 237"/>
                  <a:gd name="T17" fmla="*/ 7 h 227"/>
                  <a:gd name="T18" fmla="*/ 145 w 237"/>
                  <a:gd name="T19" fmla="*/ 4 h 227"/>
                  <a:gd name="T20" fmla="*/ 142 w 237"/>
                  <a:gd name="T21" fmla="*/ 6 h 227"/>
                  <a:gd name="T22" fmla="*/ 138 w 237"/>
                  <a:gd name="T23" fmla="*/ 7 h 227"/>
                  <a:gd name="T24" fmla="*/ 133 w 237"/>
                  <a:gd name="T25" fmla="*/ 6 h 227"/>
                  <a:gd name="T26" fmla="*/ 130 w 237"/>
                  <a:gd name="T27" fmla="*/ 4 h 227"/>
                  <a:gd name="T28" fmla="*/ 124 w 237"/>
                  <a:gd name="T29" fmla="*/ 11 h 227"/>
                  <a:gd name="T30" fmla="*/ 121 w 237"/>
                  <a:gd name="T31" fmla="*/ 16 h 227"/>
                  <a:gd name="T32" fmla="*/ 114 w 237"/>
                  <a:gd name="T33" fmla="*/ 14 h 227"/>
                  <a:gd name="T34" fmla="*/ 102 w 237"/>
                  <a:gd name="T35" fmla="*/ 14 h 227"/>
                  <a:gd name="T36" fmla="*/ 94 w 237"/>
                  <a:gd name="T37" fmla="*/ 13 h 227"/>
                  <a:gd name="T38" fmla="*/ 77 w 237"/>
                  <a:gd name="T39" fmla="*/ 29 h 227"/>
                  <a:gd name="T40" fmla="*/ 80 w 237"/>
                  <a:gd name="T41" fmla="*/ 32 h 227"/>
                  <a:gd name="T42" fmla="*/ 78 w 237"/>
                  <a:gd name="T43" fmla="*/ 36 h 227"/>
                  <a:gd name="T44" fmla="*/ 72 w 237"/>
                  <a:gd name="T45" fmla="*/ 36 h 227"/>
                  <a:gd name="T46" fmla="*/ 68 w 237"/>
                  <a:gd name="T47" fmla="*/ 29 h 227"/>
                  <a:gd name="T48" fmla="*/ 59 w 237"/>
                  <a:gd name="T49" fmla="*/ 22 h 227"/>
                  <a:gd name="T50" fmla="*/ 56 w 237"/>
                  <a:gd name="T51" fmla="*/ 25 h 227"/>
                  <a:gd name="T52" fmla="*/ 49 w 237"/>
                  <a:gd name="T53" fmla="*/ 29 h 227"/>
                  <a:gd name="T54" fmla="*/ 29 w 237"/>
                  <a:gd name="T55" fmla="*/ 36 h 227"/>
                  <a:gd name="T56" fmla="*/ 27 w 237"/>
                  <a:gd name="T57" fmla="*/ 39 h 227"/>
                  <a:gd name="T58" fmla="*/ 23 w 237"/>
                  <a:gd name="T59" fmla="*/ 50 h 227"/>
                  <a:gd name="T60" fmla="*/ 24 w 237"/>
                  <a:gd name="T61" fmla="*/ 59 h 227"/>
                  <a:gd name="T62" fmla="*/ 23 w 237"/>
                  <a:gd name="T63" fmla="*/ 64 h 227"/>
                  <a:gd name="T64" fmla="*/ 20 w 237"/>
                  <a:gd name="T65" fmla="*/ 69 h 227"/>
                  <a:gd name="T66" fmla="*/ 11 w 237"/>
                  <a:gd name="T67" fmla="*/ 69 h 227"/>
                  <a:gd name="T68" fmla="*/ 6 w 237"/>
                  <a:gd name="T69" fmla="*/ 66 h 227"/>
                  <a:gd name="T70" fmla="*/ 7 w 237"/>
                  <a:gd name="T71" fmla="*/ 80 h 227"/>
                  <a:gd name="T72" fmla="*/ 0 w 237"/>
                  <a:gd name="T73" fmla="*/ 106 h 227"/>
                  <a:gd name="T74" fmla="*/ 4 w 237"/>
                  <a:gd name="T75" fmla="*/ 148 h 227"/>
                  <a:gd name="T76" fmla="*/ 17 w 237"/>
                  <a:gd name="T77" fmla="*/ 188 h 227"/>
                  <a:gd name="T78" fmla="*/ 49 w 237"/>
                  <a:gd name="T79" fmla="*/ 227 h 227"/>
                  <a:gd name="T80" fmla="*/ 85 w 237"/>
                  <a:gd name="T81" fmla="*/ 222 h 227"/>
                  <a:gd name="T82" fmla="*/ 113 w 237"/>
                  <a:gd name="T83" fmla="*/ 213 h 227"/>
                  <a:gd name="T84" fmla="*/ 129 w 237"/>
                  <a:gd name="T85" fmla="*/ 187 h 227"/>
                  <a:gd name="T86" fmla="*/ 145 w 237"/>
                  <a:gd name="T87" fmla="*/ 176 h 227"/>
                  <a:gd name="T88" fmla="*/ 189 w 237"/>
                  <a:gd name="T89" fmla="*/ 183 h 227"/>
                  <a:gd name="T90" fmla="*/ 212 w 237"/>
                  <a:gd name="T91" fmla="*/ 167 h 227"/>
                  <a:gd name="T92" fmla="*/ 233 w 237"/>
                  <a:gd name="T93" fmla="*/ 157 h 227"/>
                  <a:gd name="T94" fmla="*/ 232 w 237"/>
                  <a:gd name="T95" fmla="*/ 143 h 227"/>
                  <a:gd name="T96" fmla="*/ 237 w 237"/>
                  <a:gd name="T97" fmla="*/ 126 h 227"/>
                  <a:gd name="T98" fmla="*/ 237 w 237"/>
                  <a:gd name="T99" fmla="*/ 94 h 227"/>
                  <a:gd name="T100" fmla="*/ 228 w 237"/>
                  <a:gd name="T101" fmla="*/ 64 h 227"/>
                  <a:gd name="T102" fmla="*/ 212 w 237"/>
                  <a:gd name="T103" fmla="*/ 39 h 227"/>
                  <a:gd name="T104" fmla="*/ 182 w 237"/>
                  <a:gd name="T105" fmla="*/ 22 h 227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37"/>
                  <a:gd name="T160" fmla="*/ 0 h 227"/>
                  <a:gd name="T161" fmla="*/ 237 w 237"/>
                  <a:gd name="T162" fmla="*/ 227 h 227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37" h="227">
                    <a:moveTo>
                      <a:pt x="182" y="22"/>
                    </a:moveTo>
                    <a:lnTo>
                      <a:pt x="176" y="7"/>
                    </a:lnTo>
                    <a:lnTo>
                      <a:pt x="176" y="0"/>
                    </a:lnTo>
                    <a:lnTo>
                      <a:pt x="175" y="0"/>
                    </a:lnTo>
                    <a:lnTo>
                      <a:pt x="171" y="2"/>
                    </a:lnTo>
                    <a:lnTo>
                      <a:pt x="164" y="4"/>
                    </a:lnTo>
                    <a:lnTo>
                      <a:pt x="157" y="4"/>
                    </a:lnTo>
                    <a:lnTo>
                      <a:pt x="152" y="6"/>
                    </a:lnTo>
                    <a:lnTo>
                      <a:pt x="150" y="7"/>
                    </a:lnTo>
                    <a:lnTo>
                      <a:pt x="145" y="4"/>
                    </a:lnTo>
                    <a:lnTo>
                      <a:pt x="142" y="6"/>
                    </a:lnTo>
                    <a:lnTo>
                      <a:pt x="138" y="7"/>
                    </a:lnTo>
                    <a:lnTo>
                      <a:pt x="133" y="6"/>
                    </a:lnTo>
                    <a:lnTo>
                      <a:pt x="130" y="4"/>
                    </a:lnTo>
                    <a:lnTo>
                      <a:pt x="124" y="11"/>
                    </a:lnTo>
                    <a:lnTo>
                      <a:pt x="121" y="16"/>
                    </a:lnTo>
                    <a:lnTo>
                      <a:pt x="114" y="14"/>
                    </a:lnTo>
                    <a:lnTo>
                      <a:pt x="102" y="14"/>
                    </a:lnTo>
                    <a:lnTo>
                      <a:pt x="94" y="13"/>
                    </a:lnTo>
                    <a:lnTo>
                      <a:pt x="77" y="29"/>
                    </a:lnTo>
                    <a:lnTo>
                      <a:pt x="80" y="32"/>
                    </a:lnTo>
                    <a:lnTo>
                      <a:pt x="78" y="36"/>
                    </a:lnTo>
                    <a:lnTo>
                      <a:pt x="72" y="36"/>
                    </a:lnTo>
                    <a:lnTo>
                      <a:pt x="68" y="29"/>
                    </a:lnTo>
                    <a:lnTo>
                      <a:pt x="59" y="22"/>
                    </a:lnTo>
                    <a:lnTo>
                      <a:pt x="56" y="25"/>
                    </a:lnTo>
                    <a:lnTo>
                      <a:pt x="49" y="29"/>
                    </a:lnTo>
                    <a:lnTo>
                      <a:pt x="29" y="36"/>
                    </a:lnTo>
                    <a:lnTo>
                      <a:pt x="27" y="39"/>
                    </a:lnTo>
                    <a:lnTo>
                      <a:pt x="23" y="50"/>
                    </a:lnTo>
                    <a:lnTo>
                      <a:pt x="24" y="59"/>
                    </a:lnTo>
                    <a:lnTo>
                      <a:pt x="23" y="64"/>
                    </a:lnTo>
                    <a:lnTo>
                      <a:pt x="20" y="69"/>
                    </a:lnTo>
                    <a:lnTo>
                      <a:pt x="11" y="69"/>
                    </a:lnTo>
                    <a:lnTo>
                      <a:pt x="6" y="66"/>
                    </a:lnTo>
                    <a:lnTo>
                      <a:pt x="7" y="80"/>
                    </a:lnTo>
                    <a:lnTo>
                      <a:pt x="0" y="106"/>
                    </a:lnTo>
                    <a:lnTo>
                      <a:pt x="4" y="148"/>
                    </a:lnTo>
                    <a:lnTo>
                      <a:pt x="17" y="188"/>
                    </a:lnTo>
                    <a:lnTo>
                      <a:pt x="49" y="227"/>
                    </a:lnTo>
                    <a:lnTo>
                      <a:pt x="85" y="222"/>
                    </a:lnTo>
                    <a:lnTo>
                      <a:pt x="113" y="213"/>
                    </a:lnTo>
                    <a:lnTo>
                      <a:pt x="129" y="187"/>
                    </a:lnTo>
                    <a:lnTo>
                      <a:pt x="145" y="176"/>
                    </a:lnTo>
                    <a:lnTo>
                      <a:pt x="189" y="183"/>
                    </a:lnTo>
                    <a:lnTo>
                      <a:pt x="212" y="167"/>
                    </a:lnTo>
                    <a:lnTo>
                      <a:pt x="233" y="157"/>
                    </a:lnTo>
                    <a:lnTo>
                      <a:pt x="232" y="143"/>
                    </a:lnTo>
                    <a:lnTo>
                      <a:pt x="237" y="126"/>
                    </a:lnTo>
                    <a:lnTo>
                      <a:pt x="237" y="94"/>
                    </a:lnTo>
                    <a:lnTo>
                      <a:pt x="228" y="64"/>
                    </a:lnTo>
                    <a:lnTo>
                      <a:pt x="212" y="39"/>
                    </a:lnTo>
                    <a:lnTo>
                      <a:pt x="182" y="22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63" name="Freeform 251"/>
              <p:cNvSpPr>
                <a:spLocks/>
              </p:cNvSpPr>
              <p:nvPr>
                <p:custDataLst>
                  <p:tags r:id="rId188"/>
                </p:custDataLst>
              </p:nvPr>
            </p:nvSpPr>
            <p:spPr bwMode="auto">
              <a:xfrm>
                <a:off x="2555" y="2004"/>
                <a:ext cx="51" cy="104"/>
              </a:xfrm>
              <a:custGeom>
                <a:avLst/>
                <a:gdLst>
                  <a:gd name="T0" fmla="*/ 160 w 336"/>
                  <a:gd name="T1" fmla="*/ 27 h 701"/>
                  <a:gd name="T2" fmla="*/ 73 w 336"/>
                  <a:gd name="T3" fmla="*/ 27 h 701"/>
                  <a:gd name="T4" fmla="*/ 68 w 336"/>
                  <a:gd name="T5" fmla="*/ 68 h 701"/>
                  <a:gd name="T6" fmla="*/ 82 w 336"/>
                  <a:gd name="T7" fmla="*/ 153 h 701"/>
                  <a:gd name="T8" fmla="*/ 62 w 336"/>
                  <a:gd name="T9" fmla="*/ 272 h 701"/>
                  <a:gd name="T10" fmla="*/ 24 w 336"/>
                  <a:gd name="T11" fmla="*/ 370 h 701"/>
                  <a:gd name="T12" fmla="*/ 15 w 336"/>
                  <a:gd name="T13" fmla="*/ 397 h 701"/>
                  <a:gd name="T14" fmla="*/ 0 w 336"/>
                  <a:gd name="T15" fmla="*/ 459 h 701"/>
                  <a:gd name="T16" fmla="*/ 18 w 336"/>
                  <a:gd name="T17" fmla="*/ 473 h 701"/>
                  <a:gd name="T18" fmla="*/ 50 w 336"/>
                  <a:gd name="T19" fmla="*/ 439 h 701"/>
                  <a:gd name="T20" fmla="*/ 60 w 336"/>
                  <a:gd name="T21" fmla="*/ 462 h 701"/>
                  <a:gd name="T22" fmla="*/ 25 w 336"/>
                  <a:gd name="T23" fmla="*/ 480 h 701"/>
                  <a:gd name="T24" fmla="*/ 68 w 336"/>
                  <a:gd name="T25" fmla="*/ 496 h 701"/>
                  <a:gd name="T26" fmla="*/ 68 w 336"/>
                  <a:gd name="T27" fmla="*/ 512 h 701"/>
                  <a:gd name="T28" fmla="*/ 61 w 336"/>
                  <a:gd name="T29" fmla="*/ 568 h 701"/>
                  <a:gd name="T30" fmla="*/ 69 w 336"/>
                  <a:gd name="T31" fmla="*/ 628 h 701"/>
                  <a:gd name="T32" fmla="*/ 55 w 336"/>
                  <a:gd name="T33" fmla="*/ 701 h 701"/>
                  <a:gd name="T34" fmla="*/ 99 w 336"/>
                  <a:gd name="T35" fmla="*/ 686 h 701"/>
                  <a:gd name="T36" fmla="*/ 148 w 336"/>
                  <a:gd name="T37" fmla="*/ 697 h 701"/>
                  <a:gd name="T38" fmla="*/ 201 w 336"/>
                  <a:gd name="T39" fmla="*/ 671 h 701"/>
                  <a:gd name="T40" fmla="*/ 215 w 336"/>
                  <a:gd name="T41" fmla="*/ 612 h 701"/>
                  <a:gd name="T42" fmla="*/ 265 w 336"/>
                  <a:gd name="T43" fmla="*/ 550 h 701"/>
                  <a:gd name="T44" fmla="*/ 211 w 336"/>
                  <a:gd name="T45" fmla="*/ 524 h 701"/>
                  <a:gd name="T46" fmla="*/ 241 w 336"/>
                  <a:gd name="T47" fmla="*/ 455 h 701"/>
                  <a:gd name="T48" fmla="*/ 229 w 336"/>
                  <a:gd name="T49" fmla="*/ 386 h 701"/>
                  <a:gd name="T50" fmla="*/ 221 w 336"/>
                  <a:gd name="T51" fmla="*/ 349 h 701"/>
                  <a:gd name="T52" fmla="*/ 262 w 336"/>
                  <a:gd name="T53" fmla="*/ 332 h 701"/>
                  <a:gd name="T54" fmla="*/ 261 w 336"/>
                  <a:gd name="T55" fmla="*/ 261 h 701"/>
                  <a:gd name="T56" fmla="*/ 264 w 336"/>
                  <a:gd name="T57" fmla="*/ 171 h 701"/>
                  <a:gd name="T58" fmla="*/ 270 w 336"/>
                  <a:gd name="T59" fmla="*/ 139 h 701"/>
                  <a:gd name="T60" fmla="*/ 336 w 336"/>
                  <a:gd name="T61" fmla="*/ 94 h 701"/>
                  <a:gd name="T62" fmla="*/ 297 w 336"/>
                  <a:gd name="T63" fmla="*/ 46 h 701"/>
                  <a:gd name="T64" fmla="*/ 278 w 336"/>
                  <a:gd name="T65" fmla="*/ 18 h 701"/>
                  <a:gd name="T66" fmla="*/ 240 w 336"/>
                  <a:gd name="T67" fmla="*/ 30 h 701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336"/>
                  <a:gd name="T103" fmla="*/ 0 h 701"/>
                  <a:gd name="T104" fmla="*/ 336 w 336"/>
                  <a:gd name="T105" fmla="*/ 701 h 701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336" h="701">
                    <a:moveTo>
                      <a:pt x="240" y="30"/>
                    </a:moveTo>
                    <a:lnTo>
                      <a:pt x="160" y="27"/>
                    </a:lnTo>
                    <a:lnTo>
                      <a:pt x="137" y="0"/>
                    </a:lnTo>
                    <a:lnTo>
                      <a:pt x="73" y="27"/>
                    </a:lnTo>
                    <a:lnTo>
                      <a:pt x="61" y="45"/>
                    </a:lnTo>
                    <a:lnTo>
                      <a:pt x="68" y="68"/>
                    </a:lnTo>
                    <a:lnTo>
                      <a:pt x="68" y="94"/>
                    </a:lnTo>
                    <a:lnTo>
                      <a:pt x="82" y="153"/>
                    </a:lnTo>
                    <a:lnTo>
                      <a:pt x="56" y="264"/>
                    </a:lnTo>
                    <a:lnTo>
                      <a:pt x="62" y="272"/>
                    </a:lnTo>
                    <a:lnTo>
                      <a:pt x="41" y="340"/>
                    </a:lnTo>
                    <a:lnTo>
                      <a:pt x="24" y="370"/>
                    </a:lnTo>
                    <a:lnTo>
                      <a:pt x="13" y="377"/>
                    </a:lnTo>
                    <a:lnTo>
                      <a:pt x="15" y="397"/>
                    </a:lnTo>
                    <a:lnTo>
                      <a:pt x="8" y="434"/>
                    </a:lnTo>
                    <a:lnTo>
                      <a:pt x="0" y="459"/>
                    </a:lnTo>
                    <a:lnTo>
                      <a:pt x="3" y="469"/>
                    </a:lnTo>
                    <a:lnTo>
                      <a:pt x="18" y="473"/>
                    </a:lnTo>
                    <a:lnTo>
                      <a:pt x="37" y="464"/>
                    </a:lnTo>
                    <a:lnTo>
                      <a:pt x="50" y="439"/>
                    </a:lnTo>
                    <a:lnTo>
                      <a:pt x="57" y="453"/>
                    </a:lnTo>
                    <a:lnTo>
                      <a:pt x="60" y="462"/>
                    </a:lnTo>
                    <a:lnTo>
                      <a:pt x="48" y="476"/>
                    </a:lnTo>
                    <a:lnTo>
                      <a:pt x="25" y="480"/>
                    </a:lnTo>
                    <a:lnTo>
                      <a:pt x="31" y="506"/>
                    </a:lnTo>
                    <a:lnTo>
                      <a:pt x="68" y="496"/>
                    </a:lnTo>
                    <a:lnTo>
                      <a:pt x="74" y="505"/>
                    </a:lnTo>
                    <a:lnTo>
                      <a:pt x="68" y="512"/>
                    </a:lnTo>
                    <a:lnTo>
                      <a:pt x="72" y="536"/>
                    </a:lnTo>
                    <a:lnTo>
                      <a:pt x="61" y="568"/>
                    </a:lnTo>
                    <a:lnTo>
                      <a:pt x="68" y="575"/>
                    </a:lnTo>
                    <a:lnTo>
                      <a:pt x="69" y="628"/>
                    </a:lnTo>
                    <a:lnTo>
                      <a:pt x="52" y="690"/>
                    </a:lnTo>
                    <a:lnTo>
                      <a:pt x="55" y="701"/>
                    </a:lnTo>
                    <a:lnTo>
                      <a:pt x="86" y="683"/>
                    </a:lnTo>
                    <a:lnTo>
                      <a:pt x="99" y="686"/>
                    </a:lnTo>
                    <a:lnTo>
                      <a:pt x="125" y="686"/>
                    </a:lnTo>
                    <a:lnTo>
                      <a:pt x="148" y="697"/>
                    </a:lnTo>
                    <a:lnTo>
                      <a:pt x="167" y="693"/>
                    </a:lnTo>
                    <a:lnTo>
                      <a:pt x="201" y="671"/>
                    </a:lnTo>
                    <a:lnTo>
                      <a:pt x="201" y="669"/>
                    </a:lnTo>
                    <a:lnTo>
                      <a:pt x="215" y="612"/>
                    </a:lnTo>
                    <a:lnTo>
                      <a:pt x="225" y="589"/>
                    </a:lnTo>
                    <a:lnTo>
                      <a:pt x="265" y="550"/>
                    </a:lnTo>
                    <a:lnTo>
                      <a:pt x="248" y="531"/>
                    </a:lnTo>
                    <a:lnTo>
                      <a:pt x="211" y="524"/>
                    </a:lnTo>
                    <a:lnTo>
                      <a:pt x="219" y="496"/>
                    </a:lnTo>
                    <a:lnTo>
                      <a:pt x="241" y="455"/>
                    </a:lnTo>
                    <a:lnTo>
                      <a:pt x="256" y="434"/>
                    </a:lnTo>
                    <a:lnTo>
                      <a:pt x="229" y="386"/>
                    </a:lnTo>
                    <a:lnTo>
                      <a:pt x="208" y="356"/>
                    </a:lnTo>
                    <a:lnTo>
                      <a:pt x="221" y="349"/>
                    </a:lnTo>
                    <a:lnTo>
                      <a:pt x="241" y="346"/>
                    </a:lnTo>
                    <a:lnTo>
                      <a:pt x="262" y="332"/>
                    </a:lnTo>
                    <a:lnTo>
                      <a:pt x="264" y="319"/>
                    </a:lnTo>
                    <a:lnTo>
                      <a:pt x="261" y="261"/>
                    </a:lnTo>
                    <a:lnTo>
                      <a:pt x="266" y="199"/>
                    </a:lnTo>
                    <a:lnTo>
                      <a:pt x="264" y="171"/>
                    </a:lnTo>
                    <a:lnTo>
                      <a:pt x="265" y="144"/>
                    </a:lnTo>
                    <a:lnTo>
                      <a:pt x="270" y="139"/>
                    </a:lnTo>
                    <a:lnTo>
                      <a:pt x="325" y="106"/>
                    </a:lnTo>
                    <a:lnTo>
                      <a:pt x="336" y="94"/>
                    </a:lnTo>
                    <a:lnTo>
                      <a:pt x="334" y="78"/>
                    </a:lnTo>
                    <a:lnTo>
                      <a:pt x="297" y="46"/>
                    </a:lnTo>
                    <a:lnTo>
                      <a:pt x="290" y="32"/>
                    </a:lnTo>
                    <a:lnTo>
                      <a:pt x="278" y="18"/>
                    </a:lnTo>
                    <a:lnTo>
                      <a:pt x="264" y="15"/>
                    </a:lnTo>
                    <a:lnTo>
                      <a:pt x="240" y="30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64" name="Freeform 252"/>
              <p:cNvSpPr>
                <a:spLocks/>
              </p:cNvSpPr>
              <p:nvPr>
                <p:custDataLst>
                  <p:tags r:id="rId189"/>
                </p:custDataLst>
              </p:nvPr>
            </p:nvSpPr>
            <p:spPr bwMode="auto">
              <a:xfrm>
                <a:off x="2994" y="2012"/>
                <a:ext cx="94" cy="103"/>
              </a:xfrm>
              <a:custGeom>
                <a:avLst/>
                <a:gdLst>
                  <a:gd name="T0" fmla="*/ 56 w 641"/>
                  <a:gd name="T1" fmla="*/ 356 h 702"/>
                  <a:gd name="T2" fmla="*/ 102 w 641"/>
                  <a:gd name="T3" fmla="*/ 367 h 702"/>
                  <a:gd name="T4" fmla="*/ 76 w 641"/>
                  <a:gd name="T5" fmla="*/ 383 h 702"/>
                  <a:gd name="T6" fmla="*/ 123 w 641"/>
                  <a:gd name="T7" fmla="*/ 448 h 702"/>
                  <a:gd name="T8" fmla="*/ 272 w 641"/>
                  <a:gd name="T9" fmla="*/ 476 h 702"/>
                  <a:gd name="T10" fmla="*/ 258 w 641"/>
                  <a:gd name="T11" fmla="*/ 510 h 702"/>
                  <a:gd name="T12" fmla="*/ 158 w 641"/>
                  <a:gd name="T13" fmla="*/ 485 h 702"/>
                  <a:gd name="T14" fmla="*/ 109 w 641"/>
                  <a:gd name="T15" fmla="*/ 528 h 702"/>
                  <a:gd name="T16" fmla="*/ 147 w 641"/>
                  <a:gd name="T17" fmla="*/ 582 h 702"/>
                  <a:gd name="T18" fmla="*/ 144 w 641"/>
                  <a:gd name="T19" fmla="*/ 641 h 702"/>
                  <a:gd name="T20" fmla="*/ 204 w 641"/>
                  <a:gd name="T21" fmla="*/ 658 h 702"/>
                  <a:gd name="T22" fmla="*/ 251 w 641"/>
                  <a:gd name="T23" fmla="*/ 672 h 702"/>
                  <a:gd name="T24" fmla="*/ 262 w 641"/>
                  <a:gd name="T25" fmla="*/ 619 h 702"/>
                  <a:gd name="T26" fmla="*/ 248 w 641"/>
                  <a:gd name="T27" fmla="*/ 572 h 702"/>
                  <a:gd name="T28" fmla="*/ 278 w 641"/>
                  <a:gd name="T29" fmla="*/ 568 h 702"/>
                  <a:gd name="T30" fmla="*/ 294 w 641"/>
                  <a:gd name="T31" fmla="*/ 593 h 702"/>
                  <a:gd name="T32" fmla="*/ 323 w 641"/>
                  <a:gd name="T33" fmla="*/ 575 h 702"/>
                  <a:gd name="T34" fmla="*/ 305 w 641"/>
                  <a:gd name="T35" fmla="*/ 558 h 702"/>
                  <a:gd name="T36" fmla="*/ 288 w 641"/>
                  <a:gd name="T37" fmla="*/ 535 h 702"/>
                  <a:gd name="T38" fmla="*/ 281 w 641"/>
                  <a:gd name="T39" fmla="*/ 510 h 702"/>
                  <a:gd name="T40" fmla="*/ 346 w 641"/>
                  <a:gd name="T41" fmla="*/ 520 h 702"/>
                  <a:gd name="T42" fmla="*/ 372 w 641"/>
                  <a:gd name="T43" fmla="*/ 547 h 702"/>
                  <a:gd name="T44" fmla="*/ 379 w 641"/>
                  <a:gd name="T45" fmla="*/ 483 h 702"/>
                  <a:gd name="T46" fmla="*/ 338 w 641"/>
                  <a:gd name="T47" fmla="*/ 457 h 702"/>
                  <a:gd name="T48" fmla="*/ 301 w 641"/>
                  <a:gd name="T49" fmla="*/ 422 h 702"/>
                  <a:gd name="T50" fmla="*/ 273 w 641"/>
                  <a:gd name="T51" fmla="*/ 400 h 702"/>
                  <a:gd name="T52" fmla="*/ 233 w 641"/>
                  <a:gd name="T53" fmla="*/ 385 h 702"/>
                  <a:gd name="T54" fmla="*/ 268 w 641"/>
                  <a:gd name="T55" fmla="*/ 346 h 702"/>
                  <a:gd name="T56" fmla="*/ 269 w 641"/>
                  <a:gd name="T57" fmla="*/ 317 h 702"/>
                  <a:gd name="T58" fmla="*/ 288 w 641"/>
                  <a:gd name="T59" fmla="*/ 330 h 702"/>
                  <a:gd name="T60" fmla="*/ 298 w 641"/>
                  <a:gd name="T61" fmla="*/ 349 h 702"/>
                  <a:gd name="T62" fmla="*/ 265 w 641"/>
                  <a:gd name="T63" fmla="*/ 286 h 702"/>
                  <a:gd name="T64" fmla="*/ 239 w 641"/>
                  <a:gd name="T65" fmla="*/ 233 h 702"/>
                  <a:gd name="T66" fmla="*/ 233 w 641"/>
                  <a:gd name="T67" fmla="*/ 199 h 702"/>
                  <a:gd name="T68" fmla="*/ 254 w 641"/>
                  <a:gd name="T69" fmla="*/ 152 h 702"/>
                  <a:gd name="T70" fmla="*/ 272 w 641"/>
                  <a:gd name="T71" fmla="*/ 148 h 702"/>
                  <a:gd name="T72" fmla="*/ 279 w 641"/>
                  <a:gd name="T73" fmla="*/ 187 h 702"/>
                  <a:gd name="T74" fmla="*/ 310 w 641"/>
                  <a:gd name="T75" fmla="*/ 224 h 702"/>
                  <a:gd name="T76" fmla="*/ 346 w 641"/>
                  <a:gd name="T77" fmla="*/ 236 h 702"/>
                  <a:gd name="T78" fmla="*/ 315 w 641"/>
                  <a:gd name="T79" fmla="*/ 210 h 702"/>
                  <a:gd name="T80" fmla="*/ 311 w 641"/>
                  <a:gd name="T81" fmla="*/ 190 h 702"/>
                  <a:gd name="T82" fmla="*/ 360 w 641"/>
                  <a:gd name="T83" fmla="*/ 233 h 702"/>
                  <a:gd name="T84" fmla="*/ 368 w 641"/>
                  <a:gd name="T85" fmla="*/ 208 h 702"/>
                  <a:gd name="T86" fmla="*/ 347 w 641"/>
                  <a:gd name="T87" fmla="*/ 190 h 702"/>
                  <a:gd name="T88" fmla="*/ 359 w 641"/>
                  <a:gd name="T89" fmla="*/ 176 h 702"/>
                  <a:gd name="T90" fmla="*/ 403 w 641"/>
                  <a:gd name="T91" fmla="*/ 212 h 702"/>
                  <a:gd name="T92" fmla="*/ 360 w 641"/>
                  <a:gd name="T93" fmla="*/ 166 h 702"/>
                  <a:gd name="T94" fmla="*/ 346 w 641"/>
                  <a:gd name="T95" fmla="*/ 123 h 702"/>
                  <a:gd name="T96" fmla="*/ 384 w 641"/>
                  <a:gd name="T97" fmla="*/ 127 h 702"/>
                  <a:gd name="T98" fmla="*/ 430 w 641"/>
                  <a:gd name="T99" fmla="*/ 95 h 702"/>
                  <a:gd name="T100" fmla="*/ 481 w 641"/>
                  <a:gd name="T101" fmla="*/ 90 h 702"/>
                  <a:gd name="T102" fmla="*/ 577 w 641"/>
                  <a:gd name="T103" fmla="*/ 113 h 702"/>
                  <a:gd name="T104" fmla="*/ 641 w 641"/>
                  <a:gd name="T105" fmla="*/ 29 h 702"/>
                  <a:gd name="T106" fmla="*/ 612 w 641"/>
                  <a:gd name="T107" fmla="*/ 2 h 702"/>
                  <a:gd name="T108" fmla="*/ 584 w 641"/>
                  <a:gd name="T109" fmla="*/ 34 h 702"/>
                  <a:gd name="T110" fmla="*/ 515 w 641"/>
                  <a:gd name="T111" fmla="*/ 70 h 702"/>
                  <a:gd name="T112" fmla="*/ 360 w 641"/>
                  <a:gd name="T113" fmla="*/ 45 h 702"/>
                  <a:gd name="T114" fmla="*/ 230 w 641"/>
                  <a:gd name="T115" fmla="*/ 86 h 702"/>
                  <a:gd name="T116" fmla="*/ 154 w 641"/>
                  <a:gd name="T117" fmla="*/ 116 h 702"/>
                  <a:gd name="T118" fmla="*/ 86 w 641"/>
                  <a:gd name="T119" fmla="*/ 132 h 702"/>
                  <a:gd name="T120" fmla="*/ 0 w 641"/>
                  <a:gd name="T121" fmla="*/ 293 h 702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641"/>
                  <a:gd name="T184" fmla="*/ 0 h 702"/>
                  <a:gd name="T185" fmla="*/ 641 w 641"/>
                  <a:gd name="T186" fmla="*/ 702 h 702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641" h="702">
                    <a:moveTo>
                      <a:pt x="0" y="293"/>
                    </a:moveTo>
                    <a:lnTo>
                      <a:pt x="9" y="312"/>
                    </a:lnTo>
                    <a:lnTo>
                      <a:pt x="56" y="356"/>
                    </a:lnTo>
                    <a:lnTo>
                      <a:pt x="77" y="360"/>
                    </a:lnTo>
                    <a:lnTo>
                      <a:pt x="88" y="353"/>
                    </a:lnTo>
                    <a:lnTo>
                      <a:pt x="102" y="367"/>
                    </a:lnTo>
                    <a:lnTo>
                      <a:pt x="97" y="379"/>
                    </a:lnTo>
                    <a:lnTo>
                      <a:pt x="88" y="386"/>
                    </a:lnTo>
                    <a:lnTo>
                      <a:pt x="76" y="383"/>
                    </a:lnTo>
                    <a:lnTo>
                      <a:pt x="64" y="388"/>
                    </a:lnTo>
                    <a:lnTo>
                      <a:pt x="105" y="457"/>
                    </a:lnTo>
                    <a:lnTo>
                      <a:pt x="123" y="448"/>
                    </a:lnTo>
                    <a:lnTo>
                      <a:pt x="168" y="441"/>
                    </a:lnTo>
                    <a:lnTo>
                      <a:pt x="219" y="446"/>
                    </a:lnTo>
                    <a:lnTo>
                      <a:pt x="272" y="476"/>
                    </a:lnTo>
                    <a:lnTo>
                      <a:pt x="294" y="482"/>
                    </a:lnTo>
                    <a:lnTo>
                      <a:pt x="273" y="505"/>
                    </a:lnTo>
                    <a:lnTo>
                      <a:pt x="258" y="510"/>
                    </a:lnTo>
                    <a:lnTo>
                      <a:pt x="184" y="469"/>
                    </a:lnTo>
                    <a:lnTo>
                      <a:pt x="175" y="468"/>
                    </a:lnTo>
                    <a:lnTo>
                      <a:pt x="158" y="485"/>
                    </a:lnTo>
                    <a:lnTo>
                      <a:pt x="131" y="480"/>
                    </a:lnTo>
                    <a:lnTo>
                      <a:pt x="110" y="517"/>
                    </a:lnTo>
                    <a:lnTo>
                      <a:pt x="109" y="528"/>
                    </a:lnTo>
                    <a:lnTo>
                      <a:pt x="117" y="540"/>
                    </a:lnTo>
                    <a:lnTo>
                      <a:pt x="138" y="566"/>
                    </a:lnTo>
                    <a:lnTo>
                      <a:pt x="147" y="582"/>
                    </a:lnTo>
                    <a:lnTo>
                      <a:pt x="149" y="598"/>
                    </a:lnTo>
                    <a:lnTo>
                      <a:pt x="139" y="623"/>
                    </a:lnTo>
                    <a:lnTo>
                      <a:pt x="144" y="641"/>
                    </a:lnTo>
                    <a:lnTo>
                      <a:pt x="163" y="662"/>
                    </a:lnTo>
                    <a:lnTo>
                      <a:pt x="184" y="635"/>
                    </a:lnTo>
                    <a:lnTo>
                      <a:pt x="204" y="658"/>
                    </a:lnTo>
                    <a:lnTo>
                      <a:pt x="223" y="702"/>
                    </a:lnTo>
                    <a:lnTo>
                      <a:pt x="236" y="676"/>
                    </a:lnTo>
                    <a:lnTo>
                      <a:pt x="251" y="672"/>
                    </a:lnTo>
                    <a:lnTo>
                      <a:pt x="282" y="690"/>
                    </a:lnTo>
                    <a:lnTo>
                      <a:pt x="272" y="632"/>
                    </a:lnTo>
                    <a:lnTo>
                      <a:pt x="262" y="619"/>
                    </a:lnTo>
                    <a:lnTo>
                      <a:pt x="265" y="611"/>
                    </a:lnTo>
                    <a:lnTo>
                      <a:pt x="257" y="600"/>
                    </a:lnTo>
                    <a:lnTo>
                      <a:pt x="248" y="572"/>
                    </a:lnTo>
                    <a:lnTo>
                      <a:pt x="248" y="559"/>
                    </a:lnTo>
                    <a:lnTo>
                      <a:pt x="256" y="565"/>
                    </a:lnTo>
                    <a:lnTo>
                      <a:pt x="278" y="568"/>
                    </a:lnTo>
                    <a:lnTo>
                      <a:pt x="285" y="573"/>
                    </a:lnTo>
                    <a:lnTo>
                      <a:pt x="281" y="588"/>
                    </a:lnTo>
                    <a:lnTo>
                      <a:pt x="294" y="593"/>
                    </a:lnTo>
                    <a:lnTo>
                      <a:pt x="301" y="588"/>
                    </a:lnTo>
                    <a:lnTo>
                      <a:pt x="301" y="580"/>
                    </a:lnTo>
                    <a:lnTo>
                      <a:pt x="323" y="575"/>
                    </a:lnTo>
                    <a:lnTo>
                      <a:pt x="313" y="565"/>
                    </a:lnTo>
                    <a:lnTo>
                      <a:pt x="315" y="552"/>
                    </a:lnTo>
                    <a:lnTo>
                      <a:pt x="305" y="558"/>
                    </a:lnTo>
                    <a:lnTo>
                      <a:pt x="298" y="559"/>
                    </a:lnTo>
                    <a:lnTo>
                      <a:pt x="288" y="552"/>
                    </a:lnTo>
                    <a:lnTo>
                      <a:pt x="288" y="535"/>
                    </a:lnTo>
                    <a:lnTo>
                      <a:pt x="286" y="522"/>
                    </a:lnTo>
                    <a:lnTo>
                      <a:pt x="273" y="517"/>
                    </a:lnTo>
                    <a:lnTo>
                      <a:pt x="281" y="510"/>
                    </a:lnTo>
                    <a:lnTo>
                      <a:pt x="323" y="494"/>
                    </a:lnTo>
                    <a:lnTo>
                      <a:pt x="333" y="494"/>
                    </a:lnTo>
                    <a:lnTo>
                      <a:pt x="346" y="520"/>
                    </a:lnTo>
                    <a:lnTo>
                      <a:pt x="355" y="522"/>
                    </a:lnTo>
                    <a:lnTo>
                      <a:pt x="365" y="547"/>
                    </a:lnTo>
                    <a:lnTo>
                      <a:pt x="372" y="547"/>
                    </a:lnTo>
                    <a:lnTo>
                      <a:pt x="380" y="536"/>
                    </a:lnTo>
                    <a:lnTo>
                      <a:pt x="370" y="489"/>
                    </a:lnTo>
                    <a:lnTo>
                      <a:pt x="379" y="483"/>
                    </a:lnTo>
                    <a:lnTo>
                      <a:pt x="377" y="475"/>
                    </a:lnTo>
                    <a:lnTo>
                      <a:pt x="362" y="457"/>
                    </a:lnTo>
                    <a:lnTo>
                      <a:pt x="338" y="457"/>
                    </a:lnTo>
                    <a:lnTo>
                      <a:pt x="331" y="438"/>
                    </a:lnTo>
                    <a:lnTo>
                      <a:pt x="318" y="438"/>
                    </a:lnTo>
                    <a:lnTo>
                      <a:pt x="301" y="422"/>
                    </a:lnTo>
                    <a:lnTo>
                      <a:pt x="300" y="413"/>
                    </a:lnTo>
                    <a:lnTo>
                      <a:pt x="282" y="413"/>
                    </a:lnTo>
                    <a:lnTo>
                      <a:pt x="273" y="400"/>
                    </a:lnTo>
                    <a:lnTo>
                      <a:pt x="256" y="395"/>
                    </a:lnTo>
                    <a:lnTo>
                      <a:pt x="244" y="388"/>
                    </a:lnTo>
                    <a:lnTo>
                      <a:pt x="233" y="385"/>
                    </a:lnTo>
                    <a:lnTo>
                      <a:pt x="261" y="376"/>
                    </a:lnTo>
                    <a:lnTo>
                      <a:pt x="270" y="365"/>
                    </a:lnTo>
                    <a:lnTo>
                      <a:pt x="268" y="346"/>
                    </a:lnTo>
                    <a:lnTo>
                      <a:pt x="260" y="340"/>
                    </a:lnTo>
                    <a:lnTo>
                      <a:pt x="256" y="328"/>
                    </a:lnTo>
                    <a:lnTo>
                      <a:pt x="269" y="317"/>
                    </a:lnTo>
                    <a:lnTo>
                      <a:pt x="274" y="321"/>
                    </a:lnTo>
                    <a:lnTo>
                      <a:pt x="282" y="323"/>
                    </a:lnTo>
                    <a:lnTo>
                      <a:pt x="288" y="330"/>
                    </a:lnTo>
                    <a:lnTo>
                      <a:pt x="293" y="342"/>
                    </a:lnTo>
                    <a:lnTo>
                      <a:pt x="288" y="355"/>
                    </a:lnTo>
                    <a:lnTo>
                      <a:pt x="298" y="349"/>
                    </a:lnTo>
                    <a:lnTo>
                      <a:pt x="306" y="340"/>
                    </a:lnTo>
                    <a:lnTo>
                      <a:pt x="291" y="310"/>
                    </a:lnTo>
                    <a:lnTo>
                      <a:pt x="265" y="286"/>
                    </a:lnTo>
                    <a:lnTo>
                      <a:pt x="260" y="256"/>
                    </a:lnTo>
                    <a:lnTo>
                      <a:pt x="254" y="254"/>
                    </a:lnTo>
                    <a:lnTo>
                      <a:pt x="239" y="233"/>
                    </a:lnTo>
                    <a:lnTo>
                      <a:pt x="236" y="222"/>
                    </a:lnTo>
                    <a:lnTo>
                      <a:pt x="232" y="215"/>
                    </a:lnTo>
                    <a:lnTo>
                      <a:pt x="233" y="199"/>
                    </a:lnTo>
                    <a:lnTo>
                      <a:pt x="244" y="176"/>
                    </a:lnTo>
                    <a:lnTo>
                      <a:pt x="233" y="162"/>
                    </a:lnTo>
                    <a:lnTo>
                      <a:pt x="254" y="152"/>
                    </a:lnTo>
                    <a:lnTo>
                      <a:pt x="261" y="139"/>
                    </a:lnTo>
                    <a:lnTo>
                      <a:pt x="269" y="141"/>
                    </a:lnTo>
                    <a:lnTo>
                      <a:pt x="272" y="148"/>
                    </a:lnTo>
                    <a:lnTo>
                      <a:pt x="270" y="157"/>
                    </a:lnTo>
                    <a:lnTo>
                      <a:pt x="258" y="164"/>
                    </a:lnTo>
                    <a:lnTo>
                      <a:pt x="279" y="187"/>
                    </a:lnTo>
                    <a:lnTo>
                      <a:pt x="297" y="194"/>
                    </a:lnTo>
                    <a:lnTo>
                      <a:pt x="305" y="206"/>
                    </a:lnTo>
                    <a:lnTo>
                      <a:pt x="310" y="224"/>
                    </a:lnTo>
                    <a:lnTo>
                      <a:pt x="309" y="234"/>
                    </a:lnTo>
                    <a:lnTo>
                      <a:pt x="342" y="240"/>
                    </a:lnTo>
                    <a:lnTo>
                      <a:pt x="346" y="236"/>
                    </a:lnTo>
                    <a:lnTo>
                      <a:pt x="342" y="231"/>
                    </a:lnTo>
                    <a:lnTo>
                      <a:pt x="327" y="224"/>
                    </a:lnTo>
                    <a:lnTo>
                      <a:pt x="315" y="210"/>
                    </a:lnTo>
                    <a:lnTo>
                      <a:pt x="309" y="199"/>
                    </a:lnTo>
                    <a:lnTo>
                      <a:pt x="311" y="197"/>
                    </a:lnTo>
                    <a:lnTo>
                      <a:pt x="311" y="190"/>
                    </a:lnTo>
                    <a:lnTo>
                      <a:pt x="327" y="196"/>
                    </a:lnTo>
                    <a:lnTo>
                      <a:pt x="342" y="204"/>
                    </a:lnTo>
                    <a:lnTo>
                      <a:pt x="360" y="233"/>
                    </a:lnTo>
                    <a:lnTo>
                      <a:pt x="372" y="231"/>
                    </a:lnTo>
                    <a:lnTo>
                      <a:pt x="374" y="224"/>
                    </a:lnTo>
                    <a:lnTo>
                      <a:pt x="368" y="208"/>
                    </a:lnTo>
                    <a:lnTo>
                      <a:pt x="362" y="210"/>
                    </a:lnTo>
                    <a:lnTo>
                      <a:pt x="347" y="199"/>
                    </a:lnTo>
                    <a:lnTo>
                      <a:pt x="347" y="190"/>
                    </a:lnTo>
                    <a:lnTo>
                      <a:pt x="344" y="183"/>
                    </a:lnTo>
                    <a:lnTo>
                      <a:pt x="355" y="183"/>
                    </a:lnTo>
                    <a:lnTo>
                      <a:pt x="359" y="176"/>
                    </a:lnTo>
                    <a:lnTo>
                      <a:pt x="386" y="189"/>
                    </a:lnTo>
                    <a:lnTo>
                      <a:pt x="387" y="194"/>
                    </a:lnTo>
                    <a:lnTo>
                      <a:pt x="403" y="212"/>
                    </a:lnTo>
                    <a:lnTo>
                      <a:pt x="409" y="206"/>
                    </a:lnTo>
                    <a:lnTo>
                      <a:pt x="374" y="169"/>
                    </a:lnTo>
                    <a:lnTo>
                      <a:pt x="360" y="166"/>
                    </a:lnTo>
                    <a:lnTo>
                      <a:pt x="354" y="144"/>
                    </a:lnTo>
                    <a:lnTo>
                      <a:pt x="346" y="132"/>
                    </a:lnTo>
                    <a:lnTo>
                      <a:pt x="346" y="123"/>
                    </a:lnTo>
                    <a:lnTo>
                      <a:pt x="356" y="120"/>
                    </a:lnTo>
                    <a:lnTo>
                      <a:pt x="370" y="129"/>
                    </a:lnTo>
                    <a:lnTo>
                      <a:pt x="384" y="127"/>
                    </a:lnTo>
                    <a:lnTo>
                      <a:pt x="403" y="116"/>
                    </a:lnTo>
                    <a:lnTo>
                      <a:pt x="416" y="97"/>
                    </a:lnTo>
                    <a:lnTo>
                      <a:pt x="430" y="95"/>
                    </a:lnTo>
                    <a:lnTo>
                      <a:pt x="432" y="109"/>
                    </a:lnTo>
                    <a:lnTo>
                      <a:pt x="449" y="109"/>
                    </a:lnTo>
                    <a:lnTo>
                      <a:pt x="481" y="90"/>
                    </a:lnTo>
                    <a:lnTo>
                      <a:pt x="483" y="99"/>
                    </a:lnTo>
                    <a:lnTo>
                      <a:pt x="509" y="107"/>
                    </a:lnTo>
                    <a:lnTo>
                      <a:pt x="577" y="113"/>
                    </a:lnTo>
                    <a:lnTo>
                      <a:pt x="580" y="137"/>
                    </a:lnTo>
                    <a:lnTo>
                      <a:pt x="612" y="69"/>
                    </a:lnTo>
                    <a:lnTo>
                      <a:pt x="641" y="29"/>
                    </a:lnTo>
                    <a:lnTo>
                      <a:pt x="634" y="15"/>
                    </a:lnTo>
                    <a:lnTo>
                      <a:pt x="616" y="2"/>
                    </a:lnTo>
                    <a:lnTo>
                      <a:pt x="612" y="2"/>
                    </a:lnTo>
                    <a:lnTo>
                      <a:pt x="595" y="0"/>
                    </a:lnTo>
                    <a:lnTo>
                      <a:pt x="580" y="15"/>
                    </a:lnTo>
                    <a:lnTo>
                      <a:pt x="584" y="34"/>
                    </a:lnTo>
                    <a:lnTo>
                      <a:pt x="581" y="51"/>
                    </a:lnTo>
                    <a:lnTo>
                      <a:pt x="531" y="69"/>
                    </a:lnTo>
                    <a:lnTo>
                      <a:pt x="515" y="70"/>
                    </a:lnTo>
                    <a:lnTo>
                      <a:pt x="423" y="25"/>
                    </a:lnTo>
                    <a:lnTo>
                      <a:pt x="396" y="29"/>
                    </a:lnTo>
                    <a:lnTo>
                      <a:pt x="360" y="45"/>
                    </a:lnTo>
                    <a:lnTo>
                      <a:pt x="279" y="58"/>
                    </a:lnTo>
                    <a:lnTo>
                      <a:pt x="253" y="70"/>
                    </a:lnTo>
                    <a:lnTo>
                      <a:pt x="230" y="86"/>
                    </a:lnTo>
                    <a:lnTo>
                      <a:pt x="186" y="79"/>
                    </a:lnTo>
                    <a:lnTo>
                      <a:pt x="170" y="90"/>
                    </a:lnTo>
                    <a:lnTo>
                      <a:pt x="154" y="116"/>
                    </a:lnTo>
                    <a:lnTo>
                      <a:pt x="126" y="125"/>
                    </a:lnTo>
                    <a:lnTo>
                      <a:pt x="90" y="130"/>
                    </a:lnTo>
                    <a:lnTo>
                      <a:pt x="86" y="132"/>
                    </a:lnTo>
                    <a:lnTo>
                      <a:pt x="68" y="185"/>
                    </a:lnTo>
                    <a:lnTo>
                      <a:pt x="27" y="238"/>
                    </a:lnTo>
                    <a:lnTo>
                      <a:pt x="0" y="293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65" name="Freeform 253"/>
              <p:cNvSpPr>
                <a:spLocks/>
              </p:cNvSpPr>
              <p:nvPr>
                <p:custDataLst>
                  <p:tags r:id="rId190"/>
                </p:custDataLst>
              </p:nvPr>
            </p:nvSpPr>
            <p:spPr bwMode="auto">
              <a:xfrm>
                <a:off x="3043" y="2132"/>
                <a:ext cx="40" cy="16"/>
              </a:xfrm>
              <a:custGeom>
                <a:avLst/>
                <a:gdLst>
                  <a:gd name="T0" fmla="*/ 218 w 274"/>
                  <a:gd name="T1" fmla="*/ 49 h 100"/>
                  <a:gd name="T2" fmla="*/ 216 w 274"/>
                  <a:gd name="T3" fmla="*/ 47 h 100"/>
                  <a:gd name="T4" fmla="*/ 200 w 274"/>
                  <a:gd name="T5" fmla="*/ 54 h 100"/>
                  <a:gd name="T6" fmla="*/ 186 w 274"/>
                  <a:gd name="T7" fmla="*/ 51 h 100"/>
                  <a:gd name="T8" fmla="*/ 151 w 274"/>
                  <a:gd name="T9" fmla="*/ 46 h 100"/>
                  <a:gd name="T10" fmla="*/ 149 w 274"/>
                  <a:gd name="T11" fmla="*/ 37 h 100"/>
                  <a:gd name="T12" fmla="*/ 127 w 274"/>
                  <a:gd name="T13" fmla="*/ 37 h 100"/>
                  <a:gd name="T14" fmla="*/ 90 w 274"/>
                  <a:gd name="T15" fmla="*/ 44 h 100"/>
                  <a:gd name="T16" fmla="*/ 74 w 274"/>
                  <a:gd name="T17" fmla="*/ 42 h 100"/>
                  <a:gd name="T18" fmla="*/ 73 w 274"/>
                  <a:gd name="T19" fmla="*/ 33 h 100"/>
                  <a:gd name="T20" fmla="*/ 62 w 274"/>
                  <a:gd name="T21" fmla="*/ 28 h 100"/>
                  <a:gd name="T22" fmla="*/ 59 w 274"/>
                  <a:gd name="T23" fmla="*/ 28 h 100"/>
                  <a:gd name="T24" fmla="*/ 61 w 274"/>
                  <a:gd name="T25" fmla="*/ 24 h 100"/>
                  <a:gd name="T26" fmla="*/ 65 w 274"/>
                  <a:gd name="T27" fmla="*/ 24 h 100"/>
                  <a:gd name="T28" fmla="*/ 66 w 274"/>
                  <a:gd name="T29" fmla="*/ 19 h 100"/>
                  <a:gd name="T30" fmla="*/ 59 w 274"/>
                  <a:gd name="T31" fmla="*/ 12 h 100"/>
                  <a:gd name="T32" fmla="*/ 54 w 274"/>
                  <a:gd name="T33" fmla="*/ 14 h 100"/>
                  <a:gd name="T34" fmla="*/ 54 w 274"/>
                  <a:gd name="T35" fmla="*/ 19 h 100"/>
                  <a:gd name="T36" fmla="*/ 47 w 274"/>
                  <a:gd name="T37" fmla="*/ 23 h 100"/>
                  <a:gd name="T38" fmla="*/ 40 w 274"/>
                  <a:gd name="T39" fmla="*/ 19 h 100"/>
                  <a:gd name="T40" fmla="*/ 26 w 274"/>
                  <a:gd name="T41" fmla="*/ 19 h 100"/>
                  <a:gd name="T42" fmla="*/ 25 w 274"/>
                  <a:gd name="T43" fmla="*/ 10 h 100"/>
                  <a:gd name="T44" fmla="*/ 22 w 274"/>
                  <a:gd name="T45" fmla="*/ 0 h 100"/>
                  <a:gd name="T46" fmla="*/ 18 w 274"/>
                  <a:gd name="T47" fmla="*/ 5 h 100"/>
                  <a:gd name="T48" fmla="*/ 18 w 274"/>
                  <a:gd name="T49" fmla="*/ 17 h 100"/>
                  <a:gd name="T50" fmla="*/ 5 w 274"/>
                  <a:gd name="T51" fmla="*/ 17 h 100"/>
                  <a:gd name="T52" fmla="*/ 0 w 274"/>
                  <a:gd name="T53" fmla="*/ 51 h 100"/>
                  <a:gd name="T54" fmla="*/ 4 w 274"/>
                  <a:gd name="T55" fmla="*/ 56 h 100"/>
                  <a:gd name="T56" fmla="*/ 8 w 274"/>
                  <a:gd name="T57" fmla="*/ 60 h 100"/>
                  <a:gd name="T58" fmla="*/ 30 w 274"/>
                  <a:gd name="T59" fmla="*/ 58 h 100"/>
                  <a:gd name="T60" fmla="*/ 53 w 274"/>
                  <a:gd name="T61" fmla="*/ 65 h 100"/>
                  <a:gd name="T62" fmla="*/ 82 w 274"/>
                  <a:gd name="T63" fmla="*/ 65 h 100"/>
                  <a:gd name="T64" fmla="*/ 119 w 274"/>
                  <a:gd name="T65" fmla="*/ 81 h 100"/>
                  <a:gd name="T66" fmla="*/ 121 w 274"/>
                  <a:gd name="T67" fmla="*/ 88 h 100"/>
                  <a:gd name="T68" fmla="*/ 119 w 274"/>
                  <a:gd name="T69" fmla="*/ 100 h 100"/>
                  <a:gd name="T70" fmla="*/ 208 w 274"/>
                  <a:gd name="T71" fmla="*/ 92 h 100"/>
                  <a:gd name="T72" fmla="*/ 222 w 274"/>
                  <a:gd name="T73" fmla="*/ 92 h 100"/>
                  <a:gd name="T74" fmla="*/ 237 w 274"/>
                  <a:gd name="T75" fmla="*/ 88 h 100"/>
                  <a:gd name="T76" fmla="*/ 263 w 274"/>
                  <a:gd name="T77" fmla="*/ 90 h 100"/>
                  <a:gd name="T78" fmla="*/ 271 w 274"/>
                  <a:gd name="T79" fmla="*/ 74 h 100"/>
                  <a:gd name="T80" fmla="*/ 271 w 274"/>
                  <a:gd name="T81" fmla="*/ 63 h 100"/>
                  <a:gd name="T82" fmla="*/ 274 w 274"/>
                  <a:gd name="T83" fmla="*/ 51 h 100"/>
                  <a:gd name="T84" fmla="*/ 258 w 274"/>
                  <a:gd name="T85" fmla="*/ 65 h 100"/>
                  <a:gd name="T86" fmla="*/ 253 w 274"/>
                  <a:gd name="T87" fmla="*/ 62 h 100"/>
                  <a:gd name="T88" fmla="*/ 241 w 274"/>
                  <a:gd name="T89" fmla="*/ 65 h 100"/>
                  <a:gd name="T90" fmla="*/ 226 w 274"/>
                  <a:gd name="T91" fmla="*/ 76 h 100"/>
                  <a:gd name="T92" fmla="*/ 222 w 274"/>
                  <a:gd name="T93" fmla="*/ 76 h 100"/>
                  <a:gd name="T94" fmla="*/ 214 w 274"/>
                  <a:gd name="T95" fmla="*/ 69 h 100"/>
                  <a:gd name="T96" fmla="*/ 218 w 274"/>
                  <a:gd name="T97" fmla="*/ 49 h 100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274"/>
                  <a:gd name="T148" fmla="*/ 0 h 100"/>
                  <a:gd name="T149" fmla="*/ 274 w 274"/>
                  <a:gd name="T150" fmla="*/ 100 h 100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274" h="100">
                    <a:moveTo>
                      <a:pt x="218" y="49"/>
                    </a:moveTo>
                    <a:lnTo>
                      <a:pt x="216" y="47"/>
                    </a:lnTo>
                    <a:lnTo>
                      <a:pt x="200" y="54"/>
                    </a:lnTo>
                    <a:lnTo>
                      <a:pt x="186" y="51"/>
                    </a:lnTo>
                    <a:lnTo>
                      <a:pt x="151" y="46"/>
                    </a:lnTo>
                    <a:lnTo>
                      <a:pt x="149" y="37"/>
                    </a:lnTo>
                    <a:lnTo>
                      <a:pt x="127" y="37"/>
                    </a:lnTo>
                    <a:lnTo>
                      <a:pt x="90" y="44"/>
                    </a:lnTo>
                    <a:lnTo>
                      <a:pt x="74" y="42"/>
                    </a:lnTo>
                    <a:lnTo>
                      <a:pt x="73" y="33"/>
                    </a:lnTo>
                    <a:lnTo>
                      <a:pt x="62" y="28"/>
                    </a:lnTo>
                    <a:lnTo>
                      <a:pt x="59" y="28"/>
                    </a:lnTo>
                    <a:lnTo>
                      <a:pt x="61" y="24"/>
                    </a:lnTo>
                    <a:lnTo>
                      <a:pt x="65" y="24"/>
                    </a:lnTo>
                    <a:lnTo>
                      <a:pt x="66" y="19"/>
                    </a:lnTo>
                    <a:lnTo>
                      <a:pt x="59" y="12"/>
                    </a:lnTo>
                    <a:lnTo>
                      <a:pt x="54" y="14"/>
                    </a:lnTo>
                    <a:lnTo>
                      <a:pt x="54" y="19"/>
                    </a:lnTo>
                    <a:lnTo>
                      <a:pt x="47" y="23"/>
                    </a:lnTo>
                    <a:lnTo>
                      <a:pt x="40" y="19"/>
                    </a:lnTo>
                    <a:lnTo>
                      <a:pt x="26" y="19"/>
                    </a:lnTo>
                    <a:lnTo>
                      <a:pt x="25" y="10"/>
                    </a:lnTo>
                    <a:lnTo>
                      <a:pt x="22" y="0"/>
                    </a:lnTo>
                    <a:lnTo>
                      <a:pt x="18" y="5"/>
                    </a:lnTo>
                    <a:lnTo>
                      <a:pt x="18" y="17"/>
                    </a:lnTo>
                    <a:lnTo>
                      <a:pt x="5" y="17"/>
                    </a:lnTo>
                    <a:lnTo>
                      <a:pt x="0" y="51"/>
                    </a:lnTo>
                    <a:lnTo>
                      <a:pt x="4" y="56"/>
                    </a:lnTo>
                    <a:lnTo>
                      <a:pt x="8" y="60"/>
                    </a:lnTo>
                    <a:lnTo>
                      <a:pt x="30" y="58"/>
                    </a:lnTo>
                    <a:lnTo>
                      <a:pt x="53" y="65"/>
                    </a:lnTo>
                    <a:lnTo>
                      <a:pt x="82" y="65"/>
                    </a:lnTo>
                    <a:lnTo>
                      <a:pt x="119" y="81"/>
                    </a:lnTo>
                    <a:lnTo>
                      <a:pt x="121" y="88"/>
                    </a:lnTo>
                    <a:lnTo>
                      <a:pt x="119" y="100"/>
                    </a:lnTo>
                    <a:lnTo>
                      <a:pt x="208" y="92"/>
                    </a:lnTo>
                    <a:lnTo>
                      <a:pt x="222" y="92"/>
                    </a:lnTo>
                    <a:lnTo>
                      <a:pt x="237" y="88"/>
                    </a:lnTo>
                    <a:lnTo>
                      <a:pt x="263" y="90"/>
                    </a:lnTo>
                    <a:lnTo>
                      <a:pt x="271" y="74"/>
                    </a:lnTo>
                    <a:lnTo>
                      <a:pt x="271" y="63"/>
                    </a:lnTo>
                    <a:lnTo>
                      <a:pt x="274" y="51"/>
                    </a:lnTo>
                    <a:lnTo>
                      <a:pt x="258" y="65"/>
                    </a:lnTo>
                    <a:lnTo>
                      <a:pt x="253" y="62"/>
                    </a:lnTo>
                    <a:lnTo>
                      <a:pt x="241" y="65"/>
                    </a:lnTo>
                    <a:lnTo>
                      <a:pt x="226" y="76"/>
                    </a:lnTo>
                    <a:lnTo>
                      <a:pt x="222" y="76"/>
                    </a:lnTo>
                    <a:lnTo>
                      <a:pt x="214" y="69"/>
                    </a:lnTo>
                    <a:lnTo>
                      <a:pt x="218" y="49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66" name="Freeform 254"/>
              <p:cNvSpPr>
                <a:spLocks/>
              </p:cNvSpPr>
              <p:nvPr>
                <p:custDataLst>
                  <p:tags r:id="rId191"/>
                </p:custDataLst>
              </p:nvPr>
            </p:nvSpPr>
            <p:spPr bwMode="auto">
              <a:xfrm>
                <a:off x="2860" y="1690"/>
                <a:ext cx="20" cy="26"/>
              </a:xfrm>
              <a:custGeom>
                <a:avLst/>
                <a:gdLst>
                  <a:gd name="T0" fmla="*/ 46 w 133"/>
                  <a:gd name="T1" fmla="*/ 18 h 171"/>
                  <a:gd name="T2" fmla="*/ 19 w 133"/>
                  <a:gd name="T3" fmla="*/ 51 h 171"/>
                  <a:gd name="T4" fmla="*/ 0 w 133"/>
                  <a:gd name="T5" fmla="*/ 58 h 171"/>
                  <a:gd name="T6" fmla="*/ 18 w 133"/>
                  <a:gd name="T7" fmla="*/ 132 h 171"/>
                  <a:gd name="T8" fmla="*/ 47 w 133"/>
                  <a:gd name="T9" fmla="*/ 135 h 171"/>
                  <a:gd name="T10" fmla="*/ 65 w 133"/>
                  <a:gd name="T11" fmla="*/ 133 h 171"/>
                  <a:gd name="T12" fmla="*/ 84 w 133"/>
                  <a:gd name="T13" fmla="*/ 171 h 171"/>
                  <a:gd name="T14" fmla="*/ 94 w 133"/>
                  <a:gd name="T15" fmla="*/ 164 h 171"/>
                  <a:gd name="T16" fmla="*/ 117 w 133"/>
                  <a:gd name="T17" fmla="*/ 135 h 171"/>
                  <a:gd name="T18" fmla="*/ 130 w 133"/>
                  <a:gd name="T19" fmla="*/ 123 h 171"/>
                  <a:gd name="T20" fmla="*/ 104 w 133"/>
                  <a:gd name="T21" fmla="*/ 99 h 171"/>
                  <a:gd name="T22" fmla="*/ 127 w 133"/>
                  <a:gd name="T23" fmla="*/ 72 h 171"/>
                  <a:gd name="T24" fmla="*/ 133 w 133"/>
                  <a:gd name="T25" fmla="*/ 46 h 171"/>
                  <a:gd name="T26" fmla="*/ 132 w 133"/>
                  <a:gd name="T27" fmla="*/ 4 h 171"/>
                  <a:gd name="T28" fmla="*/ 111 w 133"/>
                  <a:gd name="T29" fmla="*/ 0 h 171"/>
                  <a:gd name="T30" fmla="*/ 96 w 133"/>
                  <a:gd name="T31" fmla="*/ 4 h 171"/>
                  <a:gd name="T32" fmla="*/ 93 w 133"/>
                  <a:gd name="T33" fmla="*/ 46 h 171"/>
                  <a:gd name="T34" fmla="*/ 84 w 133"/>
                  <a:gd name="T35" fmla="*/ 67 h 171"/>
                  <a:gd name="T36" fmla="*/ 61 w 133"/>
                  <a:gd name="T37" fmla="*/ 53 h 171"/>
                  <a:gd name="T38" fmla="*/ 46 w 133"/>
                  <a:gd name="T39" fmla="*/ 18 h 17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33"/>
                  <a:gd name="T61" fmla="*/ 0 h 171"/>
                  <a:gd name="T62" fmla="*/ 133 w 133"/>
                  <a:gd name="T63" fmla="*/ 171 h 171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33" h="171">
                    <a:moveTo>
                      <a:pt x="46" y="18"/>
                    </a:moveTo>
                    <a:lnTo>
                      <a:pt x="19" y="51"/>
                    </a:lnTo>
                    <a:lnTo>
                      <a:pt x="0" y="58"/>
                    </a:lnTo>
                    <a:lnTo>
                      <a:pt x="18" y="132"/>
                    </a:lnTo>
                    <a:lnTo>
                      <a:pt x="47" y="135"/>
                    </a:lnTo>
                    <a:lnTo>
                      <a:pt x="65" y="133"/>
                    </a:lnTo>
                    <a:lnTo>
                      <a:pt x="84" y="171"/>
                    </a:lnTo>
                    <a:lnTo>
                      <a:pt x="94" y="164"/>
                    </a:lnTo>
                    <a:lnTo>
                      <a:pt x="117" y="135"/>
                    </a:lnTo>
                    <a:lnTo>
                      <a:pt x="130" y="123"/>
                    </a:lnTo>
                    <a:lnTo>
                      <a:pt x="104" y="99"/>
                    </a:lnTo>
                    <a:lnTo>
                      <a:pt x="127" y="72"/>
                    </a:lnTo>
                    <a:lnTo>
                      <a:pt x="133" y="46"/>
                    </a:lnTo>
                    <a:lnTo>
                      <a:pt x="132" y="4"/>
                    </a:lnTo>
                    <a:lnTo>
                      <a:pt x="111" y="0"/>
                    </a:lnTo>
                    <a:lnTo>
                      <a:pt x="96" y="4"/>
                    </a:lnTo>
                    <a:lnTo>
                      <a:pt x="93" y="46"/>
                    </a:lnTo>
                    <a:lnTo>
                      <a:pt x="84" y="67"/>
                    </a:lnTo>
                    <a:lnTo>
                      <a:pt x="61" y="53"/>
                    </a:lnTo>
                    <a:lnTo>
                      <a:pt x="46" y="18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67" name="Freeform 255"/>
              <p:cNvSpPr>
                <a:spLocks/>
              </p:cNvSpPr>
              <p:nvPr>
                <p:custDataLst>
                  <p:tags r:id="rId192"/>
                </p:custDataLst>
              </p:nvPr>
            </p:nvSpPr>
            <p:spPr bwMode="auto">
              <a:xfrm>
                <a:off x="2818" y="1649"/>
                <a:ext cx="33" cy="27"/>
              </a:xfrm>
              <a:custGeom>
                <a:avLst/>
                <a:gdLst>
                  <a:gd name="T0" fmla="*/ 66 w 233"/>
                  <a:gd name="T1" fmla="*/ 129 h 194"/>
                  <a:gd name="T2" fmla="*/ 78 w 233"/>
                  <a:gd name="T3" fmla="*/ 127 h 194"/>
                  <a:gd name="T4" fmla="*/ 89 w 233"/>
                  <a:gd name="T5" fmla="*/ 120 h 194"/>
                  <a:gd name="T6" fmla="*/ 94 w 233"/>
                  <a:gd name="T7" fmla="*/ 126 h 194"/>
                  <a:gd name="T8" fmla="*/ 114 w 233"/>
                  <a:gd name="T9" fmla="*/ 124 h 194"/>
                  <a:gd name="T10" fmla="*/ 130 w 233"/>
                  <a:gd name="T11" fmla="*/ 131 h 194"/>
                  <a:gd name="T12" fmla="*/ 204 w 233"/>
                  <a:gd name="T13" fmla="*/ 126 h 194"/>
                  <a:gd name="T14" fmla="*/ 212 w 233"/>
                  <a:gd name="T15" fmla="*/ 99 h 194"/>
                  <a:gd name="T16" fmla="*/ 225 w 233"/>
                  <a:gd name="T17" fmla="*/ 87 h 194"/>
                  <a:gd name="T18" fmla="*/ 223 w 233"/>
                  <a:gd name="T19" fmla="*/ 50 h 194"/>
                  <a:gd name="T20" fmla="*/ 217 w 233"/>
                  <a:gd name="T21" fmla="*/ 43 h 194"/>
                  <a:gd name="T22" fmla="*/ 233 w 233"/>
                  <a:gd name="T23" fmla="*/ 2 h 194"/>
                  <a:gd name="T24" fmla="*/ 226 w 233"/>
                  <a:gd name="T25" fmla="*/ 0 h 194"/>
                  <a:gd name="T26" fmla="*/ 217 w 233"/>
                  <a:gd name="T27" fmla="*/ 16 h 194"/>
                  <a:gd name="T28" fmla="*/ 207 w 233"/>
                  <a:gd name="T29" fmla="*/ 14 h 194"/>
                  <a:gd name="T30" fmla="*/ 164 w 233"/>
                  <a:gd name="T31" fmla="*/ 30 h 194"/>
                  <a:gd name="T32" fmla="*/ 123 w 233"/>
                  <a:gd name="T33" fmla="*/ 89 h 194"/>
                  <a:gd name="T34" fmla="*/ 110 w 233"/>
                  <a:gd name="T35" fmla="*/ 99 h 194"/>
                  <a:gd name="T36" fmla="*/ 47 w 233"/>
                  <a:gd name="T37" fmla="*/ 110 h 194"/>
                  <a:gd name="T38" fmla="*/ 35 w 233"/>
                  <a:gd name="T39" fmla="*/ 104 h 194"/>
                  <a:gd name="T40" fmla="*/ 17 w 233"/>
                  <a:gd name="T41" fmla="*/ 124 h 194"/>
                  <a:gd name="T42" fmla="*/ 0 w 233"/>
                  <a:gd name="T43" fmla="*/ 161 h 194"/>
                  <a:gd name="T44" fmla="*/ 29 w 233"/>
                  <a:gd name="T45" fmla="*/ 194 h 194"/>
                  <a:gd name="T46" fmla="*/ 32 w 233"/>
                  <a:gd name="T47" fmla="*/ 186 h 194"/>
                  <a:gd name="T48" fmla="*/ 48 w 233"/>
                  <a:gd name="T49" fmla="*/ 177 h 194"/>
                  <a:gd name="T50" fmla="*/ 58 w 233"/>
                  <a:gd name="T51" fmla="*/ 161 h 194"/>
                  <a:gd name="T52" fmla="*/ 66 w 233"/>
                  <a:gd name="T53" fmla="*/ 129 h 194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233"/>
                  <a:gd name="T82" fmla="*/ 0 h 194"/>
                  <a:gd name="T83" fmla="*/ 233 w 233"/>
                  <a:gd name="T84" fmla="*/ 194 h 194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233" h="194">
                    <a:moveTo>
                      <a:pt x="66" y="129"/>
                    </a:moveTo>
                    <a:lnTo>
                      <a:pt x="78" y="127"/>
                    </a:lnTo>
                    <a:lnTo>
                      <a:pt x="89" y="120"/>
                    </a:lnTo>
                    <a:lnTo>
                      <a:pt x="94" y="126"/>
                    </a:lnTo>
                    <a:lnTo>
                      <a:pt x="114" y="124"/>
                    </a:lnTo>
                    <a:lnTo>
                      <a:pt x="130" y="131"/>
                    </a:lnTo>
                    <a:lnTo>
                      <a:pt x="204" y="126"/>
                    </a:lnTo>
                    <a:lnTo>
                      <a:pt x="212" y="99"/>
                    </a:lnTo>
                    <a:lnTo>
                      <a:pt x="225" y="87"/>
                    </a:lnTo>
                    <a:lnTo>
                      <a:pt x="223" y="50"/>
                    </a:lnTo>
                    <a:lnTo>
                      <a:pt x="217" y="43"/>
                    </a:lnTo>
                    <a:lnTo>
                      <a:pt x="233" y="2"/>
                    </a:lnTo>
                    <a:lnTo>
                      <a:pt x="226" y="0"/>
                    </a:lnTo>
                    <a:lnTo>
                      <a:pt x="217" y="16"/>
                    </a:lnTo>
                    <a:lnTo>
                      <a:pt x="207" y="14"/>
                    </a:lnTo>
                    <a:lnTo>
                      <a:pt x="164" y="30"/>
                    </a:lnTo>
                    <a:lnTo>
                      <a:pt x="123" y="89"/>
                    </a:lnTo>
                    <a:lnTo>
                      <a:pt x="110" y="99"/>
                    </a:lnTo>
                    <a:lnTo>
                      <a:pt x="47" y="110"/>
                    </a:lnTo>
                    <a:lnTo>
                      <a:pt x="35" y="104"/>
                    </a:lnTo>
                    <a:lnTo>
                      <a:pt x="17" y="124"/>
                    </a:lnTo>
                    <a:lnTo>
                      <a:pt x="0" y="161"/>
                    </a:lnTo>
                    <a:lnTo>
                      <a:pt x="29" y="194"/>
                    </a:lnTo>
                    <a:lnTo>
                      <a:pt x="32" y="186"/>
                    </a:lnTo>
                    <a:lnTo>
                      <a:pt x="48" y="177"/>
                    </a:lnTo>
                    <a:lnTo>
                      <a:pt x="58" y="161"/>
                    </a:lnTo>
                    <a:lnTo>
                      <a:pt x="66" y="129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68" name="Freeform 256"/>
              <p:cNvSpPr>
                <a:spLocks/>
              </p:cNvSpPr>
              <p:nvPr>
                <p:custDataLst>
                  <p:tags r:id="rId193"/>
                </p:custDataLst>
              </p:nvPr>
            </p:nvSpPr>
            <p:spPr bwMode="auto">
              <a:xfrm>
                <a:off x="2815" y="1668"/>
                <a:ext cx="42" cy="51"/>
              </a:xfrm>
              <a:custGeom>
                <a:avLst/>
                <a:gdLst>
                  <a:gd name="T0" fmla="*/ 214 w 280"/>
                  <a:gd name="T1" fmla="*/ 7 h 331"/>
                  <a:gd name="T2" fmla="*/ 177 w 280"/>
                  <a:gd name="T3" fmla="*/ 0 h 331"/>
                  <a:gd name="T4" fmla="*/ 131 w 280"/>
                  <a:gd name="T5" fmla="*/ 2 h 331"/>
                  <a:gd name="T6" fmla="*/ 127 w 280"/>
                  <a:gd name="T7" fmla="*/ 28 h 331"/>
                  <a:gd name="T8" fmla="*/ 124 w 280"/>
                  <a:gd name="T9" fmla="*/ 69 h 331"/>
                  <a:gd name="T10" fmla="*/ 108 w 280"/>
                  <a:gd name="T11" fmla="*/ 72 h 331"/>
                  <a:gd name="T12" fmla="*/ 95 w 280"/>
                  <a:gd name="T13" fmla="*/ 39 h 331"/>
                  <a:gd name="T14" fmla="*/ 82 w 280"/>
                  <a:gd name="T15" fmla="*/ 46 h 331"/>
                  <a:gd name="T16" fmla="*/ 62 w 280"/>
                  <a:gd name="T17" fmla="*/ 88 h 331"/>
                  <a:gd name="T18" fmla="*/ 42 w 280"/>
                  <a:gd name="T19" fmla="*/ 79 h 331"/>
                  <a:gd name="T20" fmla="*/ 26 w 280"/>
                  <a:gd name="T21" fmla="*/ 69 h 331"/>
                  <a:gd name="T22" fmla="*/ 14 w 280"/>
                  <a:gd name="T23" fmla="*/ 76 h 331"/>
                  <a:gd name="T24" fmla="*/ 9 w 280"/>
                  <a:gd name="T25" fmla="*/ 113 h 331"/>
                  <a:gd name="T26" fmla="*/ 8 w 280"/>
                  <a:gd name="T27" fmla="*/ 132 h 331"/>
                  <a:gd name="T28" fmla="*/ 29 w 280"/>
                  <a:gd name="T29" fmla="*/ 173 h 331"/>
                  <a:gd name="T30" fmla="*/ 29 w 280"/>
                  <a:gd name="T31" fmla="*/ 185 h 331"/>
                  <a:gd name="T32" fmla="*/ 9 w 280"/>
                  <a:gd name="T33" fmla="*/ 208 h 331"/>
                  <a:gd name="T34" fmla="*/ 0 w 280"/>
                  <a:gd name="T35" fmla="*/ 235 h 331"/>
                  <a:gd name="T36" fmla="*/ 18 w 280"/>
                  <a:gd name="T37" fmla="*/ 247 h 331"/>
                  <a:gd name="T38" fmla="*/ 29 w 280"/>
                  <a:gd name="T39" fmla="*/ 233 h 331"/>
                  <a:gd name="T40" fmla="*/ 43 w 280"/>
                  <a:gd name="T41" fmla="*/ 255 h 331"/>
                  <a:gd name="T42" fmla="*/ 51 w 280"/>
                  <a:gd name="T43" fmla="*/ 255 h 331"/>
                  <a:gd name="T44" fmla="*/ 59 w 280"/>
                  <a:gd name="T45" fmla="*/ 301 h 331"/>
                  <a:gd name="T46" fmla="*/ 56 w 280"/>
                  <a:gd name="T47" fmla="*/ 331 h 331"/>
                  <a:gd name="T48" fmla="*/ 62 w 280"/>
                  <a:gd name="T49" fmla="*/ 331 h 331"/>
                  <a:gd name="T50" fmla="*/ 144 w 280"/>
                  <a:gd name="T51" fmla="*/ 322 h 331"/>
                  <a:gd name="T52" fmla="*/ 136 w 280"/>
                  <a:gd name="T53" fmla="*/ 317 h 331"/>
                  <a:gd name="T54" fmla="*/ 145 w 280"/>
                  <a:gd name="T55" fmla="*/ 292 h 331"/>
                  <a:gd name="T56" fmla="*/ 145 w 280"/>
                  <a:gd name="T57" fmla="*/ 276 h 331"/>
                  <a:gd name="T58" fmla="*/ 148 w 280"/>
                  <a:gd name="T59" fmla="*/ 255 h 331"/>
                  <a:gd name="T60" fmla="*/ 156 w 280"/>
                  <a:gd name="T61" fmla="*/ 237 h 331"/>
                  <a:gd name="T62" fmla="*/ 169 w 280"/>
                  <a:gd name="T63" fmla="*/ 230 h 331"/>
                  <a:gd name="T64" fmla="*/ 161 w 280"/>
                  <a:gd name="T65" fmla="*/ 214 h 331"/>
                  <a:gd name="T66" fmla="*/ 190 w 280"/>
                  <a:gd name="T67" fmla="*/ 210 h 331"/>
                  <a:gd name="T68" fmla="*/ 193 w 280"/>
                  <a:gd name="T69" fmla="*/ 192 h 331"/>
                  <a:gd name="T70" fmla="*/ 207 w 280"/>
                  <a:gd name="T71" fmla="*/ 187 h 331"/>
                  <a:gd name="T72" fmla="*/ 215 w 280"/>
                  <a:gd name="T73" fmla="*/ 155 h 331"/>
                  <a:gd name="T74" fmla="*/ 209 w 280"/>
                  <a:gd name="T75" fmla="*/ 136 h 331"/>
                  <a:gd name="T76" fmla="*/ 221 w 280"/>
                  <a:gd name="T77" fmla="*/ 125 h 331"/>
                  <a:gd name="T78" fmla="*/ 235 w 280"/>
                  <a:gd name="T79" fmla="*/ 124 h 331"/>
                  <a:gd name="T80" fmla="*/ 242 w 280"/>
                  <a:gd name="T81" fmla="*/ 143 h 331"/>
                  <a:gd name="T82" fmla="*/ 267 w 280"/>
                  <a:gd name="T83" fmla="*/ 132 h 331"/>
                  <a:gd name="T84" fmla="*/ 280 w 280"/>
                  <a:gd name="T85" fmla="*/ 87 h 331"/>
                  <a:gd name="T86" fmla="*/ 274 w 280"/>
                  <a:gd name="T87" fmla="*/ 74 h 331"/>
                  <a:gd name="T88" fmla="*/ 223 w 280"/>
                  <a:gd name="T89" fmla="*/ 71 h 331"/>
                  <a:gd name="T90" fmla="*/ 215 w 280"/>
                  <a:gd name="T91" fmla="*/ 48 h 331"/>
                  <a:gd name="T92" fmla="*/ 214 w 280"/>
                  <a:gd name="T93" fmla="*/ 7 h 331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280"/>
                  <a:gd name="T142" fmla="*/ 0 h 331"/>
                  <a:gd name="T143" fmla="*/ 280 w 280"/>
                  <a:gd name="T144" fmla="*/ 331 h 331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280" h="331">
                    <a:moveTo>
                      <a:pt x="214" y="7"/>
                    </a:moveTo>
                    <a:lnTo>
                      <a:pt x="177" y="0"/>
                    </a:lnTo>
                    <a:lnTo>
                      <a:pt x="131" y="2"/>
                    </a:lnTo>
                    <a:lnTo>
                      <a:pt x="127" y="28"/>
                    </a:lnTo>
                    <a:lnTo>
                      <a:pt x="124" y="69"/>
                    </a:lnTo>
                    <a:lnTo>
                      <a:pt x="108" y="72"/>
                    </a:lnTo>
                    <a:lnTo>
                      <a:pt x="95" y="39"/>
                    </a:lnTo>
                    <a:lnTo>
                      <a:pt x="82" y="46"/>
                    </a:lnTo>
                    <a:lnTo>
                      <a:pt x="62" y="88"/>
                    </a:lnTo>
                    <a:lnTo>
                      <a:pt x="42" y="79"/>
                    </a:lnTo>
                    <a:lnTo>
                      <a:pt x="26" y="69"/>
                    </a:lnTo>
                    <a:lnTo>
                      <a:pt x="14" y="76"/>
                    </a:lnTo>
                    <a:lnTo>
                      <a:pt x="9" y="113"/>
                    </a:lnTo>
                    <a:lnTo>
                      <a:pt x="8" y="132"/>
                    </a:lnTo>
                    <a:lnTo>
                      <a:pt x="29" y="173"/>
                    </a:lnTo>
                    <a:lnTo>
                      <a:pt x="29" y="185"/>
                    </a:lnTo>
                    <a:lnTo>
                      <a:pt x="9" y="208"/>
                    </a:lnTo>
                    <a:lnTo>
                      <a:pt x="0" y="235"/>
                    </a:lnTo>
                    <a:lnTo>
                      <a:pt x="18" y="247"/>
                    </a:lnTo>
                    <a:lnTo>
                      <a:pt x="29" y="233"/>
                    </a:lnTo>
                    <a:lnTo>
                      <a:pt x="43" y="255"/>
                    </a:lnTo>
                    <a:lnTo>
                      <a:pt x="51" y="255"/>
                    </a:lnTo>
                    <a:lnTo>
                      <a:pt x="59" y="301"/>
                    </a:lnTo>
                    <a:lnTo>
                      <a:pt x="56" y="331"/>
                    </a:lnTo>
                    <a:lnTo>
                      <a:pt x="62" y="331"/>
                    </a:lnTo>
                    <a:lnTo>
                      <a:pt x="144" y="322"/>
                    </a:lnTo>
                    <a:lnTo>
                      <a:pt x="136" y="317"/>
                    </a:lnTo>
                    <a:lnTo>
                      <a:pt x="145" y="292"/>
                    </a:lnTo>
                    <a:lnTo>
                      <a:pt x="145" y="276"/>
                    </a:lnTo>
                    <a:lnTo>
                      <a:pt x="148" y="255"/>
                    </a:lnTo>
                    <a:lnTo>
                      <a:pt x="156" y="237"/>
                    </a:lnTo>
                    <a:lnTo>
                      <a:pt x="169" y="230"/>
                    </a:lnTo>
                    <a:lnTo>
                      <a:pt x="161" y="214"/>
                    </a:lnTo>
                    <a:lnTo>
                      <a:pt x="190" y="210"/>
                    </a:lnTo>
                    <a:lnTo>
                      <a:pt x="193" y="192"/>
                    </a:lnTo>
                    <a:lnTo>
                      <a:pt x="207" y="187"/>
                    </a:lnTo>
                    <a:lnTo>
                      <a:pt x="215" y="155"/>
                    </a:lnTo>
                    <a:lnTo>
                      <a:pt x="209" y="136"/>
                    </a:lnTo>
                    <a:lnTo>
                      <a:pt x="221" y="125"/>
                    </a:lnTo>
                    <a:lnTo>
                      <a:pt x="235" y="124"/>
                    </a:lnTo>
                    <a:lnTo>
                      <a:pt x="242" y="143"/>
                    </a:lnTo>
                    <a:lnTo>
                      <a:pt x="267" y="132"/>
                    </a:lnTo>
                    <a:lnTo>
                      <a:pt x="280" y="87"/>
                    </a:lnTo>
                    <a:lnTo>
                      <a:pt x="274" y="74"/>
                    </a:lnTo>
                    <a:lnTo>
                      <a:pt x="223" y="71"/>
                    </a:lnTo>
                    <a:lnTo>
                      <a:pt x="215" y="48"/>
                    </a:lnTo>
                    <a:lnTo>
                      <a:pt x="214" y="7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69" name="Freeform 257"/>
              <p:cNvSpPr>
                <a:spLocks/>
              </p:cNvSpPr>
              <p:nvPr>
                <p:custDataLst>
                  <p:tags r:id="rId194"/>
                </p:custDataLst>
              </p:nvPr>
            </p:nvSpPr>
            <p:spPr bwMode="auto">
              <a:xfrm>
                <a:off x="2815" y="1668"/>
                <a:ext cx="42" cy="51"/>
              </a:xfrm>
              <a:custGeom>
                <a:avLst/>
                <a:gdLst>
                  <a:gd name="T0" fmla="*/ 177 w 280"/>
                  <a:gd name="T1" fmla="*/ 0 h 331"/>
                  <a:gd name="T2" fmla="*/ 131 w 280"/>
                  <a:gd name="T3" fmla="*/ 2 h 331"/>
                  <a:gd name="T4" fmla="*/ 127 w 280"/>
                  <a:gd name="T5" fmla="*/ 28 h 331"/>
                  <a:gd name="T6" fmla="*/ 124 w 280"/>
                  <a:gd name="T7" fmla="*/ 69 h 331"/>
                  <a:gd name="T8" fmla="*/ 108 w 280"/>
                  <a:gd name="T9" fmla="*/ 72 h 331"/>
                  <a:gd name="T10" fmla="*/ 95 w 280"/>
                  <a:gd name="T11" fmla="*/ 39 h 331"/>
                  <a:gd name="T12" fmla="*/ 82 w 280"/>
                  <a:gd name="T13" fmla="*/ 46 h 331"/>
                  <a:gd name="T14" fmla="*/ 62 w 280"/>
                  <a:gd name="T15" fmla="*/ 88 h 331"/>
                  <a:gd name="T16" fmla="*/ 42 w 280"/>
                  <a:gd name="T17" fmla="*/ 79 h 331"/>
                  <a:gd name="T18" fmla="*/ 26 w 280"/>
                  <a:gd name="T19" fmla="*/ 69 h 331"/>
                  <a:gd name="T20" fmla="*/ 14 w 280"/>
                  <a:gd name="T21" fmla="*/ 76 h 331"/>
                  <a:gd name="T22" fmla="*/ 9 w 280"/>
                  <a:gd name="T23" fmla="*/ 113 h 331"/>
                  <a:gd name="T24" fmla="*/ 8 w 280"/>
                  <a:gd name="T25" fmla="*/ 132 h 331"/>
                  <a:gd name="T26" fmla="*/ 29 w 280"/>
                  <a:gd name="T27" fmla="*/ 173 h 331"/>
                  <a:gd name="T28" fmla="*/ 29 w 280"/>
                  <a:gd name="T29" fmla="*/ 185 h 331"/>
                  <a:gd name="T30" fmla="*/ 9 w 280"/>
                  <a:gd name="T31" fmla="*/ 208 h 331"/>
                  <a:gd name="T32" fmla="*/ 0 w 280"/>
                  <a:gd name="T33" fmla="*/ 235 h 331"/>
                  <a:gd name="T34" fmla="*/ 18 w 280"/>
                  <a:gd name="T35" fmla="*/ 247 h 331"/>
                  <a:gd name="T36" fmla="*/ 29 w 280"/>
                  <a:gd name="T37" fmla="*/ 233 h 331"/>
                  <a:gd name="T38" fmla="*/ 43 w 280"/>
                  <a:gd name="T39" fmla="*/ 255 h 331"/>
                  <a:gd name="T40" fmla="*/ 51 w 280"/>
                  <a:gd name="T41" fmla="*/ 255 h 331"/>
                  <a:gd name="T42" fmla="*/ 59 w 280"/>
                  <a:gd name="T43" fmla="*/ 301 h 331"/>
                  <a:gd name="T44" fmla="*/ 56 w 280"/>
                  <a:gd name="T45" fmla="*/ 331 h 331"/>
                  <a:gd name="T46" fmla="*/ 62 w 280"/>
                  <a:gd name="T47" fmla="*/ 331 h 331"/>
                  <a:gd name="T48" fmla="*/ 144 w 280"/>
                  <a:gd name="T49" fmla="*/ 322 h 331"/>
                  <a:gd name="T50" fmla="*/ 136 w 280"/>
                  <a:gd name="T51" fmla="*/ 317 h 331"/>
                  <a:gd name="T52" fmla="*/ 145 w 280"/>
                  <a:gd name="T53" fmla="*/ 292 h 331"/>
                  <a:gd name="T54" fmla="*/ 145 w 280"/>
                  <a:gd name="T55" fmla="*/ 276 h 331"/>
                  <a:gd name="T56" fmla="*/ 148 w 280"/>
                  <a:gd name="T57" fmla="*/ 255 h 331"/>
                  <a:gd name="T58" fmla="*/ 156 w 280"/>
                  <a:gd name="T59" fmla="*/ 237 h 331"/>
                  <a:gd name="T60" fmla="*/ 169 w 280"/>
                  <a:gd name="T61" fmla="*/ 230 h 331"/>
                  <a:gd name="T62" fmla="*/ 161 w 280"/>
                  <a:gd name="T63" fmla="*/ 214 h 331"/>
                  <a:gd name="T64" fmla="*/ 190 w 280"/>
                  <a:gd name="T65" fmla="*/ 210 h 331"/>
                  <a:gd name="T66" fmla="*/ 193 w 280"/>
                  <a:gd name="T67" fmla="*/ 192 h 331"/>
                  <a:gd name="T68" fmla="*/ 207 w 280"/>
                  <a:gd name="T69" fmla="*/ 187 h 331"/>
                  <a:gd name="T70" fmla="*/ 215 w 280"/>
                  <a:gd name="T71" fmla="*/ 155 h 331"/>
                  <a:gd name="T72" fmla="*/ 209 w 280"/>
                  <a:gd name="T73" fmla="*/ 136 h 331"/>
                  <a:gd name="T74" fmla="*/ 221 w 280"/>
                  <a:gd name="T75" fmla="*/ 125 h 331"/>
                  <a:gd name="T76" fmla="*/ 235 w 280"/>
                  <a:gd name="T77" fmla="*/ 124 h 331"/>
                  <a:gd name="T78" fmla="*/ 242 w 280"/>
                  <a:gd name="T79" fmla="*/ 143 h 331"/>
                  <a:gd name="T80" fmla="*/ 267 w 280"/>
                  <a:gd name="T81" fmla="*/ 132 h 331"/>
                  <a:gd name="T82" fmla="*/ 280 w 280"/>
                  <a:gd name="T83" fmla="*/ 87 h 331"/>
                  <a:gd name="T84" fmla="*/ 274 w 280"/>
                  <a:gd name="T85" fmla="*/ 74 h 331"/>
                  <a:gd name="T86" fmla="*/ 223 w 280"/>
                  <a:gd name="T87" fmla="*/ 71 h 331"/>
                  <a:gd name="T88" fmla="*/ 215 w 280"/>
                  <a:gd name="T89" fmla="*/ 48 h 331"/>
                  <a:gd name="T90" fmla="*/ 214 w 280"/>
                  <a:gd name="T91" fmla="*/ 7 h 331"/>
                  <a:gd name="T92" fmla="*/ 177 w 280"/>
                  <a:gd name="T93" fmla="*/ 0 h 331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280"/>
                  <a:gd name="T142" fmla="*/ 0 h 331"/>
                  <a:gd name="T143" fmla="*/ 280 w 280"/>
                  <a:gd name="T144" fmla="*/ 331 h 331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280" h="331">
                    <a:moveTo>
                      <a:pt x="177" y="0"/>
                    </a:moveTo>
                    <a:lnTo>
                      <a:pt x="131" y="2"/>
                    </a:lnTo>
                    <a:lnTo>
                      <a:pt x="127" y="28"/>
                    </a:lnTo>
                    <a:lnTo>
                      <a:pt x="124" y="69"/>
                    </a:lnTo>
                    <a:lnTo>
                      <a:pt x="108" y="72"/>
                    </a:lnTo>
                    <a:lnTo>
                      <a:pt x="95" y="39"/>
                    </a:lnTo>
                    <a:lnTo>
                      <a:pt x="82" y="46"/>
                    </a:lnTo>
                    <a:lnTo>
                      <a:pt x="62" y="88"/>
                    </a:lnTo>
                    <a:lnTo>
                      <a:pt x="42" y="79"/>
                    </a:lnTo>
                    <a:lnTo>
                      <a:pt x="26" y="69"/>
                    </a:lnTo>
                    <a:lnTo>
                      <a:pt x="14" y="76"/>
                    </a:lnTo>
                    <a:lnTo>
                      <a:pt x="9" y="113"/>
                    </a:lnTo>
                    <a:lnTo>
                      <a:pt x="8" y="132"/>
                    </a:lnTo>
                    <a:lnTo>
                      <a:pt x="29" y="173"/>
                    </a:lnTo>
                    <a:lnTo>
                      <a:pt x="29" y="185"/>
                    </a:lnTo>
                    <a:lnTo>
                      <a:pt x="9" y="208"/>
                    </a:lnTo>
                    <a:lnTo>
                      <a:pt x="0" y="235"/>
                    </a:lnTo>
                    <a:lnTo>
                      <a:pt x="18" y="247"/>
                    </a:lnTo>
                    <a:lnTo>
                      <a:pt x="29" y="233"/>
                    </a:lnTo>
                    <a:lnTo>
                      <a:pt x="43" y="255"/>
                    </a:lnTo>
                    <a:lnTo>
                      <a:pt x="51" y="255"/>
                    </a:lnTo>
                    <a:lnTo>
                      <a:pt x="59" y="301"/>
                    </a:lnTo>
                    <a:lnTo>
                      <a:pt x="56" y="331"/>
                    </a:lnTo>
                    <a:lnTo>
                      <a:pt x="62" y="331"/>
                    </a:lnTo>
                    <a:lnTo>
                      <a:pt x="144" y="322"/>
                    </a:lnTo>
                    <a:lnTo>
                      <a:pt x="136" y="317"/>
                    </a:lnTo>
                    <a:lnTo>
                      <a:pt x="145" y="292"/>
                    </a:lnTo>
                    <a:lnTo>
                      <a:pt x="145" y="276"/>
                    </a:lnTo>
                    <a:lnTo>
                      <a:pt x="148" y="255"/>
                    </a:lnTo>
                    <a:lnTo>
                      <a:pt x="156" y="237"/>
                    </a:lnTo>
                    <a:lnTo>
                      <a:pt x="169" y="230"/>
                    </a:lnTo>
                    <a:lnTo>
                      <a:pt x="161" y="214"/>
                    </a:lnTo>
                    <a:lnTo>
                      <a:pt x="190" y="210"/>
                    </a:lnTo>
                    <a:lnTo>
                      <a:pt x="193" y="192"/>
                    </a:lnTo>
                    <a:lnTo>
                      <a:pt x="207" y="187"/>
                    </a:lnTo>
                    <a:lnTo>
                      <a:pt x="215" y="155"/>
                    </a:lnTo>
                    <a:lnTo>
                      <a:pt x="209" y="136"/>
                    </a:lnTo>
                    <a:lnTo>
                      <a:pt x="221" y="125"/>
                    </a:lnTo>
                    <a:lnTo>
                      <a:pt x="235" y="124"/>
                    </a:lnTo>
                    <a:lnTo>
                      <a:pt x="242" y="143"/>
                    </a:lnTo>
                    <a:lnTo>
                      <a:pt x="267" y="132"/>
                    </a:lnTo>
                    <a:lnTo>
                      <a:pt x="280" y="87"/>
                    </a:lnTo>
                    <a:lnTo>
                      <a:pt x="274" y="74"/>
                    </a:lnTo>
                    <a:lnTo>
                      <a:pt x="223" y="71"/>
                    </a:lnTo>
                    <a:lnTo>
                      <a:pt x="215" y="48"/>
                    </a:lnTo>
                    <a:lnTo>
                      <a:pt x="214" y="7"/>
                    </a:lnTo>
                    <a:lnTo>
                      <a:pt x="177" y="0"/>
                    </a:lnTo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70" name="Freeform 258"/>
              <p:cNvSpPr>
                <a:spLocks/>
              </p:cNvSpPr>
              <p:nvPr>
                <p:custDataLst>
                  <p:tags r:id="rId195"/>
                </p:custDataLst>
              </p:nvPr>
            </p:nvSpPr>
            <p:spPr bwMode="auto">
              <a:xfrm>
                <a:off x="2784" y="1716"/>
                <a:ext cx="133" cy="176"/>
              </a:xfrm>
              <a:custGeom>
                <a:avLst/>
                <a:gdLst>
                  <a:gd name="T0" fmla="*/ 658 w 891"/>
                  <a:gd name="T1" fmla="*/ 101 h 1182"/>
                  <a:gd name="T2" fmla="*/ 515 w 891"/>
                  <a:gd name="T3" fmla="*/ 175 h 1182"/>
                  <a:gd name="T4" fmla="*/ 498 w 891"/>
                  <a:gd name="T5" fmla="*/ 136 h 1182"/>
                  <a:gd name="T6" fmla="*/ 441 w 891"/>
                  <a:gd name="T7" fmla="*/ 104 h 1182"/>
                  <a:gd name="T8" fmla="*/ 404 w 891"/>
                  <a:gd name="T9" fmla="*/ 82 h 1182"/>
                  <a:gd name="T10" fmla="*/ 386 w 891"/>
                  <a:gd name="T11" fmla="*/ 36 h 1182"/>
                  <a:gd name="T12" fmla="*/ 262 w 891"/>
                  <a:gd name="T13" fmla="*/ 9 h 1182"/>
                  <a:gd name="T14" fmla="*/ 256 w 891"/>
                  <a:gd name="T15" fmla="*/ 108 h 1182"/>
                  <a:gd name="T16" fmla="*/ 278 w 891"/>
                  <a:gd name="T17" fmla="*/ 131 h 1182"/>
                  <a:gd name="T18" fmla="*/ 286 w 891"/>
                  <a:gd name="T19" fmla="*/ 173 h 1182"/>
                  <a:gd name="T20" fmla="*/ 244 w 891"/>
                  <a:gd name="T21" fmla="*/ 214 h 1182"/>
                  <a:gd name="T22" fmla="*/ 228 w 891"/>
                  <a:gd name="T23" fmla="*/ 242 h 1182"/>
                  <a:gd name="T24" fmla="*/ 212 w 891"/>
                  <a:gd name="T25" fmla="*/ 240 h 1182"/>
                  <a:gd name="T26" fmla="*/ 120 w 891"/>
                  <a:gd name="T27" fmla="*/ 217 h 1182"/>
                  <a:gd name="T28" fmla="*/ 120 w 891"/>
                  <a:gd name="T29" fmla="*/ 285 h 1182"/>
                  <a:gd name="T30" fmla="*/ 83 w 891"/>
                  <a:gd name="T31" fmla="*/ 368 h 1182"/>
                  <a:gd name="T32" fmla="*/ 104 w 891"/>
                  <a:gd name="T33" fmla="*/ 399 h 1182"/>
                  <a:gd name="T34" fmla="*/ 88 w 891"/>
                  <a:gd name="T35" fmla="*/ 475 h 1182"/>
                  <a:gd name="T36" fmla="*/ 19 w 891"/>
                  <a:gd name="T37" fmla="*/ 493 h 1182"/>
                  <a:gd name="T38" fmla="*/ 28 w 891"/>
                  <a:gd name="T39" fmla="*/ 563 h 1182"/>
                  <a:gd name="T40" fmla="*/ 0 w 891"/>
                  <a:gd name="T41" fmla="*/ 627 h 1182"/>
                  <a:gd name="T42" fmla="*/ 22 w 891"/>
                  <a:gd name="T43" fmla="*/ 676 h 1182"/>
                  <a:gd name="T44" fmla="*/ 19 w 891"/>
                  <a:gd name="T45" fmla="*/ 780 h 1182"/>
                  <a:gd name="T46" fmla="*/ 46 w 891"/>
                  <a:gd name="T47" fmla="*/ 838 h 1182"/>
                  <a:gd name="T48" fmla="*/ 102 w 891"/>
                  <a:gd name="T49" fmla="*/ 909 h 1182"/>
                  <a:gd name="T50" fmla="*/ 150 w 891"/>
                  <a:gd name="T51" fmla="*/ 914 h 1182"/>
                  <a:gd name="T52" fmla="*/ 176 w 891"/>
                  <a:gd name="T53" fmla="*/ 986 h 1182"/>
                  <a:gd name="T54" fmla="*/ 157 w 891"/>
                  <a:gd name="T55" fmla="*/ 1075 h 1182"/>
                  <a:gd name="T56" fmla="*/ 178 w 891"/>
                  <a:gd name="T57" fmla="*/ 1136 h 1182"/>
                  <a:gd name="T58" fmla="*/ 243 w 891"/>
                  <a:gd name="T59" fmla="*/ 1138 h 1182"/>
                  <a:gd name="T60" fmla="*/ 276 w 891"/>
                  <a:gd name="T61" fmla="*/ 1121 h 1182"/>
                  <a:gd name="T62" fmla="*/ 366 w 891"/>
                  <a:gd name="T63" fmla="*/ 1145 h 1182"/>
                  <a:gd name="T64" fmla="*/ 392 w 891"/>
                  <a:gd name="T65" fmla="*/ 1152 h 1182"/>
                  <a:gd name="T66" fmla="*/ 409 w 891"/>
                  <a:gd name="T67" fmla="*/ 1182 h 1182"/>
                  <a:gd name="T68" fmla="*/ 448 w 891"/>
                  <a:gd name="T69" fmla="*/ 1145 h 1182"/>
                  <a:gd name="T70" fmla="*/ 488 w 891"/>
                  <a:gd name="T71" fmla="*/ 1166 h 1182"/>
                  <a:gd name="T72" fmla="*/ 546 w 891"/>
                  <a:gd name="T73" fmla="*/ 1149 h 1182"/>
                  <a:gd name="T74" fmla="*/ 630 w 891"/>
                  <a:gd name="T75" fmla="*/ 1121 h 1182"/>
                  <a:gd name="T76" fmla="*/ 667 w 891"/>
                  <a:gd name="T77" fmla="*/ 1144 h 1182"/>
                  <a:gd name="T78" fmla="*/ 693 w 891"/>
                  <a:gd name="T79" fmla="*/ 1119 h 1182"/>
                  <a:gd name="T80" fmla="*/ 679 w 891"/>
                  <a:gd name="T81" fmla="*/ 1045 h 1182"/>
                  <a:gd name="T82" fmla="*/ 736 w 891"/>
                  <a:gd name="T83" fmla="*/ 988 h 1182"/>
                  <a:gd name="T84" fmla="*/ 756 w 891"/>
                  <a:gd name="T85" fmla="*/ 935 h 1182"/>
                  <a:gd name="T86" fmla="*/ 713 w 891"/>
                  <a:gd name="T87" fmla="*/ 903 h 1182"/>
                  <a:gd name="T88" fmla="*/ 648 w 891"/>
                  <a:gd name="T89" fmla="*/ 843 h 1182"/>
                  <a:gd name="T90" fmla="*/ 649 w 891"/>
                  <a:gd name="T91" fmla="*/ 778 h 1182"/>
                  <a:gd name="T92" fmla="*/ 652 w 891"/>
                  <a:gd name="T93" fmla="*/ 720 h 1182"/>
                  <a:gd name="T94" fmla="*/ 711 w 891"/>
                  <a:gd name="T95" fmla="*/ 692 h 1182"/>
                  <a:gd name="T96" fmla="*/ 744 w 891"/>
                  <a:gd name="T97" fmla="*/ 662 h 1182"/>
                  <a:gd name="T98" fmla="*/ 829 w 891"/>
                  <a:gd name="T99" fmla="*/ 632 h 1182"/>
                  <a:gd name="T100" fmla="*/ 850 w 891"/>
                  <a:gd name="T101" fmla="*/ 640 h 1182"/>
                  <a:gd name="T102" fmla="*/ 879 w 891"/>
                  <a:gd name="T103" fmla="*/ 555 h 1182"/>
                  <a:gd name="T104" fmla="*/ 849 w 891"/>
                  <a:gd name="T105" fmla="*/ 491 h 1182"/>
                  <a:gd name="T106" fmla="*/ 858 w 891"/>
                  <a:gd name="T107" fmla="*/ 433 h 1182"/>
                  <a:gd name="T108" fmla="*/ 820 w 891"/>
                  <a:gd name="T109" fmla="*/ 352 h 1182"/>
                  <a:gd name="T110" fmla="*/ 833 w 891"/>
                  <a:gd name="T111" fmla="*/ 274 h 1182"/>
                  <a:gd name="T112" fmla="*/ 792 w 891"/>
                  <a:gd name="T113" fmla="*/ 203 h 1182"/>
                  <a:gd name="T114" fmla="*/ 758 w 891"/>
                  <a:gd name="T115" fmla="*/ 138 h 1182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891"/>
                  <a:gd name="T175" fmla="*/ 0 h 1182"/>
                  <a:gd name="T176" fmla="*/ 891 w 891"/>
                  <a:gd name="T177" fmla="*/ 1182 h 1182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891" h="1182">
                    <a:moveTo>
                      <a:pt x="699" y="120"/>
                    </a:moveTo>
                    <a:lnTo>
                      <a:pt x="688" y="96"/>
                    </a:lnTo>
                    <a:lnTo>
                      <a:pt x="670" y="108"/>
                    </a:lnTo>
                    <a:lnTo>
                      <a:pt x="658" y="101"/>
                    </a:lnTo>
                    <a:lnTo>
                      <a:pt x="599" y="136"/>
                    </a:lnTo>
                    <a:lnTo>
                      <a:pt x="551" y="147"/>
                    </a:lnTo>
                    <a:lnTo>
                      <a:pt x="537" y="175"/>
                    </a:lnTo>
                    <a:lnTo>
                      <a:pt x="515" y="175"/>
                    </a:lnTo>
                    <a:lnTo>
                      <a:pt x="511" y="161"/>
                    </a:lnTo>
                    <a:lnTo>
                      <a:pt x="483" y="172"/>
                    </a:lnTo>
                    <a:lnTo>
                      <a:pt x="469" y="157"/>
                    </a:lnTo>
                    <a:lnTo>
                      <a:pt x="498" y="136"/>
                    </a:lnTo>
                    <a:lnTo>
                      <a:pt x="504" y="117"/>
                    </a:lnTo>
                    <a:lnTo>
                      <a:pt x="501" y="101"/>
                    </a:lnTo>
                    <a:lnTo>
                      <a:pt x="462" y="110"/>
                    </a:lnTo>
                    <a:lnTo>
                      <a:pt x="441" y="104"/>
                    </a:lnTo>
                    <a:lnTo>
                      <a:pt x="432" y="94"/>
                    </a:lnTo>
                    <a:lnTo>
                      <a:pt x="420" y="92"/>
                    </a:lnTo>
                    <a:lnTo>
                      <a:pt x="412" y="97"/>
                    </a:lnTo>
                    <a:lnTo>
                      <a:pt x="404" y="82"/>
                    </a:lnTo>
                    <a:lnTo>
                      <a:pt x="386" y="85"/>
                    </a:lnTo>
                    <a:lnTo>
                      <a:pt x="396" y="73"/>
                    </a:lnTo>
                    <a:lnTo>
                      <a:pt x="397" y="57"/>
                    </a:lnTo>
                    <a:lnTo>
                      <a:pt x="386" y="36"/>
                    </a:lnTo>
                    <a:lnTo>
                      <a:pt x="360" y="9"/>
                    </a:lnTo>
                    <a:lnTo>
                      <a:pt x="350" y="0"/>
                    </a:lnTo>
                    <a:lnTo>
                      <a:pt x="268" y="9"/>
                    </a:lnTo>
                    <a:lnTo>
                      <a:pt x="262" y="9"/>
                    </a:lnTo>
                    <a:lnTo>
                      <a:pt x="261" y="29"/>
                    </a:lnTo>
                    <a:lnTo>
                      <a:pt x="294" y="85"/>
                    </a:lnTo>
                    <a:lnTo>
                      <a:pt x="286" y="99"/>
                    </a:lnTo>
                    <a:lnTo>
                      <a:pt x="256" y="108"/>
                    </a:lnTo>
                    <a:lnTo>
                      <a:pt x="260" y="120"/>
                    </a:lnTo>
                    <a:lnTo>
                      <a:pt x="289" y="115"/>
                    </a:lnTo>
                    <a:lnTo>
                      <a:pt x="286" y="126"/>
                    </a:lnTo>
                    <a:lnTo>
                      <a:pt x="278" y="131"/>
                    </a:lnTo>
                    <a:lnTo>
                      <a:pt x="285" y="142"/>
                    </a:lnTo>
                    <a:lnTo>
                      <a:pt x="294" y="149"/>
                    </a:lnTo>
                    <a:lnTo>
                      <a:pt x="284" y="157"/>
                    </a:lnTo>
                    <a:lnTo>
                      <a:pt x="286" y="173"/>
                    </a:lnTo>
                    <a:lnTo>
                      <a:pt x="313" y="186"/>
                    </a:lnTo>
                    <a:lnTo>
                      <a:pt x="286" y="191"/>
                    </a:lnTo>
                    <a:lnTo>
                      <a:pt x="255" y="184"/>
                    </a:lnTo>
                    <a:lnTo>
                      <a:pt x="244" y="214"/>
                    </a:lnTo>
                    <a:lnTo>
                      <a:pt x="252" y="240"/>
                    </a:lnTo>
                    <a:lnTo>
                      <a:pt x="232" y="228"/>
                    </a:lnTo>
                    <a:lnTo>
                      <a:pt x="220" y="226"/>
                    </a:lnTo>
                    <a:lnTo>
                      <a:pt x="228" y="242"/>
                    </a:lnTo>
                    <a:lnTo>
                      <a:pt x="227" y="255"/>
                    </a:lnTo>
                    <a:lnTo>
                      <a:pt x="219" y="260"/>
                    </a:lnTo>
                    <a:lnTo>
                      <a:pt x="206" y="251"/>
                    </a:lnTo>
                    <a:lnTo>
                      <a:pt x="212" y="240"/>
                    </a:lnTo>
                    <a:lnTo>
                      <a:pt x="203" y="221"/>
                    </a:lnTo>
                    <a:lnTo>
                      <a:pt x="200" y="210"/>
                    </a:lnTo>
                    <a:lnTo>
                      <a:pt x="187" y="210"/>
                    </a:lnTo>
                    <a:lnTo>
                      <a:pt x="120" y="217"/>
                    </a:lnTo>
                    <a:lnTo>
                      <a:pt x="108" y="230"/>
                    </a:lnTo>
                    <a:lnTo>
                      <a:pt x="102" y="262"/>
                    </a:lnTo>
                    <a:lnTo>
                      <a:pt x="123" y="274"/>
                    </a:lnTo>
                    <a:lnTo>
                      <a:pt x="120" y="285"/>
                    </a:lnTo>
                    <a:lnTo>
                      <a:pt x="127" y="316"/>
                    </a:lnTo>
                    <a:lnTo>
                      <a:pt x="112" y="341"/>
                    </a:lnTo>
                    <a:lnTo>
                      <a:pt x="108" y="371"/>
                    </a:lnTo>
                    <a:lnTo>
                      <a:pt x="83" y="368"/>
                    </a:lnTo>
                    <a:lnTo>
                      <a:pt x="77" y="380"/>
                    </a:lnTo>
                    <a:lnTo>
                      <a:pt x="77" y="394"/>
                    </a:lnTo>
                    <a:lnTo>
                      <a:pt x="96" y="403"/>
                    </a:lnTo>
                    <a:lnTo>
                      <a:pt x="104" y="399"/>
                    </a:lnTo>
                    <a:lnTo>
                      <a:pt x="112" y="412"/>
                    </a:lnTo>
                    <a:lnTo>
                      <a:pt x="112" y="435"/>
                    </a:lnTo>
                    <a:lnTo>
                      <a:pt x="93" y="449"/>
                    </a:lnTo>
                    <a:lnTo>
                      <a:pt x="88" y="475"/>
                    </a:lnTo>
                    <a:lnTo>
                      <a:pt x="72" y="486"/>
                    </a:lnTo>
                    <a:lnTo>
                      <a:pt x="44" y="496"/>
                    </a:lnTo>
                    <a:lnTo>
                      <a:pt x="27" y="488"/>
                    </a:lnTo>
                    <a:lnTo>
                      <a:pt x="19" y="493"/>
                    </a:lnTo>
                    <a:lnTo>
                      <a:pt x="4" y="498"/>
                    </a:lnTo>
                    <a:lnTo>
                      <a:pt x="2" y="512"/>
                    </a:lnTo>
                    <a:lnTo>
                      <a:pt x="18" y="525"/>
                    </a:lnTo>
                    <a:lnTo>
                      <a:pt x="28" y="563"/>
                    </a:lnTo>
                    <a:lnTo>
                      <a:pt x="15" y="594"/>
                    </a:lnTo>
                    <a:lnTo>
                      <a:pt x="23" y="601"/>
                    </a:lnTo>
                    <a:lnTo>
                      <a:pt x="3" y="620"/>
                    </a:lnTo>
                    <a:lnTo>
                      <a:pt x="0" y="627"/>
                    </a:lnTo>
                    <a:lnTo>
                      <a:pt x="7" y="629"/>
                    </a:lnTo>
                    <a:lnTo>
                      <a:pt x="14" y="646"/>
                    </a:lnTo>
                    <a:lnTo>
                      <a:pt x="6" y="663"/>
                    </a:lnTo>
                    <a:lnTo>
                      <a:pt x="22" y="676"/>
                    </a:lnTo>
                    <a:lnTo>
                      <a:pt x="34" y="702"/>
                    </a:lnTo>
                    <a:lnTo>
                      <a:pt x="35" y="734"/>
                    </a:lnTo>
                    <a:lnTo>
                      <a:pt x="18" y="760"/>
                    </a:lnTo>
                    <a:lnTo>
                      <a:pt x="19" y="780"/>
                    </a:lnTo>
                    <a:lnTo>
                      <a:pt x="39" y="801"/>
                    </a:lnTo>
                    <a:lnTo>
                      <a:pt x="57" y="808"/>
                    </a:lnTo>
                    <a:lnTo>
                      <a:pt x="56" y="828"/>
                    </a:lnTo>
                    <a:lnTo>
                      <a:pt x="46" y="838"/>
                    </a:lnTo>
                    <a:lnTo>
                      <a:pt x="49" y="863"/>
                    </a:lnTo>
                    <a:lnTo>
                      <a:pt x="83" y="903"/>
                    </a:lnTo>
                    <a:lnTo>
                      <a:pt x="100" y="898"/>
                    </a:lnTo>
                    <a:lnTo>
                      <a:pt x="102" y="909"/>
                    </a:lnTo>
                    <a:lnTo>
                      <a:pt x="132" y="905"/>
                    </a:lnTo>
                    <a:lnTo>
                      <a:pt x="134" y="902"/>
                    </a:lnTo>
                    <a:lnTo>
                      <a:pt x="145" y="902"/>
                    </a:lnTo>
                    <a:lnTo>
                      <a:pt x="150" y="914"/>
                    </a:lnTo>
                    <a:lnTo>
                      <a:pt x="170" y="921"/>
                    </a:lnTo>
                    <a:lnTo>
                      <a:pt x="191" y="919"/>
                    </a:lnTo>
                    <a:lnTo>
                      <a:pt x="218" y="932"/>
                    </a:lnTo>
                    <a:lnTo>
                      <a:pt x="176" y="986"/>
                    </a:lnTo>
                    <a:lnTo>
                      <a:pt x="170" y="1025"/>
                    </a:lnTo>
                    <a:lnTo>
                      <a:pt x="157" y="1050"/>
                    </a:lnTo>
                    <a:lnTo>
                      <a:pt x="154" y="1071"/>
                    </a:lnTo>
                    <a:lnTo>
                      <a:pt x="157" y="1075"/>
                    </a:lnTo>
                    <a:lnTo>
                      <a:pt x="149" y="1122"/>
                    </a:lnTo>
                    <a:lnTo>
                      <a:pt x="154" y="1138"/>
                    </a:lnTo>
                    <a:lnTo>
                      <a:pt x="166" y="1144"/>
                    </a:lnTo>
                    <a:lnTo>
                      <a:pt x="178" y="1136"/>
                    </a:lnTo>
                    <a:lnTo>
                      <a:pt x="190" y="1144"/>
                    </a:lnTo>
                    <a:lnTo>
                      <a:pt x="215" y="1133"/>
                    </a:lnTo>
                    <a:lnTo>
                      <a:pt x="227" y="1140"/>
                    </a:lnTo>
                    <a:lnTo>
                      <a:pt x="243" y="1138"/>
                    </a:lnTo>
                    <a:lnTo>
                      <a:pt x="236" y="1124"/>
                    </a:lnTo>
                    <a:lnTo>
                      <a:pt x="267" y="1112"/>
                    </a:lnTo>
                    <a:lnTo>
                      <a:pt x="267" y="1122"/>
                    </a:lnTo>
                    <a:lnTo>
                      <a:pt x="276" y="1121"/>
                    </a:lnTo>
                    <a:lnTo>
                      <a:pt x="284" y="1126"/>
                    </a:lnTo>
                    <a:lnTo>
                      <a:pt x="321" y="1128"/>
                    </a:lnTo>
                    <a:lnTo>
                      <a:pt x="350" y="1145"/>
                    </a:lnTo>
                    <a:lnTo>
                      <a:pt x="366" y="1145"/>
                    </a:lnTo>
                    <a:lnTo>
                      <a:pt x="372" y="1136"/>
                    </a:lnTo>
                    <a:lnTo>
                      <a:pt x="376" y="1144"/>
                    </a:lnTo>
                    <a:lnTo>
                      <a:pt x="388" y="1144"/>
                    </a:lnTo>
                    <a:lnTo>
                      <a:pt x="392" y="1152"/>
                    </a:lnTo>
                    <a:lnTo>
                      <a:pt x="402" y="1156"/>
                    </a:lnTo>
                    <a:lnTo>
                      <a:pt x="400" y="1168"/>
                    </a:lnTo>
                    <a:lnTo>
                      <a:pt x="412" y="1170"/>
                    </a:lnTo>
                    <a:lnTo>
                      <a:pt x="409" y="1182"/>
                    </a:lnTo>
                    <a:lnTo>
                      <a:pt x="418" y="1182"/>
                    </a:lnTo>
                    <a:lnTo>
                      <a:pt x="439" y="1159"/>
                    </a:lnTo>
                    <a:lnTo>
                      <a:pt x="437" y="1142"/>
                    </a:lnTo>
                    <a:lnTo>
                      <a:pt x="448" y="1145"/>
                    </a:lnTo>
                    <a:lnTo>
                      <a:pt x="458" y="1140"/>
                    </a:lnTo>
                    <a:lnTo>
                      <a:pt x="480" y="1147"/>
                    </a:lnTo>
                    <a:lnTo>
                      <a:pt x="485" y="1156"/>
                    </a:lnTo>
                    <a:lnTo>
                      <a:pt x="488" y="1166"/>
                    </a:lnTo>
                    <a:lnTo>
                      <a:pt x="513" y="1165"/>
                    </a:lnTo>
                    <a:lnTo>
                      <a:pt x="531" y="1158"/>
                    </a:lnTo>
                    <a:lnTo>
                      <a:pt x="532" y="1149"/>
                    </a:lnTo>
                    <a:lnTo>
                      <a:pt x="546" y="1149"/>
                    </a:lnTo>
                    <a:lnTo>
                      <a:pt x="551" y="1136"/>
                    </a:lnTo>
                    <a:lnTo>
                      <a:pt x="607" y="1135"/>
                    </a:lnTo>
                    <a:lnTo>
                      <a:pt x="611" y="1122"/>
                    </a:lnTo>
                    <a:lnTo>
                      <a:pt x="630" y="1121"/>
                    </a:lnTo>
                    <a:lnTo>
                      <a:pt x="639" y="1129"/>
                    </a:lnTo>
                    <a:lnTo>
                      <a:pt x="662" y="1126"/>
                    </a:lnTo>
                    <a:lnTo>
                      <a:pt x="670" y="1133"/>
                    </a:lnTo>
                    <a:lnTo>
                      <a:pt x="667" y="1144"/>
                    </a:lnTo>
                    <a:lnTo>
                      <a:pt x="686" y="1156"/>
                    </a:lnTo>
                    <a:lnTo>
                      <a:pt x="690" y="1152"/>
                    </a:lnTo>
                    <a:lnTo>
                      <a:pt x="695" y="1129"/>
                    </a:lnTo>
                    <a:lnTo>
                      <a:pt x="693" y="1119"/>
                    </a:lnTo>
                    <a:lnTo>
                      <a:pt x="677" y="1117"/>
                    </a:lnTo>
                    <a:lnTo>
                      <a:pt x="686" y="1098"/>
                    </a:lnTo>
                    <a:lnTo>
                      <a:pt x="662" y="1061"/>
                    </a:lnTo>
                    <a:lnTo>
                      <a:pt x="679" y="1045"/>
                    </a:lnTo>
                    <a:lnTo>
                      <a:pt x="722" y="1025"/>
                    </a:lnTo>
                    <a:lnTo>
                      <a:pt x="730" y="1013"/>
                    </a:lnTo>
                    <a:lnTo>
                      <a:pt x="731" y="990"/>
                    </a:lnTo>
                    <a:lnTo>
                      <a:pt x="736" y="988"/>
                    </a:lnTo>
                    <a:lnTo>
                      <a:pt x="756" y="999"/>
                    </a:lnTo>
                    <a:lnTo>
                      <a:pt x="785" y="981"/>
                    </a:lnTo>
                    <a:lnTo>
                      <a:pt x="767" y="939"/>
                    </a:lnTo>
                    <a:lnTo>
                      <a:pt x="756" y="935"/>
                    </a:lnTo>
                    <a:lnTo>
                      <a:pt x="750" y="923"/>
                    </a:lnTo>
                    <a:lnTo>
                      <a:pt x="739" y="930"/>
                    </a:lnTo>
                    <a:lnTo>
                      <a:pt x="732" y="916"/>
                    </a:lnTo>
                    <a:lnTo>
                      <a:pt x="713" y="903"/>
                    </a:lnTo>
                    <a:lnTo>
                      <a:pt x="688" y="870"/>
                    </a:lnTo>
                    <a:lnTo>
                      <a:pt x="679" y="873"/>
                    </a:lnTo>
                    <a:lnTo>
                      <a:pt x="658" y="856"/>
                    </a:lnTo>
                    <a:lnTo>
                      <a:pt x="648" y="843"/>
                    </a:lnTo>
                    <a:lnTo>
                      <a:pt x="646" y="828"/>
                    </a:lnTo>
                    <a:lnTo>
                      <a:pt x="639" y="822"/>
                    </a:lnTo>
                    <a:lnTo>
                      <a:pt x="642" y="794"/>
                    </a:lnTo>
                    <a:lnTo>
                      <a:pt x="649" y="778"/>
                    </a:lnTo>
                    <a:lnTo>
                      <a:pt x="632" y="771"/>
                    </a:lnTo>
                    <a:lnTo>
                      <a:pt x="618" y="741"/>
                    </a:lnTo>
                    <a:lnTo>
                      <a:pt x="640" y="716"/>
                    </a:lnTo>
                    <a:lnTo>
                      <a:pt x="652" y="720"/>
                    </a:lnTo>
                    <a:lnTo>
                      <a:pt x="672" y="706"/>
                    </a:lnTo>
                    <a:lnTo>
                      <a:pt x="690" y="706"/>
                    </a:lnTo>
                    <a:lnTo>
                      <a:pt x="694" y="693"/>
                    </a:lnTo>
                    <a:lnTo>
                      <a:pt x="711" y="692"/>
                    </a:lnTo>
                    <a:lnTo>
                      <a:pt x="716" y="676"/>
                    </a:lnTo>
                    <a:lnTo>
                      <a:pt x="731" y="672"/>
                    </a:lnTo>
                    <a:lnTo>
                      <a:pt x="739" y="677"/>
                    </a:lnTo>
                    <a:lnTo>
                      <a:pt x="744" y="662"/>
                    </a:lnTo>
                    <a:lnTo>
                      <a:pt x="776" y="660"/>
                    </a:lnTo>
                    <a:lnTo>
                      <a:pt x="783" y="649"/>
                    </a:lnTo>
                    <a:lnTo>
                      <a:pt x="805" y="646"/>
                    </a:lnTo>
                    <a:lnTo>
                      <a:pt x="829" y="632"/>
                    </a:lnTo>
                    <a:lnTo>
                      <a:pt x="817" y="616"/>
                    </a:lnTo>
                    <a:lnTo>
                      <a:pt x="836" y="611"/>
                    </a:lnTo>
                    <a:lnTo>
                      <a:pt x="849" y="620"/>
                    </a:lnTo>
                    <a:lnTo>
                      <a:pt x="850" y="640"/>
                    </a:lnTo>
                    <a:lnTo>
                      <a:pt x="866" y="646"/>
                    </a:lnTo>
                    <a:lnTo>
                      <a:pt x="871" y="637"/>
                    </a:lnTo>
                    <a:lnTo>
                      <a:pt x="891" y="588"/>
                    </a:lnTo>
                    <a:lnTo>
                      <a:pt x="879" y="555"/>
                    </a:lnTo>
                    <a:lnTo>
                      <a:pt x="858" y="541"/>
                    </a:lnTo>
                    <a:lnTo>
                      <a:pt x="862" y="523"/>
                    </a:lnTo>
                    <a:lnTo>
                      <a:pt x="849" y="503"/>
                    </a:lnTo>
                    <a:lnTo>
                      <a:pt x="849" y="491"/>
                    </a:lnTo>
                    <a:lnTo>
                      <a:pt x="858" y="482"/>
                    </a:lnTo>
                    <a:lnTo>
                      <a:pt x="865" y="461"/>
                    </a:lnTo>
                    <a:lnTo>
                      <a:pt x="858" y="454"/>
                    </a:lnTo>
                    <a:lnTo>
                      <a:pt x="858" y="433"/>
                    </a:lnTo>
                    <a:lnTo>
                      <a:pt x="845" y="422"/>
                    </a:lnTo>
                    <a:lnTo>
                      <a:pt x="841" y="410"/>
                    </a:lnTo>
                    <a:lnTo>
                      <a:pt x="850" y="382"/>
                    </a:lnTo>
                    <a:lnTo>
                      <a:pt x="820" y="352"/>
                    </a:lnTo>
                    <a:lnTo>
                      <a:pt x="804" y="345"/>
                    </a:lnTo>
                    <a:lnTo>
                      <a:pt x="805" y="322"/>
                    </a:lnTo>
                    <a:lnTo>
                      <a:pt x="822" y="311"/>
                    </a:lnTo>
                    <a:lnTo>
                      <a:pt x="833" y="274"/>
                    </a:lnTo>
                    <a:lnTo>
                      <a:pt x="818" y="214"/>
                    </a:lnTo>
                    <a:lnTo>
                      <a:pt x="809" y="212"/>
                    </a:lnTo>
                    <a:lnTo>
                      <a:pt x="808" y="202"/>
                    </a:lnTo>
                    <a:lnTo>
                      <a:pt x="792" y="203"/>
                    </a:lnTo>
                    <a:lnTo>
                      <a:pt x="776" y="195"/>
                    </a:lnTo>
                    <a:lnTo>
                      <a:pt x="769" y="187"/>
                    </a:lnTo>
                    <a:lnTo>
                      <a:pt x="764" y="147"/>
                    </a:lnTo>
                    <a:lnTo>
                      <a:pt x="758" y="138"/>
                    </a:lnTo>
                    <a:lnTo>
                      <a:pt x="735" y="147"/>
                    </a:lnTo>
                    <a:lnTo>
                      <a:pt x="726" y="142"/>
                    </a:lnTo>
                    <a:lnTo>
                      <a:pt x="699" y="120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71" name="Freeform 259"/>
              <p:cNvSpPr>
                <a:spLocks/>
              </p:cNvSpPr>
              <p:nvPr>
                <p:custDataLst>
                  <p:tags r:id="rId196"/>
                </p:custDataLst>
              </p:nvPr>
            </p:nvSpPr>
            <p:spPr bwMode="auto">
              <a:xfrm>
                <a:off x="2899" y="1739"/>
                <a:ext cx="5" cy="4"/>
              </a:xfrm>
              <a:custGeom>
                <a:avLst/>
                <a:gdLst>
                  <a:gd name="T0" fmla="*/ 24 w 36"/>
                  <a:gd name="T1" fmla="*/ 28 h 35"/>
                  <a:gd name="T2" fmla="*/ 28 w 36"/>
                  <a:gd name="T3" fmla="*/ 32 h 35"/>
                  <a:gd name="T4" fmla="*/ 36 w 36"/>
                  <a:gd name="T5" fmla="*/ 35 h 35"/>
                  <a:gd name="T6" fmla="*/ 28 w 36"/>
                  <a:gd name="T7" fmla="*/ 20 h 35"/>
                  <a:gd name="T8" fmla="*/ 0 w 36"/>
                  <a:gd name="T9" fmla="*/ 0 h 35"/>
                  <a:gd name="T10" fmla="*/ 0 w 36"/>
                  <a:gd name="T11" fmla="*/ 14 h 35"/>
                  <a:gd name="T12" fmla="*/ 5 w 36"/>
                  <a:gd name="T13" fmla="*/ 34 h 35"/>
                  <a:gd name="T14" fmla="*/ 24 w 36"/>
                  <a:gd name="T15" fmla="*/ 28 h 3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6"/>
                  <a:gd name="T25" fmla="*/ 0 h 35"/>
                  <a:gd name="T26" fmla="*/ 36 w 36"/>
                  <a:gd name="T27" fmla="*/ 35 h 3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6" h="35">
                    <a:moveTo>
                      <a:pt x="24" y="28"/>
                    </a:moveTo>
                    <a:lnTo>
                      <a:pt x="28" y="32"/>
                    </a:lnTo>
                    <a:lnTo>
                      <a:pt x="36" y="35"/>
                    </a:lnTo>
                    <a:lnTo>
                      <a:pt x="28" y="20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5" y="34"/>
                    </a:lnTo>
                    <a:lnTo>
                      <a:pt x="24" y="28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72" name="Freeform 260"/>
              <p:cNvSpPr>
                <a:spLocks/>
              </p:cNvSpPr>
              <p:nvPr>
                <p:custDataLst>
                  <p:tags r:id="rId197"/>
                </p:custDataLst>
              </p:nvPr>
            </p:nvSpPr>
            <p:spPr bwMode="auto">
              <a:xfrm>
                <a:off x="2899" y="1739"/>
                <a:ext cx="5" cy="4"/>
              </a:xfrm>
              <a:custGeom>
                <a:avLst/>
                <a:gdLst>
                  <a:gd name="T0" fmla="*/ 28 w 36"/>
                  <a:gd name="T1" fmla="*/ 32 h 35"/>
                  <a:gd name="T2" fmla="*/ 36 w 36"/>
                  <a:gd name="T3" fmla="*/ 35 h 35"/>
                  <a:gd name="T4" fmla="*/ 28 w 36"/>
                  <a:gd name="T5" fmla="*/ 20 h 35"/>
                  <a:gd name="T6" fmla="*/ 0 w 36"/>
                  <a:gd name="T7" fmla="*/ 0 h 35"/>
                  <a:gd name="T8" fmla="*/ 0 w 36"/>
                  <a:gd name="T9" fmla="*/ 14 h 35"/>
                  <a:gd name="T10" fmla="*/ 5 w 36"/>
                  <a:gd name="T11" fmla="*/ 34 h 35"/>
                  <a:gd name="T12" fmla="*/ 24 w 36"/>
                  <a:gd name="T13" fmla="*/ 28 h 35"/>
                  <a:gd name="T14" fmla="*/ 28 w 36"/>
                  <a:gd name="T15" fmla="*/ 32 h 3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6"/>
                  <a:gd name="T25" fmla="*/ 0 h 35"/>
                  <a:gd name="T26" fmla="*/ 36 w 36"/>
                  <a:gd name="T27" fmla="*/ 35 h 3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6" h="35">
                    <a:moveTo>
                      <a:pt x="28" y="32"/>
                    </a:moveTo>
                    <a:lnTo>
                      <a:pt x="36" y="35"/>
                    </a:lnTo>
                    <a:lnTo>
                      <a:pt x="28" y="20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5" y="34"/>
                    </a:lnTo>
                    <a:lnTo>
                      <a:pt x="24" y="28"/>
                    </a:lnTo>
                    <a:lnTo>
                      <a:pt x="28" y="32"/>
                    </a:lnTo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73" name="Freeform 261"/>
              <p:cNvSpPr>
                <a:spLocks/>
              </p:cNvSpPr>
              <p:nvPr>
                <p:custDataLst>
                  <p:tags r:id="rId198"/>
                </p:custDataLst>
              </p:nvPr>
            </p:nvSpPr>
            <p:spPr bwMode="auto">
              <a:xfrm>
                <a:off x="2904" y="1721"/>
                <a:ext cx="146" cy="132"/>
              </a:xfrm>
              <a:custGeom>
                <a:avLst/>
                <a:gdLst>
                  <a:gd name="T0" fmla="*/ 924 w 981"/>
                  <a:gd name="T1" fmla="*/ 413 h 885"/>
                  <a:gd name="T2" fmla="*/ 887 w 981"/>
                  <a:gd name="T3" fmla="*/ 388 h 885"/>
                  <a:gd name="T4" fmla="*/ 930 w 981"/>
                  <a:gd name="T5" fmla="*/ 328 h 885"/>
                  <a:gd name="T6" fmla="*/ 963 w 981"/>
                  <a:gd name="T7" fmla="*/ 294 h 885"/>
                  <a:gd name="T8" fmla="*/ 917 w 981"/>
                  <a:gd name="T9" fmla="*/ 114 h 885"/>
                  <a:gd name="T10" fmla="*/ 868 w 981"/>
                  <a:gd name="T11" fmla="*/ 47 h 885"/>
                  <a:gd name="T12" fmla="*/ 549 w 981"/>
                  <a:gd name="T13" fmla="*/ 67 h 885"/>
                  <a:gd name="T14" fmla="*/ 499 w 981"/>
                  <a:gd name="T15" fmla="*/ 90 h 885"/>
                  <a:gd name="T16" fmla="*/ 551 w 981"/>
                  <a:gd name="T17" fmla="*/ 42 h 885"/>
                  <a:gd name="T18" fmla="*/ 474 w 981"/>
                  <a:gd name="T19" fmla="*/ 79 h 885"/>
                  <a:gd name="T20" fmla="*/ 423 w 981"/>
                  <a:gd name="T21" fmla="*/ 31 h 885"/>
                  <a:gd name="T22" fmla="*/ 453 w 981"/>
                  <a:gd name="T23" fmla="*/ 30 h 885"/>
                  <a:gd name="T24" fmla="*/ 229 w 981"/>
                  <a:gd name="T25" fmla="*/ 49 h 885"/>
                  <a:gd name="T26" fmla="*/ 115 w 981"/>
                  <a:gd name="T27" fmla="*/ 104 h 885"/>
                  <a:gd name="T28" fmla="*/ 33 w 981"/>
                  <a:gd name="T29" fmla="*/ 136 h 885"/>
                  <a:gd name="T30" fmla="*/ 42 w 981"/>
                  <a:gd name="T31" fmla="*/ 166 h 885"/>
                  <a:gd name="T32" fmla="*/ 29 w 981"/>
                  <a:gd name="T33" fmla="*/ 181 h 885"/>
                  <a:gd name="T34" fmla="*/ 18 w 981"/>
                  <a:gd name="T35" fmla="*/ 275 h 885"/>
                  <a:gd name="T36" fmla="*/ 16 w 981"/>
                  <a:gd name="T37" fmla="*/ 316 h 885"/>
                  <a:gd name="T38" fmla="*/ 41 w 981"/>
                  <a:gd name="T39" fmla="*/ 386 h 885"/>
                  <a:gd name="T40" fmla="*/ 61 w 981"/>
                  <a:gd name="T41" fmla="*/ 425 h 885"/>
                  <a:gd name="T42" fmla="*/ 45 w 981"/>
                  <a:gd name="T43" fmla="*/ 467 h 885"/>
                  <a:gd name="T44" fmla="*/ 75 w 981"/>
                  <a:gd name="T45" fmla="*/ 519 h 885"/>
                  <a:gd name="T46" fmla="*/ 83 w 981"/>
                  <a:gd name="T47" fmla="*/ 601 h 885"/>
                  <a:gd name="T48" fmla="*/ 86 w 981"/>
                  <a:gd name="T49" fmla="*/ 579 h 885"/>
                  <a:gd name="T50" fmla="*/ 115 w 981"/>
                  <a:gd name="T51" fmla="*/ 603 h 885"/>
                  <a:gd name="T52" fmla="*/ 172 w 981"/>
                  <a:gd name="T53" fmla="*/ 633 h 885"/>
                  <a:gd name="T54" fmla="*/ 204 w 981"/>
                  <a:gd name="T55" fmla="*/ 636 h 885"/>
                  <a:gd name="T56" fmla="*/ 226 w 981"/>
                  <a:gd name="T57" fmla="*/ 647 h 885"/>
                  <a:gd name="T58" fmla="*/ 202 w 981"/>
                  <a:gd name="T59" fmla="*/ 671 h 885"/>
                  <a:gd name="T60" fmla="*/ 254 w 981"/>
                  <a:gd name="T61" fmla="*/ 719 h 885"/>
                  <a:gd name="T62" fmla="*/ 269 w 981"/>
                  <a:gd name="T63" fmla="*/ 677 h 885"/>
                  <a:gd name="T64" fmla="*/ 316 w 981"/>
                  <a:gd name="T65" fmla="*/ 691 h 885"/>
                  <a:gd name="T66" fmla="*/ 353 w 981"/>
                  <a:gd name="T67" fmla="*/ 703 h 885"/>
                  <a:gd name="T68" fmla="*/ 384 w 981"/>
                  <a:gd name="T69" fmla="*/ 726 h 885"/>
                  <a:gd name="T70" fmla="*/ 433 w 981"/>
                  <a:gd name="T71" fmla="*/ 765 h 885"/>
                  <a:gd name="T72" fmla="*/ 462 w 981"/>
                  <a:gd name="T73" fmla="*/ 807 h 885"/>
                  <a:gd name="T74" fmla="*/ 495 w 981"/>
                  <a:gd name="T75" fmla="*/ 823 h 885"/>
                  <a:gd name="T76" fmla="*/ 514 w 981"/>
                  <a:gd name="T77" fmla="*/ 800 h 885"/>
                  <a:gd name="T78" fmla="*/ 537 w 981"/>
                  <a:gd name="T79" fmla="*/ 827 h 885"/>
                  <a:gd name="T80" fmla="*/ 553 w 981"/>
                  <a:gd name="T81" fmla="*/ 843 h 885"/>
                  <a:gd name="T82" fmla="*/ 580 w 981"/>
                  <a:gd name="T83" fmla="*/ 859 h 885"/>
                  <a:gd name="T84" fmla="*/ 614 w 981"/>
                  <a:gd name="T85" fmla="*/ 823 h 885"/>
                  <a:gd name="T86" fmla="*/ 663 w 981"/>
                  <a:gd name="T87" fmla="*/ 841 h 885"/>
                  <a:gd name="T88" fmla="*/ 705 w 981"/>
                  <a:gd name="T89" fmla="*/ 823 h 885"/>
                  <a:gd name="T90" fmla="*/ 768 w 981"/>
                  <a:gd name="T91" fmla="*/ 839 h 885"/>
                  <a:gd name="T92" fmla="*/ 827 w 981"/>
                  <a:gd name="T93" fmla="*/ 883 h 885"/>
                  <a:gd name="T94" fmla="*/ 839 w 981"/>
                  <a:gd name="T95" fmla="*/ 822 h 885"/>
                  <a:gd name="T96" fmla="*/ 948 w 981"/>
                  <a:gd name="T97" fmla="*/ 677 h 885"/>
                  <a:gd name="T98" fmla="*/ 978 w 981"/>
                  <a:gd name="T99" fmla="*/ 638 h 885"/>
                  <a:gd name="T100" fmla="*/ 981 w 981"/>
                  <a:gd name="T101" fmla="*/ 604 h 885"/>
                  <a:gd name="T102" fmla="*/ 933 w 981"/>
                  <a:gd name="T103" fmla="*/ 515 h 885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981"/>
                  <a:gd name="T157" fmla="*/ 0 h 885"/>
                  <a:gd name="T158" fmla="*/ 981 w 981"/>
                  <a:gd name="T159" fmla="*/ 885 h 885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981" h="885">
                    <a:moveTo>
                      <a:pt x="934" y="441"/>
                    </a:moveTo>
                    <a:lnTo>
                      <a:pt x="934" y="423"/>
                    </a:lnTo>
                    <a:lnTo>
                      <a:pt x="924" y="413"/>
                    </a:lnTo>
                    <a:lnTo>
                      <a:pt x="919" y="400"/>
                    </a:lnTo>
                    <a:lnTo>
                      <a:pt x="901" y="390"/>
                    </a:lnTo>
                    <a:lnTo>
                      <a:pt x="887" y="388"/>
                    </a:lnTo>
                    <a:lnTo>
                      <a:pt x="893" y="369"/>
                    </a:lnTo>
                    <a:lnTo>
                      <a:pt x="905" y="346"/>
                    </a:lnTo>
                    <a:lnTo>
                      <a:pt x="930" y="328"/>
                    </a:lnTo>
                    <a:lnTo>
                      <a:pt x="950" y="326"/>
                    </a:lnTo>
                    <a:lnTo>
                      <a:pt x="961" y="310"/>
                    </a:lnTo>
                    <a:lnTo>
                      <a:pt x="963" y="294"/>
                    </a:lnTo>
                    <a:lnTo>
                      <a:pt x="929" y="151"/>
                    </a:lnTo>
                    <a:lnTo>
                      <a:pt x="917" y="116"/>
                    </a:lnTo>
                    <a:lnTo>
                      <a:pt x="917" y="114"/>
                    </a:lnTo>
                    <a:lnTo>
                      <a:pt x="899" y="67"/>
                    </a:lnTo>
                    <a:lnTo>
                      <a:pt x="870" y="49"/>
                    </a:lnTo>
                    <a:lnTo>
                      <a:pt x="868" y="47"/>
                    </a:lnTo>
                    <a:lnTo>
                      <a:pt x="709" y="56"/>
                    </a:lnTo>
                    <a:lnTo>
                      <a:pt x="573" y="47"/>
                    </a:lnTo>
                    <a:lnTo>
                      <a:pt x="549" y="67"/>
                    </a:lnTo>
                    <a:lnTo>
                      <a:pt x="521" y="81"/>
                    </a:lnTo>
                    <a:lnTo>
                      <a:pt x="509" y="90"/>
                    </a:lnTo>
                    <a:lnTo>
                      <a:pt x="499" y="90"/>
                    </a:lnTo>
                    <a:lnTo>
                      <a:pt x="500" y="81"/>
                    </a:lnTo>
                    <a:lnTo>
                      <a:pt x="508" y="72"/>
                    </a:lnTo>
                    <a:lnTo>
                      <a:pt x="551" y="42"/>
                    </a:lnTo>
                    <a:lnTo>
                      <a:pt x="549" y="42"/>
                    </a:lnTo>
                    <a:lnTo>
                      <a:pt x="502" y="72"/>
                    </a:lnTo>
                    <a:lnTo>
                      <a:pt x="474" y="79"/>
                    </a:lnTo>
                    <a:lnTo>
                      <a:pt x="446" y="76"/>
                    </a:lnTo>
                    <a:lnTo>
                      <a:pt x="429" y="65"/>
                    </a:lnTo>
                    <a:lnTo>
                      <a:pt x="423" y="31"/>
                    </a:lnTo>
                    <a:lnTo>
                      <a:pt x="412" y="19"/>
                    </a:lnTo>
                    <a:lnTo>
                      <a:pt x="414" y="8"/>
                    </a:lnTo>
                    <a:lnTo>
                      <a:pt x="453" y="30"/>
                    </a:lnTo>
                    <a:lnTo>
                      <a:pt x="407" y="0"/>
                    </a:lnTo>
                    <a:lnTo>
                      <a:pt x="345" y="5"/>
                    </a:lnTo>
                    <a:lnTo>
                      <a:pt x="229" y="49"/>
                    </a:lnTo>
                    <a:lnTo>
                      <a:pt x="193" y="84"/>
                    </a:lnTo>
                    <a:lnTo>
                      <a:pt x="173" y="95"/>
                    </a:lnTo>
                    <a:lnTo>
                      <a:pt x="115" y="104"/>
                    </a:lnTo>
                    <a:lnTo>
                      <a:pt x="93" y="116"/>
                    </a:lnTo>
                    <a:lnTo>
                      <a:pt x="32" y="130"/>
                    </a:lnTo>
                    <a:lnTo>
                      <a:pt x="33" y="136"/>
                    </a:lnTo>
                    <a:lnTo>
                      <a:pt x="33" y="144"/>
                    </a:lnTo>
                    <a:lnTo>
                      <a:pt x="41" y="155"/>
                    </a:lnTo>
                    <a:lnTo>
                      <a:pt x="42" y="166"/>
                    </a:lnTo>
                    <a:lnTo>
                      <a:pt x="34" y="176"/>
                    </a:lnTo>
                    <a:lnTo>
                      <a:pt x="40" y="190"/>
                    </a:lnTo>
                    <a:lnTo>
                      <a:pt x="29" y="181"/>
                    </a:lnTo>
                    <a:lnTo>
                      <a:pt x="14" y="178"/>
                    </a:lnTo>
                    <a:lnTo>
                      <a:pt x="29" y="238"/>
                    </a:lnTo>
                    <a:lnTo>
                      <a:pt x="18" y="275"/>
                    </a:lnTo>
                    <a:lnTo>
                      <a:pt x="1" y="286"/>
                    </a:lnTo>
                    <a:lnTo>
                      <a:pt x="0" y="309"/>
                    </a:lnTo>
                    <a:lnTo>
                      <a:pt x="16" y="316"/>
                    </a:lnTo>
                    <a:lnTo>
                      <a:pt x="46" y="346"/>
                    </a:lnTo>
                    <a:lnTo>
                      <a:pt x="37" y="374"/>
                    </a:lnTo>
                    <a:lnTo>
                      <a:pt x="41" y="386"/>
                    </a:lnTo>
                    <a:lnTo>
                      <a:pt x="54" y="397"/>
                    </a:lnTo>
                    <a:lnTo>
                      <a:pt x="54" y="418"/>
                    </a:lnTo>
                    <a:lnTo>
                      <a:pt x="61" y="425"/>
                    </a:lnTo>
                    <a:lnTo>
                      <a:pt x="54" y="446"/>
                    </a:lnTo>
                    <a:lnTo>
                      <a:pt x="45" y="455"/>
                    </a:lnTo>
                    <a:lnTo>
                      <a:pt x="45" y="467"/>
                    </a:lnTo>
                    <a:lnTo>
                      <a:pt x="58" y="487"/>
                    </a:lnTo>
                    <a:lnTo>
                      <a:pt x="54" y="505"/>
                    </a:lnTo>
                    <a:lnTo>
                      <a:pt x="75" y="519"/>
                    </a:lnTo>
                    <a:lnTo>
                      <a:pt x="87" y="552"/>
                    </a:lnTo>
                    <a:lnTo>
                      <a:pt x="67" y="601"/>
                    </a:lnTo>
                    <a:lnTo>
                      <a:pt x="83" y="601"/>
                    </a:lnTo>
                    <a:lnTo>
                      <a:pt x="86" y="589"/>
                    </a:lnTo>
                    <a:lnTo>
                      <a:pt x="82" y="584"/>
                    </a:lnTo>
                    <a:lnTo>
                      <a:pt x="86" y="579"/>
                    </a:lnTo>
                    <a:lnTo>
                      <a:pt x="102" y="577"/>
                    </a:lnTo>
                    <a:lnTo>
                      <a:pt x="111" y="584"/>
                    </a:lnTo>
                    <a:lnTo>
                      <a:pt x="115" y="603"/>
                    </a:lnTo>
                    <a:lnTo>
                      <a:pt x="131" y="615"/>
                    </a:lnTo>
                    <a:lnTo>
                      <a:pt x="165" y="620"/>
                    </a:lnTo>
                    <a:lnTo>
                      <a:pt x="172" y="633"/>
                    </a:lnTo>
                    <a:lnTo>
                      <a:pt x="184" y="629"/>
                    </a:lnTo>
                    <a:lnTo>
                      <a:pt x="184" y="641"/>
                    </a:lnTo>
                    <a:lnTo>
                      <a:pt x="204" y="636"/>
                    </a:lnTo>
                    <a:lnTo>
                      <a:pt x="205" y="633"/>
                    </a:lnTo>
                    <a:lnTo>
                      <a:pt x="217" y="634"/>
                    </a:lnTo>
                    <a:lnTo>
                      <a:pt x="226" y="647"/>
                    </a:lnTo>
                    <a:lnTo>
                      <a:pt x="222" y="654"/>
                    </a:lnTo>
                    <a:lnTo>
                      <a:pt x="213" y="656"/>
                    </a:lnTo>
                    <a:lnTo>
                      <a:pt x="202" y="671"/>
                    </a:lnTo>
                    <a:lnTo>
                      <a:pt x="228" y="687"/>
                    </a:lnTo>
                    <a:lnTo>
                      <a:pt x="239" y="714"/>
                    </a:lnTo>
                    <a:lnTo>
                      <a:pt x="254" y="719"/>
                    </a:lnTo>
                    <a:lnTo>
                      <a:pt x="263" y="707"/>
                    </a:lnTo>
                    <a:lnTo>
                      <a:pt x="283" y="698"/>
                    </a:lnTo>
                    <a:lnTo>
                      <a:pt x="269" y="677"/>
                    </a:lnTo>
                    <a:lnTo>
                      <a:pt x="269" y="668"/>
                    </a:lnTo>
                    <a:lnTo>
                      <a:pt x="283" y="668"/>
                    </a:lnTo>
                    <a:lnTo>
                      <a:pt x="316" y="691"/>
                    </a:lnTo>
                    <a:lnTo>
                      <a:pt x="348" y="691"/>
                    </a:lnTo>
                    <a:lnTo>
                      <a:pt x="339" y="710"/>
                    </a:lnTo>
                    <a:lnTo>
                      <a:pt x="353" y="703"/>
                    </a:lnTo>
                    <a:lnTo>
                      <a:pt x="355" y="737"/>
                    </a:lnTo>
                    <a:lnTo>
                      <a:pt x="367" y="737"/>
                    </a:lnTo>
                    <a:lnTo>
                      <a:pt x="384" y="726"/>
                    </a:lnTo>
                    <a:lnTo>
                      <a:pt x="397" y="739"/>
                    </a:lnTo>
                    <a:lnTo>
                      <a:pt x="433" y="747"/>
                    </a:lnTo>
                    <a:lnTo>
                      <a:pt x="433" y="765"/>
                    </a:lnTo>
                    <a:lnTo>
                      <a:pt x="439" y="779"/>
                    </a:lnTo>
                    <a:lnTo>
                      <a:pt x="458" y="784"/>
                    </a:lnTo>
                    <a:lnTo>
                      <a:pt x="462" y="807"/>
                    </a:lnTo>
                    <a:lnTo>
                      <a:pt x="474" y="811"/>
                    </a:lnTo>
                    <a:lnTo>
                      <a:pt x="475" y="827"/>
                    </a:lnTo>
                    <a:lnTo>
                      <a:pt x="495" y="823"/>
                    </a:lnTo>
                    <a:lnTo>
                      <a:pt x="502" y="807"/>
                    </a:lnTo>
                    <a:lnTo>
                      <a:pt x="511" y="807"/>
                    </a:lnTo>
                    <a:lnTo>
                      <a:pt x="514" y="800"/>
                    </a:lnTo>
                    <a:lnTo>
                      <a:pt x="525" y="799"/>
                    </a:lnTo>
                    <a:lnTo>
                      <a:pt x="535" y="814"/>
                    </a:lnTo>
                    <a:lnTo>
                      <a:pt x="537" y="827"/>
                    </a:lnTo>
                    <a:lnTo>
                      <a:pt x="552" y="825"/>
                    </a:lnTo>
                    <a:lnTo>
                      <a:pt x="556" y="837"/>
                    </a:lnTo>
                    <a:lnTo>
                      <a:pt x="553" y="843"/>
                    </a:lnTo>
                    <a:lnTo>
                      <a:pt x="553" y="857"/>
                    </a:lnTo>
                    <a:lnTo>
                      <a:pt x="570" y="852"/>
                    </a:lnTo>
                    <a:lnTo>
                      <a:pt x="580" y="859"/>
                    </a:lnTo>
                    <a:lnTo>
                      <a:pt x="585" y="850"/>
                    </a:lnTo>
                    <a:lnTo>
                      <a:pt x="589" y="837"/>
                    </a:lnTo>
                    <a:lnTo>
                      <a:pt x="614" y="823"/>
                    </a:lnTo>
                    <a:lnTo>
                      <a:pt x="622" y="827"/>
                    </a:lnTo>
                    <a:lnTo>
                      <a:pt x="643" y="825"/>
                    </a:lnTo>
                    <a:lnTo>
                      <a:pt x="663" y="841"/>
                    </a:lnTo>
                    <a:lnTo>
                      <a:pt x="680" y="830"/>
                    </a:lnTo>
                    <a:lnTo>
                      <a:pt x="683" y="820"/>
                    </a:lnTo>
                    <a:lnTo>
                      <a:pt x="705" y="823"/>
                    </a:lnTo>
                    <a:lnTo>
                      <a:pt x="730" y="818"/>
                    </a:lnTo>
                    <a:lnTo>
                      <a:pt x="736" y="827"/>
                    </a:lnTo>
                    <a:lnTo>
                      <a:pt x="768" y="839"/>
                    </a:lnTo>
                    <a:lnTo>
                      <a:pt x="772" y="853"/>
                    </a:lnTo>
                    <a:lnTo>
                      <a:pt x="791" y="860"/>
                    </a:lnTo>
                    <a:lnTo>
                      <a:pt x="827" y="883"/>
                    </a:lnTo>
                    <a:lnTo>
                      <a:pt x="856" y="885"/>
                    </a:lnTo>
                    <a:lnTo>
                      <a:pt x="840" y="859"/>
                    </a:lnTo>
                    <a:lnTo>
                      <a:pt x="839" y="822"/>
                    </a:lnTo>
                    <a:lnTo>
                      <a:pt x="843" y="800"/>
                    </a:lnTo>
                    <a:lnTo>
                      <a:pt x="908" y="717"/>
                    </a:lnTo>
                    <a:lnTo>
                      <a:pt x="948" y="677"/>
                    </a:lnTo>
                    <a:lnTo>
                      <a:pt x="967" y="675"/>
                    </a:lnTo>
                    <a:lnTo>
                      <a:pt x="978" y="659"/>
                    </a:lnTo>
                    <a:lnTo>
                      <a:pt x="978" y="638"/>
                    </a:lnTo>
                    <a:lnTo>
                      <a:pt x="965" y="617"/>
                    </a:lnTo>
                    <a:lnTo>
                      <a:pt x="967" y="608"/>
                    </a:lnTo>
                    <a:lnTo>
                      <a:pt x="981" y="604"/>
                    </a:lnTo>
                    <a:lnTo>
                      <a:pt x="967" y="589"/>
                    </a:lnTo>
                    <a:lnTo>
                      <a:pt x="930" y="531"/>
                    </a:lnTo>
                    <a:lnTo>
                      <a:pt x="933" y="515"/>
                    </a:lnTo>
                    <a:lnTo>
                      <a:pt x="921" y="492"/>
                    </a:lnTo>
                    <a:lnTo>
                      <a:pt x="934" y="441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74" name="Freeform 262"/>
              <p:cNvSpPr>
                <a:spLocks/>
              </p:cNvSpPr>
              <p:nvPr>
                <p:custDataLst>
                  <p:tags r:id="rId199"/>
                </p:custDataLst>
              </p:nvPr>
            </p:nvSpPr>
            <p:spPr bwMode="auto">
              <a:xfrm>
                <a:off x="2906" y="1741"/>
                <a:ext cx="4" cy="2"/>
              </a:xfrm>
              <a:custGeom>
                <a:avLst/>
                <a:gdLst>
                  <a:gd name="T0" fmla="*/ 4 w 25"/>
                  <a:gd name="T1" fmla="*/ 15 h 15"/>
                  <a:gd name="T2" fmla="*/ 12 w 25"/>
                  <a:gd name="T3" fmla="*/ 14 h 15"/>
                  <a:gd name="T4" fmla="*/ 24 w 25"/>
                  <a:gd name="T5" fmla="*/ 15 h 15"/>
                  <a:gd name="T6" fmla="*/ 25 w 25"/>
                  <a:gd name="T7" fmla="*/ 7 h 15"/>
                  <a:gd name="T8" fmla="*/ 21 w 25"/>
                  <a:gd name="T9" fmla="*/ 0 h 15"/>
                  <a:gd name="T10" fmla="*/ 9 w 25"/>
                  <a:gd name="T11" fmla="*/ 0 h 15"/>
                  <a:gd name="T12" fmla="*/ 0 w 25"/>
                  <a:gd name="T13" fmla="*/ 1 h 15"/>
                  <a:gd name="T14" fmla="*/ 4 w 25"/>
                  <a:gd name="T15" fmla="*/ 15 h 1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5"/>
                  <a:gd name="T25" fmla="*/ 0 h 15"/>
                  <a:gd name="T26" fmla="*/ 25 w 25"/>
                  <a:gd name="T27" fmla="*/ 15 h 1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5" h="15">
                    <a:moveTo>
                      <a:pt x="4" y="15"/>
                    </a:moveTo>
                    <a:lnTo>
                      <a:pt x="12" y="14"/>
                    </a:lnTo>
                    <a:lnTo>
                      <a:pt x="24" y="15"/>
                    </a:lnTo>
                    <a:lnTo>
                      <a:pt x="25" y="7"/>
                    </a:lnTo>
                    <a:lnTo>
                      <a:pt x="21" y="0"/>
                    </a:lnTo>
                    <a:lnTo>
                      <a:pt x="9" y="0"/>
                    </a:lnTo>
                    <a:lnTo>
                      <a:pt x="0" y="1"/>
                    </a:lnTo>
                    <a:lnTo>
                      <a:pt x="4" y="15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75" name="Freeform 263"/>
              <p:cNvSpPr>
                <a:spLocks/>
              </p:cNvSpPr>
              <p:nvPr>
                <p:custDataLst>
                  <p:tags r:id="rId200"/>
                </p:custDataLst>
              </p:nvPr>
            </p:nvSpPr>
            <p:spPr bwMode="auto">
              <a:xfrm>
                <a:off x="2904" y="1741"/>
                <a:ext cx="2" cy="2"/>
              </a:xfrm>
              <a:custGeom>
                <a:avLst/>
                <a:gdLst>
                  <a:gd name="T0" fmla="*/ 11 w 14"/>
                  <a:gd name="T1" fmla="*/ 1 h 17"/>
                  <a:gd name="T2" fmla="*/ 0 w 14"/>
                  <a:gd name="T3" fmla="*/ 0 h 17"/>
                  <a:gd name="T4" fmla="*/ 8 w 14"/>
                  <a:gd name="T5" fmla="*/ 15 h 17"/>
                  <a:gd name="T6" fmla="*/ 14 w 14"/>
                  <a:gd name="T7" fmla="*/ 17 h 17"/>
                  <a:gd name="T8" fmla="*/ 11 w 14"/>
                  <a:gd name="T9" fmla="*/ 1 h 1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"/>
                  <a:gd name="T16" fmla="*/ 0 h 17"/>
                  <a:gd name="T17" fmla="*/ 14 w 14"/>
                  <a:gd name="T18" fmla="*/ 17 h 1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" h="17">
                    <a:moveTo>
                      <a:pt x="11" y="1"/>
                    </a:moveTo>
                    <a:lnTo>
                      <a:pt x="0" y="0"/>
                    </a:lnTo>
                    <a:lnTo>
                      <a:pt x="8" y="15"/>
                    </a:lnTo>
                    <a:lnTo>
                      <a:pt x="14" y="17"/>
                    </a:lnTo>
                    <a:lnTo>
                      <a:pt x="11" y="1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76" name="Freeform 264"/>
              <p:cNvSpPr>
                <a:spLocks/>
              </p:cNvSpPr>
              <p:nvPr>
                <p:custDataLst>
                  <p:tags r:id="rId201"/>
                </p:custDataLst>
              </p:nvPr>
            </p:nvSpPr>
            <p:spPr bwMode="auto">
              <a:xfrm>
                <a:off x="2904" y="1741"/>
                <a:ext cx="2" cy="2"/>
              </a:xfrm>
              <a:custGeom>
                <a:avLst/>
                <a:gdLst>
                  <a:gd name="T0" fmla="*/ 0 w 14"/>
                  <a:gd name="T1" fmla="*/ 0 h 17"/>
                  <a:gd name="T2" fmla="*/ 8 w 14"/>
                  <a:gd name="T3" fmla="*/ 15 h 17"/>
                  <a:gd name="T4" fmla="*/ 14 w 14"/>
                  <a:gd name="T5" fmla="*/ 17 h 17"/>
                  <a:gd name="T6" fmla="*/ 11 w 14"/>
                  <a:gd name="T7" fmla="*/ 1 h 17"/>
                  <a:gd name="T8" fmla="*/ 0 w 14"/>
                  <a:gd name="T9" fmla="*/ 0 h 1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"/>
                  <a:gd name="T16" fmla="*/ 0 h 17"/>
                  <a:gd name="T17" fmla="*/ 14 w 14"/>
                  <a:gd name="T18" fmla="*/ 17 h 1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" h="17">
                    <a:moveTo>
                      <a:pt x="0" y="0"/>
                    </a:moveTo>
                    <a:lnTo>
                      <a:pt x="8" y="15"/>
                    </a:lnTo>
                    <a:lnTo>
                      <a:pt x="14" y="17"/>
                    </a:lnTo>
                    <a:lnTo>
                      <a:pt x="11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77" name="Freeform 265"/>
              <p:cNvSpPr>
                <a:spLocks/>
              </p:cNvSpPr>
              <p:nvPr>
                <p:custDataLst>
                  <p:tags r:id="rId202"/>
                </p:custDataLst>
              </p:nvPr>
            </p:nvSpPr>
            <p:spPr bwMode="auto">
              <a:xfrm>
                <a:off x="2906" y="1741"/>
                <a:ext cx="4" cy="2"/>
              </a:xfrm>
              <a:custGeom>
                <a:avLst/>
                <a:gdLst>
                  <a:gd name="T0" fmla="*/ 25 w 25"/>
                  <a:gd name="T1" fmla="*/ 7 h 15"/>
                  <a:gd name="T2" fmla="*/ 21 w 25"/>
                  <a:gd name="T3" fmla="*/ 0 h 15"/>
                  <a:gd name="T4" fmla="*/ 9 w 25"/>
                  <a:gd name="T5" fmla="*/ 0 h 15"/>
                  <a:gd name="T6" fmla="*/ 0 w 25"/>
                  <a:gd name="T7" fmla="*/ 1 h 15"/>
                  <a:gd name="T8" fmla="*/ 4 w 25"/>
                  <a:gd name="T9" fmla="*/ 15 h 15"/>
                  <a:gd name="T10" fmla="*/ 12 w 25"/>
                  <a:gd name="T11" fmla="*/ 14 h 15"/>
                  <a:gd name="T12" fmla="*/ 24 w 25"/>
                  <a:gd name="T13" fmla="*/ 15 h 15"/>
                  <a:gd name="T14" fmla="*/ 25 w 25"/>
                  <a:gd name="T15" fmla="*/ 7 h 1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5"/>
                  <a:gd name="T25" fmla="*/ 0 h 15"/>
                  <a:gd name="T26" fmla="*/ 25 w 25"/>
                  <a:gd name="T27" fmla="*/ 15 h 1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5" h="15">
                    <a:moveTo>
                      <a:pt x="25" y="7"/>
                    </a:moveTo>
                    <a:lnTo>
                      <a:pt x="21" y="0"/>
                    </a:lnTo>
                    <a:lnTo>
                      <a:pt x="9" y="0"/>
                    </a:lnTo>
                    <a:lnTo>
                      <a:pt x="0" y="1"/>
                    </a:lnTo>
                    <a:lnTo>
                      <a:pt x="4" y="15"/>
                    </a:lnTo>
                    <a:lnTo>
                      <a:pt x="12" y="14"/>
                    </a:lnTo>
                    <a:lnTo>
                      <a:pt x="24" y="15"/>
                    </a:lnTo>
                    <a:lnTo>
                      <a:pt x="25" y="7"/>
                    </a:lnTo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78" name="Freeform 266"/>
              <p:cNvSpPr>
                <a:spLocks/>
              </p:cNvSpPr>
              <p:nvPr>
                <p:custDataLst>
                  <p:tags r:id="rId203"/>
                </p:custDataLst>
              </p:nvPr>
            </p:nvSpPr>
            <p:spPr bwMode="auto">
              <a:xfrm>
                <a:off x="2748" y="1754"/>
                <a:ext cx="54" cy="62"/>
              </a:xfrm>
              <a:custGeom>
                <a:avLst/>
                <a:gdLst>
                  <a:gd name="T0" fmla="*/ 119 w 365"/>
                  <a:gd name="T1" fmla="*/ 94 h 416"/>
                  <a:gd name="T2" fmla="*/ 86 w 365"/>
                  <a:gd name="T3" fmla="*/ 184 h 416"/>
                  <a:gd name="T4" fmla="*/ 0 w 365"/>
                  <a:gd name="T5" fmla="*/ 284 h 416"/>
                  <a:gd name="T6" fmla="*/ 25 w 365"/>
                  <a:gd name="T7" fmla="*/ 314 h 416"/>
                  <a:gd name="T8" fmla="*/ 65 w 365"/>
                  <a:gd name="T9" fmla="*/ 323 h 416"/>
                  <a:gd name="T10" fmla="*/ 86 w 365"/>
                  <a:gd name="T11" fmla="*/ 311 h 416"/>
                  <a:gd name="T12" fmla="*/ 125 w 365"/>
                  <a:gd name="T13" fmla="*/ 299 h 416"/>
                  <a:gd name="T14" fmla="*/ 147 w 365"/>
                  <a:gd name="T15" fmla="*/ 307 h 416"/>
                  <a:gd name="T16" fmla="*/ 170 w 365"/>
                  <a:gd name="T17" fmla="*/ 337 h 416"/>
                  <a:gd name="T18" fmla="*/ 228 w 365"/>
                  <a:gd name="T19" fmla="*/ 357 h 416"/>
                  <a:gd name="T20" fmla="*/ 215 w 365"/>
                  <a:gd name="T21" fmla="*/ 393 h 416"/>
                  <a:gd name="T22" fmla="*/ 244 w 365"/>
                  <a:gd name="T23" fmla="*/ 414 h 416"/>
                  <a:gd name="T24" fmla="*/ 245 w 365"/>
                  <a:gd name="T25" fmla="*/ 380 h 416"/>
                  <a:gd name="T26" fmla="*/ 241 w 365"/>
                  <a:gd name="T27" fmla="*/ 371 h 416"/>
                  <a:gd name="T28" fmla="*/ 253 w 365"/>
                  <a:gd name="T29" fmla="*/ 345 h 416"/>
                  <a:gd name="T30" fmla="*/ 256 w 365"/>
                  <a:gd name="T31" fmla="*/ 276 h 416"/>
                  <a:gd name="T32" fmla="*/ 242 w 365"/>
                  <a:gd name="T33" fmla="*/ 249 h 416"/>
                  <a:gd name="T34" fmla="*/ 265 w 365"/>
                  <a:gd name="T35" fmla="*/ 239 h 416"/>
                  <a:gd name="T36" fmla="*/ 310 w 365"/>
                  <a:gd name="T37" fmla="*/ 237 h 416"/>
                  <a:gd name="T38" fmla="*/ 331 w 365"/>
                  <a:gd name="T39" fmla="*/ 200 h 416"/>
                  <a:gd name="T40" fmla="*/ 350 w 365"/>
                  <a:gd name="T41" fmla="*/ 163 h 416"/>
                  <a:gd name="T42" fmla="*/ 334 w 365"/>
                  <a:gd name="T43" fmla="*/ 154 h 416"/>
                  <a:gd name="T44" fmla="*/ 315 w 365"/>
                  <a:gd name="T45" fmla="*/ 131 h 416"/>
                  <a:gd name="T46" fmla="*/ 346 w 365"/>
                  <a:gd name="T47" fmla="*/ 122 h 416"/>
                  <a:gd name="T48" fmla="*/ 365 w 365"/>
                  <a:gd name="T49" fmla="*/ 67 h 416"/>
                  <a:gd name="T50" fmla="*/ 346 w 365"/>
                  <a:gd name="T51" fmla="*/ 36 h 416"/>
                  <a:gd name="T52" fmla="*/ 328 w 365"/>
                  <a:gd name="T53" fmla="*/ 20 h 416"/>
                  <a:gd name="T54" fmla="*/ 270 w 365"/>
                  <a:gd name="T55" fmla="*/ 11 h 416"/>
                  <a:gd name="T56" fmla="*/ 184 w 365"/>
                  <a:gd name="T57" fmla="*/ 41 h 416"/>
                  <a:gd name="T58" fmla="*/ 180 w 365"/>
                  <a:gd name="T59" fmla="*/ 62 h 416"/>
                  <a:gd name="T60" fmla="*/ 179 w 365"/>
                  <a:gd name="T61" fmla="*/ 96 h 416"/>
                  <a:gd name="T62" fmla="*/ 199 w 365"/>
                  <a:gd name="T63" fmla="*/ 113 h 416"/>
                  <a:gd name="T64" fmla="*/ 207 w 365"/>
                  <a:gd name="T65" fmla="*/ 136 h 416"/>
                  <a:gd name="T66" fmla="*/ 220 w 365"/>
                  <a:gd name="T67" fmla="*/ 166 h 416"/>
                  <a:gd name="T68" fmla="*/ 192 w 365"/>
                  <a:gd name="T69" fmla="*/ 191 h 416"/>
                  <a:gd name="T70" fmla="*/ 151 w 365"/>
                  <a:gd name="T71" fmla="*/ 166 h 416"/>
                  <a:gd name="T72" fmla="*/ 156 w 365"/>
                  <a:gd name="T73" fmla="*/ 136 h 416"/>
                  <a:gd name="T74" fmla="*/ 164 w 365"/>
                  <a:gd name="T75" fmla="*/ 103 h 41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365"/>
                  <a:gd name="T115" fmla="*/ 0 h 416"/>
                  <a:gd name="T116" fmla="*/ 365 w 365"/>
                  <a:gd name="T117" fmla="*/ 416 h 41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365" h="416">
                    <a:moveTo>
                      <a:pt x="147" y="85"/>
                    </a:moveTo>
                    <a:lnTo>
                      <a:pt x="119" y="94"/>
                    </a:lnTo>
                    <a:lnTo>
                      <a:pt x="110" y="101"/>
                    </a:lnTo>
                    <a:lnTo>
                      <a:pt x="86" y="184"/>
                    </a:lnTo>
                    <a:lnTo>
                      <a:pt x="74" y="209"/>
                    </a:lnTo>
                    <a:lnTo>
                      <a:pt x="0" y="284"/>
                    </a:lnTo>
                    <a:lnTo>
                      <a:pt x="23" y="304"/>
                    </a:lnTo>
                    <a:lnTo>
                      <a:pt x="25" y="314"/>
                    </a:lnTo>
                    <a:lnTo>
                      <a:pt x="47" y="322"/>
                    </a:lnTo>
                    <a:lnTo>
                      <a:pt x="65" y="323"/>
                    </a:lnTo>
                    <a:lnTo>
                      <a:pt x="88" y="322"/>
                    </a:lnTo>
                    <a:lnTo>
                      <a:pt x="86" y="311"/>
                    </a:lnTo>
                    <a:lnTo>
                      <a:pt x="114" y="311"/>
                    </a:lnTo>
                    <a:lnTo>
                      <a:pt x="125" y="299"/>
                    </a:lnTo>
                    <a:lnTo>
                      <a:pt x="140" y="316"/>
                    </a:lnTo>
                    <a:lnTo>
                      <a:pt x="147" y="307"/>
                    </a:lnTo>
                    <a:lnTo>
                      <a:pt x="158" y="311"/>
                    </a:lnTo>
                    <a:lnTo>
                      <a:pt x="170" y="337"/>
                    </a:lnTo>
                    <a:lnTo>
                      <a:pt x="193" y="330"/>
                    </a:lnTo>
                    <a:lnTo>
                      <a:pt x="228" y="357"/>
                    </a:lnTo>
                    <a:lnTo>
                      <a:pt x="221" y="386"/>
                    </a:lnTo>
                    <a:lnTo>
                      <a:pt x="215" y="393"/>
                    </a:lnTo>
                    <a:lnTo>
                      <a:pt x="215" y="416"/>
                    </a:lnTo>
                    <a:lnTo>
                      <a:pt x="244" y="414"/>
                    </a:lnTo>
                    <a:lnTo>
                      <a:pt x="252" y="397"/>
                    </a:lnTo>
                    <a:lnTo>
                      <a:pt x="245" y="380"/>
                    </a:lnTo>
                    <a:lnTo>
                      <a:pt x="238" y="378"/>
                    </a:lnTo>
                    <a:lnTo>
                      <a:pt x="241" y="371"/>
                    </a:lnTo>
                    <a:lnTo>
                      <a:pt x="261" y="352"/>
                    </a:lnTo>
                    <a:lnTo>
                      <a:pt x="253" y="345"/>
                    </a:lnTo>
                    <a:lnTo>
                      <a:pt x="266" y="314"/>
                    </a:lnTo>
                    <a:lnTo>
                      <a:pt x="256" y="276"/>
                    </a:lnTo>
                    <a:lnTo>
                      <a:pt x="240" y="263"/>
                    </a:lnTo>
                    <a:lnTo>
                      <a:pt x="242" y="249"/>
                    </a:lnTo>
                    <a:lnTo>
                      <a:pt x="257" y="244"/>
                    </a:lnTo>
                    <a:lnTo>
                      <a:pt x="265" y="239"/>
                    </a:lnTo>
                    <a:lnTo>
                      <a:pt x="282" y="247"/>
                    </a:lnTo>
                    <a:lnTo>
                      <a:pt x="310" y="237"/>
                    </a:lnTo>
                    <a:lnTo>
                      <a:pt x="326" y="226"/>
                    </a:lnTo>
                    <a:lnTo>
                      <a:pt x="331" y="200"/>
                    </a:lnTo>
                    <a:lnTo>
                      <a:pt x="350" y="186"/>
                    </a:lnTo>
                    <a:lnTo>
                      <a:pt x="350" y="163"/>
                    </a:lnTo>
                    <a:lnTo>
                      <a:pt x="342" y="150"/>
                    </a:lnTo>
                    <a:lnTo>
                      <a:pt x="334" y="154"/>
                    </a:lnTo>
                    <a:lnTo>
                      <a:pt x="315" y="145"/>
                    </a:lnTo>
                    <a:lnTo>
                      <a:pt x="315" y="131"/>
                    </a:lnTo>
                    <a:lnTo>
                      <a:pt x="321" y="119"/>
                    </a:lnTo>
                    <a:lnTo>
                      <a:pt x="346" y="122"/>
                    </a:lnTo>
                    <a:lnTo>
                      <a:pt x="350" y="92"/>
                    </a:lnTo>
                    <a:lnTo>
                      <a:pt x="365" y="67"/>
                    </a:lnTo>
                    <a:lnTo>
                      <a:pt x="358" y="36"/>
                    </a:lnTo>
                    <a:lnTo>
                      <a:pt x="346" y="36"/>
                    </a:lnTo>
                    <a:lnTo>
                      <a:pt x="343" y="23"/>
                    </a:lnTo>
                    <a:lnTo>
                      <a:pt x="328" y="20"/>
                    </a:lnTo>
                    <a:lnTo>
                      <a:pt x="318" y="0"/>
                    </a:lnTo>
                    <a:lnTo>
                      <a:pt x="270" y="11"/>
                    </a:lnTo>
                    <a:lnTo>
                      <a:pt x="241" y="9"/>
                    </a:lnTo>
                    <a:lnTo>
                      <a:pt x="184" y="41"/>
                    </a:lnTo>
                    <a:lnTo>
                      <a:pt x="179" y="60"/>
                    </a:lnTo>
                    <a:lnTo>
                      <a:pt x="180" y="62"/>
                    </a:lnTo>
                    <a:lnTo>
                      <a:pt x="182" y="73"/>
                    </a:lnTo>
                    <a:lnTo>
                      <a:pt x="179" y="96"/>
                    </a:lnTo>
                    <a:lnTo>
                      <a:pt x="209" y="101"/>
                    </a:lnTo>
                    <a:lnTo>
                      <a:pt x="199" y="113"/>
                    </a:lnTo>
                    <a:lnTo>
                      <a:pt x="201" y="127"/>
                    </a:lnTo>
                    <a:lnTo>
                      <a:pt x="207" y="136"/>
                    </a:lnTo>
                    <a:lnTo>
                      <a:pt x="226" y="138"/>
                    </a:lnTo>
                    <a:lnTo>
                      <a:pt x="220" y="166"/>
                    </a:lnTo>
                    <a:lnTo>
                      <a:pt x="203" y="175"/>
                    </a:lnTo>
                    <a:lnTo>
                      <a:pt x="192" y="191"/>
                    </a:lnTo>
                    <a:lnTo>
                      <a:pt x="142" y="175"/>
                    </a:lnTo>
                    <a:lnTo>
                      <a:pt x="151" y="166"/>
                    </a:lnTo>
                    <a:lnTo>
                      <a:pt x="147" y="133"/>
                    </a:lnTo>
                    <a:lnTo>
                      <a:pt x="156" y="136"/>
                    </a:lnTo>
                    <a:lnTo>
                      <a:pt x="170" y="122"/>
                    </a:lnTo>
                    <a:lnTo>
                      <a:pt x="164" y="103"/>
                    </a:lnTo>
                    <a:lnTo>
                      <a:pt x="147" y="85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79" name="Freeform 267"/>
              <p:cNvSpPr>
                <a:spLocks/>
              </p:cNvSpPr>
              <p:nvPr>
                <p:custDataLst>
                  <p:tags r:id="rId204"/>
                </p:custDataLst>
              </p:nvPr>
            </p:nvSpPr>
            <p:spPr bwMode="auto">
              <a:xfrm>
                <a:off x="2877" y="1808"/>
                <a:ext cx="97" cy="57"/>
              </a:xfrm>
              <a:custGeom>
                <a:avLst/>
                <a:gdLst>
                  <a:gd name="T0" fmla="*/ 570 w 648"/>
                  <a:gd name="T1" fmla="*/ 151 h 386"/>
                  <a:gd name="T2" fmla="*/ 541 w 648"/>
                  <a:gd name="T3" fmla="*/ 162 h 386"/>
                  <a:gd name="T4" fmla="*/ 525 w 648"/>
                  <a:gd name="T5" fmla="*/ 135 h 386"/>
                  <a:gd name="T6" fmla="*/ 502 w 648"/>
                  <a:gd name="T7" fmla="*/ 116 h 386"/>
                  <a:gd name="T8" fmla="*/ 455 w 648"/>
                  <a:gd name="T9" fmla="*/ 93 h 386"/>
                  <a:gd name="T10" fmla="*/ 469 w 648"/>
                  <a:gd name="T11" fmla="*/ 123 h 386"/>
                  <a:gd name="T12" fmla="*/ 440 w 648"/>
                  <a:gd name="T13" fmla="*/ 144 h 386"/>
                  <a:gd name="T14" fmla="*/ 414 w 648"/>
                  <a:gd name="T15" fmla="*/ 112 h 386"/>
                  <a:gd name="T16" fmla="*/ 399 w 648"/>
                  <a:gd name="T17" fmla="*/ 81 h 386"/>
                  <a:gd name="T18" fmla="*/ 412 w 648"/>
                  <a:gd name="T19" fmla="*/ 72 h 386"/>
                  <a:gd name="T20" fmla="*/ 391 w 648"/>
                  <a:gd name="T21" fmla="*/ 58 h 386"/>
                  <a:gd name="T22" fmla="*/ 370 w 648"/>
                  <a:gd name="T23" fmla="*/ 66 h 386"/>
                  <a:gd name="T24" fmla="*/ 358 w 648"/>
                  <a:gd name="T25" fmla="*/ 58 h 386"/>
                  <a:gd name="T26" fmla="*/ 317 w 648"/>
                  <a:gd name="T27" fmla="*/ 40 h 386"/>
                  <a:gd name="T28" fmla="*/ 297 w 648"/>
                  <a:gd name="T29" fmla="*/ 9 h 386"/>
                  <a:gd name="T30" fmla="*/ 272 w 648"/>
                  <a:gd name="T31" fmla="*/ 4 h 386"/>
                  <a:gd name="T32" fmla="*/ 272 w 648"/>
                  <a:gd name="T33" fmla="*/ 14 h 386"/>
                  <a:gd name="T34" fmla="*/ 253 w 648"/>
                  <a:gd name="T35" fmla="*/ 26 h 386"/>
                  <a:gd name="T36" fmla="*/ 232 w 648"/>
                  <a:gd name="T37" fmla="*/ 29 h 386"/>
                  <a:gd name="T38" fmla="*/ 218 w 648"/>
                  <a:gd name="T39" fmla="*/ 0 h 386"/>
                  <a:gd name="T40" fmla="*/ 211 w 648"/>
                  <a:gd name="T41" fmla="*/ 21 h 386"/>
                  <a:gd name="T42" fmla="*/ 165 w 648"/>
                  <a:gd name="T43" fmla="*/ 38 h 386"/>
                  <a:gd name="T44" fmla="*/ 126 w 648"/>
                  <a:gd name="T45" fmla="*/ 51 h 386"/>
                  <a:gd name="T46" fmla="*/ 113 w 648"/>
                  <a:gd name="T47" fmla="*/ 61 h 386"/>
                  <a:gd name="T48" fmla="*/ 93 w 648"/>
                  <a:gd name="T49" fmla="*/ 81 h 386"/>
                  <a:gd name="T50" fmla="*/ 72 w 648"/>
                  <a:gd name="T51" fmla="*/ 95 h 386"/>
                  <a:gd name="T52" fmla="*/ 34 w 648"/>
                  <a:gd name="T53" fmla="*/ 109 h 386"/>
                  <a:gd name="T54" fmla="*/ 0 w 648"/>
                  <a:gd name="T55" fmla="*/ 130 h 386"/>
                  <a:gd name="T56" fmla="*/ 31 w 648"/>
                  <a:gd name="T57" fmla="*/ 167 h 386"/>
                  <a:gd name="T58" fmla="*/ 21 w 648"/>
                  <a:gd name="T59" fmla="*/ 211 h 386"/>
                  <a:gd name="T60" fmla="*/ 30 w 648"/>
                  <a:gd name="T61" fmla="*/ 232 h 386"/>
                  <a:gd name="T62" fmla="*/ 61 w 648"/>
                  <a:gd name="T63" fmla="*/ 262 h 386"/>
                  <a:gd name="T64" fmla="*/ 95 w 648"/>
                  <a:gd name="T65" fmla="*/ 292 h 386"/>
                  <a:gd name="T66" fmla="*/ 121 w 648"/>
                  <a:gd name="T67" fmla="*/ 319 h 386"/>
                  <a:gd name="T68" fmla="*/ 138 w 648"/>
                  <a:gd name="T69" fmla="*/ 324 h 386"/>
                  <a:gd name="T70" fmla="*/ 167 w 648"/>
                  <a:gd name="T71" fmla="*/ 370 h 386"/>
                  <a:gd name="T72" fmla="*/ 237 w 648"/>
                  <a:gd name="T73" fmla="*/ 375 h 386"/>
                  <a:gd name="T74" fmla="*/ 375 w 648"/>
                  <a:gd name="T75" fmla="*/ 361 h 386"/>
                  <a:gd name="T76" fmla="*/ 458 w 648"/>
                  <a:gd name="T77" fmla="*/ 363 h 386"/>
                  <a:gd name="T78" fmla="*/ 465 w 648"/>
                  <a:gd name="T79" fmla="*/ 360 h 386"/>
                  <a:gd name="T80" fmla="*/ 476 w 648"/>
                  <a:gd name="T81" fmla="*/ 338 h 386"/>
                  <a:gd name="T82" fmla="*/ 489 w 648"/>
                  <a:gd name="T83" fmla="*/ 330 h 386"/>
                  <a:gd name="T84" fmla="*/ 500 w 648"/>
                  <a:gd name="T85" fmla="*/ 337 h 386"/>
                  <a:gd name="T86" fmla="*/ 509 w 648"/>
                  <a:gd name="T87" fmla="*/ 335 h 386"/>
                  <a:gd name="T88" fmla="*/ 519 w 648"/>
                  <a:gd name="T89" fmla="*/ 338 h 386"/>
                  <a:gd name="T90" fmla="*/ 535 w 648"/>
                  <a:gd name="T91" fmla="*/ 335 h 386"/>
                  <a:gd name="T92" fmla="*/ 544 w 648"/>
                  <a:gd name="T93" fmla="*/ 328 h 386"/>
                  <a:gd name="T94" fmla="*/ 551 w 648"/>
                  <a:gd name="T95" fmla="*/ 324 h 386"/>
                  <a:gd name="T96" fmla="*/ 556 w 648"/>
                  <a:gd name="T97" fmla="*/ 319 h 386"/>
                  <a:gd name="T98" fmla="*/ 560 w 648"/>
                  <a:gd name="T99" fmla="*/ 307 h 386"/>
                  <a:gd name="T100" fmla="*/ 570 w 648"/>
                  <a:gd name="T101" fmla="*/ 305 h 386"/>
                  <a:gd name="T102" fmla="*/ 578 w 648"/>
                  <a:gd name="T103" fmla="*/ 294 h 386"/>
                  <a:gd name="T104" fmla="*/ 582 w 648"/>
                  <a:gd name="T105" fmla="*/ 280 h 386"/>
                  <a:gd name="T106" fmla="*/ 586 w 648"/>
                  <a:gd name="T107" fmla="*/ 268 h 386"/>
                  <a:gd name="T108" fmla="*/ 595 w 648"/>
                  <a:gd name="T109" fmla="*/ 266 h 386"/>
                  <a:gd name="T110" fmla="*/ 607 w 648"/>
                  <a:gd name="T111" fmla="*/ 257 h 386"/>
                  <a:gd name="T112" fmla="*/ 620 w 648"/>
                  <a:gd name="T113" fmla="*/ 239 h 386"/>
                  <a:gd name="T114" fmla="*/ 627 w 648"/>
                  <a:gd name="T115" fmla="*/ 236 h 386"/>
                  <a:gd name="T116" fmla="*/ 639 w 648"/>
                  <a:gd name="T117" fmla="*/ 239 h 386"/>
                  <a:gd name="T118" fmla="*/ 648 w 648"/>
                  <a:gd name="T119" fmla="*/ 232 h 386"/>
                  <a:gd name="T120" fmla="*/ 625 w 648"/>
                  <a:gd name="T121" fmla="*/ 204 h 386"/>
                  <a:gd name="T122" fmla="*/ 619 w 648"/>
                  <a:gd name="T123" fmla="*/ 172 h 38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648"/>
                  <a:gd name="T187" fmla="*/ 0 h 386"/>
                  <a:gd name="T188" fmla="*/ 648 w 648"/>
                  <a:gd name="T189" fmla="*/ 386 h 38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648" h="386">
                    <a:moveTo>
                      <a:pt x="583" y="164"/>
                    </a:moveTo>
                    <a:lnTo>
                      <a:pt x="570" y="151"/>
                    </a:lnTo>
                    <a:lnTo>
                      <a:pt x="553" y="162"/>
                    </a:lnTo>
                    <a:lnTo>
                      <a:pt x="541" y="162"/>
                    </a:lnTo>
                    <a:lnTo>
                      <a:pt x="539" y="128"/>
                    </a:lnTo>
                    <a:lnTo>
                      <a:pt x="525" y="135"/>
                    </a:lnTo>
                    <a:lnTo>
                      <a:pt x="534" y="116"/>
                    </a:lnTo>
                    <a:lnTo>
                      <a:pt x="502" y="116"/>
                    </a:lnTo>
                    <a:lnTo>
                      <a:pt x="469" y="93"/>
                    </a:lnTo>
                    <a:lnTo>
                      <a:pt x="455" y="93"/>
                    </a:lnTo>
                    <a:lnTo>
                      <a:pt x="455" y="102"/>
                    </a:lnTo>
                    <a:lnTo>
                      <a:pt x="469" y="123"/>
                    </a:lnTo>
                    <a:lnTo>
                      <a:pt x="449" y="132"/>
                    </a:lnTo>
                    <a:lnTo>
                      <a:pt x="440" y="144"/>
                    </a:lnTo>
                    <a:lnTo>
                      <a:pt x="425" y="139"/>
                    </a:lnTo>
                    <a:lnTo>
                      <a:pt x="414" y="112"/>
                    </a:lnTo>
                    <a:lnTo>
                      <a:pt x="388" y="96"/>
                    </a:lnTo>
                    <a:lnTo>
                      <a:pt x="399" y="81"/>
                    </a:lnTo>
                    <a:lnTo>
                      <a:pt x="408" y="79"/>
                    </a:lnTo>
                    <a:lnTo>
                      <a:pt x="412" y="72"/>
                    </a:lnTo>
                    <a:lnTo>
                      <a:pt x="403" y="59"/>
                    </a:lnTo>
                    <a:lnTo>
                      <a:pt x="391" y="58"/>
                    </a:lnTo>
                    <a:lnTo>
                      <a:pt x="390" y="61"/>
                    </a:lnTo>
                    <a:lnTo>
                      <a:pt x="370" y="66"/>
                    </a:lnTo>
                    <a:lnTo>
                      <a:pt x="370" y="54"/>
                    </a:lnTo>
                    <a:lnTo>
                      <a:pt x="358" y="58"/>
                    </a:lnTo>
                    <a:lnTo>
                      <a:pt x="351" y="45"/>
                    </a:lnTo>
                    <a:lnTo>
                      <a:pt x="317" y="40"/>
                    </a:lnTo>
                    <a:lnTo>
                      <a:pt x="301" y="28"/>
                    </a:lnTo>
                    <a:lnTo>
                      <a:pt x="297" y="9"/>
                    </a:lnTo>
                    <a:lnTo>
                      <a:pt x="288" y="2"/>
                    </a:lnTo>
                    <a:lnTo>
                      <a:pt x="272" y="4"/>
                    </a:lnTo>
                    <a:lnTo>
                      <a:pt x="268" y="9"/>
                    </a:lnTo>
                    <a:lnTo>
                      <a:pt x="272" y="14"/>
                    </a:lnTo>
                    <a:lnTo>
                      <a:pt x="269" y="26"/>
                    </a:lnTo>
                    <a:lnTo>
                      <a:pt x="253" y="26"/>
                    </a:lnTo>
                    <a:lnTo>
                      <a:pt x="248" y="35"/>
                    </a:lnTo>
                    <a:lnTo>
                      <a:pt x="232" y="29"/>
                    </a:lnTo>
                    <a:lnTo>
                      <a:pt x="231" y="9"/>
                    </a:lnTo>
                    <a:lnTo>
                      <a:pt x="218" y="0"/>
                    </a:lnTo>
                    <a:lnTo>
                      <a:pt x="199" y="5"/>
                    </a:lnTo>
                    <a:lnTo>
                      <a:pt x="211" y="21"/>
                    </a:lnTo>
                    <a:lnTo>
                      <a:pt x="187" y="35"/>
                    </a:lnTo>
                    <a:lnTo>
                      <a:pt x="165" y="38"/>
                    </a:lnTo>
                    <a:lnTo>
                      <a:pt x="158" y="49"/>
                    </a:lnTo>
                    <a:lnTo>
                      <a:pt x="126" y="51"/>
                    </a:lnTo>
                    <a:lnTo>
                      <a:pt x="121" y="66"/>
                    </a:lnTo>
                    <a:lnTo>
                      <a:pt x="113" y="61"/>
                    </a:lnTo>
                    <a:lnTo>
                      <a:pt x="98" y="65"/>
                    </a:lnTo>
                    <a:lnTo>
                      <a:pt x="93" y="81"/>
                    </a:lnTo>
                    <a:lnTo>
                      <a:pt x="76" y="82"/>
                    </a:lnTo>
                    <a:lnTo>
                      <a:pt x="72" y="95"/>
                    </a:lnTo>
                    <a:lnTo>
                      <a:pt x="54" y="95"/>
                    </a:lnTo>
                    <a:lnTo>
                      <a:pt x="34" y="109"/>
                    </a:lnTo>
                    <a:lnTo>
                      <a:pt x="22" y="105"/>
                    </a:lnTo>
                    <a:lnTo>
                      <a:pt x="0" y="130"/>
                    </a:lnTo>
                    <a:lnTo>
                      <a:pt x="14" y="160"/>
                    </a:lnTo>
                    <a:lnTo>
                      <a:pt x="31" y="167"/>
                    </a:lnTo>
                    <a:lnTo>
                      <a:pt x="24" y="183"/>
                    </a:lnTo>
                    <a:lnTo>
                      <a:pt x="21" y="211"/>
                    </a:lnTo>
                    <a:lnTo>
                      <a:pt x="28" y="217"/>
                    </a:lnTo>
                    <a:lnTo>
                      <a:pt x="30" y="232"/>
                    </a:lnTo>
                    <a:lnTo>
                      <a:pt x="40" y="245"/>
                    </a:lnTo>
                    <a:lnTo>
                      <a:pt x="61" y="262"/>
                    </a:lnTo>
                    <a:lnTo>
                      <a:pt x="70" y="259"/>
                    </a:lnTo>
                    <a:lnTo>
                      <a:pt x="95" y="292"/>
                    </a:lnTo>
                    <a:lnTo>
                      <a:pt x="114" y="305"/>
                    </a:lnTo>
                    <a:lnTo>
                      <a:pt x="121" y="319"/>
                    </a:lnTo>
                    <a:lnTo>
                      <a:pt x="132" y="312"/>
                    </a:lnTo>
                    <a:lnTo>
                      <a:pt x="138" y="324"/>
                    </a:lnTo>
                    <a:lnTo>
                      <a:pt x="149" y="328"/>
                    </a:lnTo>
                    <a:lnTo>
                      <a:pt x="167" y="370"/>
                    </a:lnTo>
                    <a:lnTo>
                      <a:pt x="211" y="386"/>
                    </a:lnTo>
                    <a:lnTo>
                      <a:pt x="237" y="375"/>
                    </a:lnTo>
                    <a:lnTo>
                      <a:pt x="269" y="322"/>
                    </a:lnTo>
                    <a:lnTo>
                      <a:pt x="375" y="361"/>
                    </a:lnTo>
                    <a:lnTo>
                      <a:pt x="435" y="349"/>
                    </a:lnTo>
                    <a:lnTo>
                      <a:pt x="458" y="363"/>
                    </a:lnTo>
                    <a:lnTo>
                      <a:pt x="461" y="370"/>
                    </a:lnTo>
                    <a:lnTo>
                      <a:pt x="465" y="360"/>
                    </a:lnTo>
                    <a:lnTo>
                      <a:pt x="465" y="351"/>
                    </a:lnTo>
                    <a:lnTo>
                      <a:pt x="476" y="338"/>
                    </a:lnTo>
                    <a:lnTo>
                      <a:pt x="477" y="335"/>
                    </a:lnTo>
                    <a:lnTo>
                      <a:pt x="489" y="330"/>
                    </a:lnTo>
                    <a:lnTo>
                      <a:pt x="494" y="333"/>
                    </a:lnTo>
                    <a:lnTo>
                      <a:pt x="500" y="337"/>
                    </a:lnTo>
                    <a:lnTo>
                      <a:pt x="506" y="337"/>
                    </a:lnTo>
                    <a:lnTo>
                      <a:pt x="509" y="335"/>
                    </a:lnTo>
                    <a:lnTo>
                      <a:pt x="513" y="335"/>
                    </a:lnTo>
                    <a:lnTo>
                      <a:pt x="519" y="338"/>
                    </a:lnTo>
                    <a:lnTo>
                      <a:pt x="529" y="335"/>
                    </a:lnTo>
                    <a:lnTo>
                      <a:pt x="535" y="335"/>
                    </a:lnTo>
                    <a:lnTo>
                      <a:pt x="541" y="331"/>
                    </a:lnTo>
                    <a:lnTo>
                      <a:pt x="544" y="328"/>
                    </a:lnTo>
                    <a:lnTo>
                      <a:pt x="547" y="326"/>
                    </a:lnTo>
                    <a:lnTo>
                      <a:pt x="551" y="324"/>
                    </a:lnTo>
                    <a:lnTo>
                      <a:pt x="553" y="324"/>
                    </a:lnTo>
                    <a:lnTo>
                      <a:pt x="556" y="319"/>
                    </a:lnTo>
                    <a:lnTo>
                      <a:pt x="558" y="312"/>
                    </a:lnTo>
                    <a:lnTo>
                      <a:pt x="560" y="307"/>
                    </a:lnTo>
                    <a:lnTo>
                      <a:pt x="565" y="308"/>
                    </a:lnTo>
                    <a:lnTo>
                      <a:pt x="570" y="305"/>
                    </a:lnTo>
                    <a:lnTo>
                      <a:pt x="575" y="301"/>
                    </a:lnTo>
                    <a:lnTo>
                      <a:pt x="578" y="294"/>
                    </a:lnTo>
                    <a:lnTo>
                      <a:pt x="582" y="289"/>
                    </a:lnTo>
                    <a:lnTo>
                      <a:pt x="582" y="280"/>
                    </a:lnTo>
                    <a:lnTo>
                      <a:pt x="583" y="273"/>
                    </a:lnTo>
                    <a:lnTo>
                      <a:pt x="586" y="268"/>
                    </a:lnTo>
                    <a:lnTo>
                      <a:pt x="590" y="266"/>
                    </a:lnTo>
                    <a:lnTo>
                      <a:pt x="595" y="266"/>
                    </a:lnTo>
                    <a:lnTo>
                      <a:pt x="600" y="261"/>
                    </a:lnTo>
                    <a:lnTo>
                      <a:pt x="607" y="257"/>
                    </a:lnTo>
                    <a:lnTo>
                      <a:pt x="614" y="245"/>
                    </a:lnTo>
                    <a:lnTo>
                      <a:pt x="620" y="239"/>
                    </a:lnTo>
                    <a:lnTo>
                      <a:pt x="623" y="238"/>
                    </a:lnTo>
                    <a:lnTo>
                      <a:pt x="627" y="236"/>
                    </a:lnTo>
                    <a:lnTo>
                      <a:pt x="635" y="238"/>
                    </a:lnTo>
                    <a:lnTo>
                      <a:pt x="639" y="239"/>
                    </a:lnTo>
                    <a:lnTo>
                      <a:pt x="645" y="232"/>
                    </a:lnTo>
                    <a:lnTo>
                      <a:pt x="648" y="232"/>
                    </a:lnTo>
                    <a:lnTo>
                      <a:pt x="644" y="209"/>
                    </a:lnTo>
                    <a:lnTo>
                      <a:pt x="625" y="204"/>
                    </a:lnTo>
                    <a:lnTo>
                      <a:pt x="619" y="190"/>
                    </a:lnTo>
                    <a:lnTo>
                      <a:pt x="619" y="172"/>
                    </a:lnTo>
                    <a:lnTo>
                      <a:pt x="583" y="164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80" name="Freeform 268"/>
              <p:cNvSpPr>
                <a:spLocks/>
              </p:cNvSpPr>
              <p:nvPr>
                <p:custDataLst>
                  <p:tags r:id="rId205"/>
                </p:custDataLst>
              </p:nvPr>
            </p:nvSpPr>
            <p:spPr bwMode="auto">
              <a:xfrm>
                <a:off x="2836" y="1854"/>
                <a:ext cx="116" cy="58"/>
              </a:xfrm>
              <a:custGeom>
                <a:avLst/>
                <a:gdLst>
                  <a:gd name="T0" fmla="*/ 733 w 772"/>
                  <a:gd name="T1" fmla="*/ 48 h 387"/>
                  <a:gd name="T2" fmla="*/ 707 w 772"/>
                  <a:gd name="T3" fmla="*/ 27 h 387"/>
                  <a:gd name="T4" fmla="*/ 541 w 772"/>
                  <a:gd name="T5" fmla="*/ 0 h 387"/>
                  <a:gd name="T6" fmla="*/ 483 w 772"/>
                  <a:gd name="T7" fmla="*/ 64 h 387"/>
                  <a:gd name="T8" fmla="*/ 410 w 772"/>
                  <a:gd name="T9" fmla="*/ 66 h 387"/>
                  <a:gd name="T10" fmla="*/ 385 w 772"/>
                  <a:gd name="T11" fmla="*/ 57 h 387"/>
                  <a:gd name="T12" fmla="*/ 376 w 772"/>
                  <a:gd name="T13" fmla="*/ 92 h 387"/>
                  <a:gd name="T14" fmla="*/ 316 w 772"/>
                  <a:gd name="T15" fmla="*/ 128 h 387"/>
                  <a:gd name="T16" fmla="*/ 331 w 772"/>
                  <a:gd name="T17" fmla="*/ 184 h 387"/>
                  <a:gd name="T18" fmla="*/ 349 w 772"/>
                  <a:gd name="T19" fmla="*/ 196 h 387"/>
                  <a:gd name="T20" fmla="*/ 340 w 772"/>
                  <a:gd name="T21" fmla="*/ 223 h 387"/>
                  <a:gd name="T22" fmla="*/ 324 w 772"/>
                  <a:gd name="T23" fmla="*/ 200 h 387"/>
                  <a:gd name="T24" fmla="*/ 293 w 772"/>
                  <a:gd name="T25" fmla="*/ 196 h 387"/>
                  <a:gd name="T26" fmla="*/ 265 w 772"/>
                  <a:gd name="T27" fmla="*/ 189 h 387"/>
                  <a:gd name="T28" fmla="*/ 205 w 772"/>
                  <a:gd name="T29" fmla="*/ 203 h 387"/>
                  <a:gd name="T30" fmla="*/ 186 w 772"/>
                  <a:gd name="T31" fmla="*/ 216 h 387"/>
                  <a:gd name="T32" fmla="*/ 167 w 772"/>
                  <a:gd name="T33" fmla="*/ 232 h 387"/>
                  <a:gd name="T34" fmla="*/ 139 w 772"/>
                  <a:gd name="T35" fmla="*/ 223 h 387"/>
                  <a:gd name="T36" fmla="*/ 112 w 772"/>
                  <a:gd name="T37" fmla="*/ 207 h 387"/>
                  <a:gd name="T38" fmla="*/ 91 w 772"/>
                  <a:gd name="T39" fmla="*/ 209 h 387"/>
                  <a:gd name="T40" fmla="*/ 72 w 772"/>
                  <a:gd name="T41" fmla="*/ 249 h 387"/>
                  <a:gd name="T42" fmla="*/ 66 w 772"/>
                  <a:gd name="T43" fmla="*/ 237 h 387"/>
                  <a:gd name="T44" fmla="*/ 56 w 772"/>
                  <a:gd name="T45" fmla="*/ 223 h 387"/>
                  <a:gd name="T46" fmla="*/ 42 w 772"/>
                  <a:gd name="T47" fmla="*/ 211 h 387"/>
                  <a:gd name="T48" fmla="*/ 26 w 772"/>
                  <a:gd name="T49" fmla="*/ 203 h 387"/>
                  <a:gd name="T50" fmla="*/ 4 w 772"/>
                  <a:gd name="T51" fmla="*/ 212 h 387"/>
                  <a:gd name="T52" fmla="*/ 0 w 772"/>
                  <a:gd name="T53" fmla="*/ 253 h 387"/>
                  <a:gd name="T54" fmla="*/ 5 w 772"/>
                  <a:gd name="T55" fmla="*/ 285 h 387"/>
                  <a:gd name="T56" fmla="*/ 33 w 772"/>
                  <a:gd name="T57" fmla="*/ 297 h 387"/>
                  <a:gd name="T58" fmla="*/ 83 w 772"/>
                  <a:gd name="T59" fmla="*/ 292 h 387"/>
                  <a:gd name="T60" fmla="*/ 91 w 772"/>
                  <a:gd name="T61" fmla="*/ 311 h 387"/>
                  <a:gd name="T62" fmla="*/ 146 w 772"/>
                  <a:gd name="T63" fmla="*/ 325 h 387"/>
                  <a:gd name="T64" fmla="*/ 176 w 772"/>
                  <a:gd name="T65" fmla="*/ 292 h 387"/>
                  <a:gd name="T66" fmla="*/ 204 w 772"/>
                  <a:gd name="T67" fmla="*/ 290 h 387"/>
                  <a:gd name="T68" fmla="*/ 254 w 772"/>
                  <a:gd name="T69" fmla="*/ 281 h 387"/>
                  <a:gd name="T70" fmla="*/ 270 w 772"/>
                  <a:gd name="T71" fmla="*/ 311 h 387"/>
                  <a:gd name="T72" fmla="*/ 342 w 772"/>
                  <a:gd name="T73" fmla="*/ 354 h 387"/>
                  <a:gd name="T74" fmla="*/ 402 w 772"/>
                  <a:gd name="T75" fmla="*/ 366 h 387"/>
                  <a:gd name="T76" fmla="*/ 455 w 772"/>
                  <a:gd name="T77" fmla="*/ 378 h 387"/>
                  <a:gd name="T78" fmla="*/ 496 w 772"/>
                  <a:gd name="T79" fmla="*/ 387 h 387"/>
                  <a:gd name="T80" fmla="*/ 549 w 772"/>
                  <a:gd name="T81" fmla="*/ 346 h 387"/>
                  <a:gd name="T82" fmla="*/ 600 w 772"/>
                  <a:gd name="T83" fmla="*/ 339 h 387"/>
                  <a:gd name="T84" fmla="*/ 635 w 772"/>
                  <a:gd name="T85" fmla="*/ 322 h 387"/>
                  <a:gd name="T86" fmla="*/ 682 w 772"/>
                  <a:gd name="T87" fmla="*/ 292 h 387"/>
                  <a:gd name="T88" fmla="*/ 680 w 772"/>
                  <a:gd name="T89" fmla="*/ 258 h 387"/>
                  <a:gd name="T90" fmla="*/ 699 w 772"/>
                  <a:gd name="T91" fmla="*/ 230 h 387"/>
                  <a:gd name="T92" fmla="*/ 700 w 772"/>
                  <a:gd name="T93" fmla="*/ 203 h 387"/>
                  <a:gd name="T94" fmla="*/ 690 w 772"/>
                  <a:gd name="T95" fmla="*/ 186 h 387"/>
                  <a:gd name="T96" fmla="*/ 711 w 772"/>
                  <a:gd name="T97" fmla="*/ 195 h 387"/>
                  <a:gd name="T98" fmla="*/ 744 w 772"/>
                  <a:gd name="T99" fmla="*/ 166 h 387"/>
                  <a:gd name="T100" fmla="*/ 737 w 772"/>
                  <a:gd name="T101" fmla="*/ 110 h 387"/>
                  <a:gd name="T102" fmla="*/ 735 w 772"/>
                  <a:gd name="T103" fmla="*/ 53 h 38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772"/>
                  <a:gd name="T157" fmla="*/ 0 h 387"/>
                  <a:gd name="T158" fmla="*/ 772 w 772"/>
                  <a:gd name="T159" fmla="*/ 387 h 387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772" h="387">
                    <a:moveTo>
                      <a:pt x="735" y="53"/>
                    </a:moveTo>
                    <a:lnTo>
                      <a:pt x="733" y="48"/>
                    </a:lnTo>
                    <a:lnTo>
                      <a:pt x="730" y="41"/>
                    </a:lnTo>
                    <a:lnTo>
                      <a:pt x="707" y="27"/>
                    </a:lnTo>
                    <a:lnTo>
                      <a:pt x="647" y="39"/>
                    </a:lnTo>
                    <a:lnTo>
                      <a:pt x="541" y="0"/>
                    </a:lnTo>
                    <a:lnTo>
                      <a:pt x="509" y="53"/>
                    </a:lnTo>
                    <a:lnTo>
                      <a:pt x="483" y="64"/>
                    </a:lnTo>
                    <a:lnTo>
                      <a:pt x="439" y="48"/>
                    </a:lnTo>
                    <a:lnTo>
                      <a:pt x="410" y="66"/>
                    </a:lnTo>
                    <a:lnTo>
                      <a:pt x="390" y="55"/>
                    </a:lnTo>
                    <a:lnTo>
                      <a:pt x="385" y="57"/>
                    </a:lnTo>
                    <a:lnTo>
                      <a:pt x="384" y="80"/>
                    </a:lnTo>
                    <a:lnTo>
                      <a:pt x="376" y="92"/>
                    </a:lnTo>
                    <a:lnTo>
                      <a:pt x="333" y="112"/>
                    </a:lnTo>
                    <a:lnTo>
                      <a:pt x="316" y="128"/>
                    </a:lnTo>
                    <a:lnTo>
                      <a:pt x="340" y="165"/>
                    </a:lnTo>
                    <a:lnTo>
                      <a:pt x="331" y="184"/>
                    </a:lnTo>
                    <a:lnTo>
                      <a:pt x="347" y="186"/>
                    </a:lnTo>
                    <a:lnTo>
                      <a:pt x="349" y="196"/>
                    </a:lnTo>
                    <a:lnTo>
                      <a:pt x="344" y="219"/>
                    </a:lnTo>
                    <a:lnTo>
                      <a:pt x="340" y="223"/>
                    </a:lnTo>
                    <a:lnTo>
                      <a:pt x="321" y="211"/>
                    </a:lnTo>
                    <a:lnTo>
                      <a:pt x="324" y="200"/>
                    </a:lnTo>
                    <a:lnTo>
                      <a:pt x="316" y="193"/>
                    </a:lnTo>
                    <a:lnTo>
                      <a:pt x="293" y="196"/>
                    </a:lnTo>
                    <a:lnTo>
                      <a:pt x="284" y="188"/>
                    </a:lnTo>
                    <a:lnTo>
                      <a:pt x="265" y="189"/>
                    </a:lnTo>
                    <a:lnTo>
                      <a:pt x="261" y="202"/>
                    </a:lnTo>
                    <a:lnTo>
                      <a:pt x="205" y="203"/>
                    </a:lnTo>
                    <a:lnTo>
                      <a:pt x="200" y="216"/>
                    </a:lnTo>
                    <a:lnTo>
                      <a:pt x="186" y="216"/>
                    </a:lnTo>
                    <a:lnTo>
                      <a:pt x="185" y="225"/>
                    </a:lnTo>
                    <a:lnTo>
                      <a:pt x="167" y="232"/>
                    </a:lnTo>
                    <a:lnTo>
                      <a:pt x="142" y="233"/>
                    </a:lnTo>
                    <a:lnTo>
                      <a:pt x="139" y="223"/>
                    </a:lnTo>
                    <a:lnTo>
                      <a:pt x="134" y="214"/>
                    </a:lnTo>
                    <a:lnTo>
                      <a:pt x="112" y="207"/>
                    </a:lnTo>
                    <a:lnTo>
                      <a:pt x="102" y="212"/>
                    </a:lnTo>
                    <a:lnTo>
                      <a:pt x="91" y="209"/>
                    </a:lnTo>
                    <a:lnTo>
                      <a:pt x="93" y="226"/>
                    </a:lnTo>
                    <a:lnTo>
                      <a:pt x="72" y="249"/>
                    </a:lnTo>
                    <a:lnTo>
                      <a:pt x="63" y="249"/>
                    </a:lnTo>
                    <a:lnTo>
                      <a:pt x="66" y="237"/>
                    </a:lnTo>
                    <a:lnTo>
                      <a:pt x="54" y="235"/>
                    </a:lnTo>
                    <a:lnTo>
                      <a:pt x="56" y="223"/>
                    </a:lnTo>
                    <a:lnTo>
                      <a:pt x="46" y="219"/>
                    </a:lnTo>
                    <a:lnTo>
                      <a:pt x="42" y="211"/>
                    </a:lnTo>
                    <a:lnTo>
                      <a:pt x="30" y="211"/>
                    </a:lnTo>
                    <a:lnTo>
                      <a:pt x="26" y="203"/>
                    </a:lnTo>
                    <a:lnTo>
                      <a:pt x="20" y="212"/>
                    </a:lnTo>
                    <a:lnTo>
                      <a:pt x="4" y="212"/>
                    </a:lnTo>
                    <a:lnTo>
                      <a:pt x="12" y="233"/>
                    </a:lnTo>
                    <a:lnTo>
                      <a:pt x="0" y="253"/>
                    </a:lnTo>
                    <a:lnTo>
                      <a:pt x="9" y="271"/>
                    </a:lnTo>
                    <a:lnTo>
                      <a:pt x="5" y="285"/>
                    </a:lnTo>
                    <a:lnTo>
                      <a:pt x="33" y="288"/>
                    </a:lnTo>
                    <a:lnTo>
                      <a:pt x="33" y="297"/>
                    </a:lnTo>
                    <a:lnTo>
                      <a:pt x="57" y="315"/>
                    </a:lnTo>
                    <a:lnTo>
                      <a:pt x="83" y="292"/>
                    </a:lnTo>
                    <a:lnTo>
                      <a:pt x="93" y="299"/>
                    </a:lnTo>
                    <a:lnTo>
                      <a:pt x="91" y="311"/>
                    </a:lnTo>
                    <a:lnTo>
                      <a:pt x="119" y="322"/>
                    </a:lnTo>
                    <a:lnTo>
                      <a:pt x="146" y="325"/>
                    </a:lnTo>
                    <a:lnTo>
                      <a:pt x="160" y="297"/>
                    </a:lnTo>
                    <a:lnTo>
                      <a:pt x="176" y="292"/>
                    </a:lnTo>
                    <a:lnTo>
                      <a:pt x="185" y="297"/>
                    </a:lnTo>
                    <a:lnTo>
                      <a:pt x="204" y="290"/>
                    </a:lnTo>
                    <a:lnTo>
                      <a:pt x="217" y="295"/>
                    </a:lnTo>
                    <a:lnTo>
                      <a:pt x="254" y="281"/>
                    </a:lnTo>
                    <a:lnTo>
                      <a:pt x="255" y="306"/>
                    </a:lnTo>
                    <a:lnTo>
                      <a:pt x="270" y="311"/>
                    </a:lnTo>
                    <a:lnTo>
                      <a:pt x="284" y="338"/>
                    </a:lnTo>
                    <a:lnTo>
                      <a:pt x="342" y="354"/>
                    </a:lnTo>
                    <a:lnTo>
                      <a:pt x="381" y="359"/>
                    </a:lnTo>
                    <a:lnTo>
                      <a:pt x="402" y="366"/>
                    </a:lnTo>
                    <a:lnTo>
                      <a:pt x="449" y="371"/>
                    </a:lnTo>
                    <a:lnTo>
                      <a:pt x="455" y="378"/>
                    </a:lnTo>
                    <a:lnTo>
                      <a:pt x="483" y="376"/>
                    </a:lnTo>
                    <a:lnTo>
                      <a:pt x="496" y="387"/>
                    </a:lnTo>
                    <a:lnTo>
                      <a:pt x="524" y="354"/>
                    </a:lnTo>
                    <a:lnTo>
                      <a:pt x="549" y="346"/>
                    </a:lnTo>
                    <a:lnTo>
                      <a:pt x="586" y="352"/>
                    </a:lnTo>
                    <a:lnTo>
                      <a:pt x="600" y="339"/>
                    </a:lnTo>
                    <a:lnTo>
                      <a:pt x="639" y="346"/>
                    </a:lnTo>
                    <a:lnTo>
                      <a:pt x="635" y="322"/>
                    </a:lnTo>
                    <a:lnTo>
                      <a:pt x="667" y="311"/>
                    </a:lnTo>
                    <a:lnTo>
                      <a:pt x="682" y="292"/>
                    </a:lnTo>
                    <a:lnTo>
                      <a:pt x="688" y="271"/>
                    </a:lnTo>
                    <a:lnTo>
                      <a:pt x="680" y="258"/>
                    </a:lnTo>
                    <a:lnTo>
                      <a:pt x="682" y="233"/>
                    </a:lnTo>
                    <a:lnTo>
                      <a:pt x="699" y="230"/>
                    </a:lnTo>
                    <a:lnTo>
                      <a:pt x="707" y="216"/>
                    </a:lnTo>
                    <a:lnTo>
                      <a:pt x="700" y="203"/>
                    </a:lnTo>
                    <a:lnTo>
                      <a:pt x="680" y="198"/>
                    </a:lnTo>
                    <a:lnTo>
                      <a:pt x="690" y="186"/>
                    </a:lnTo>
                    <a:lnTo>
                      <a:pt x="705" y="186"/>
                    </a:lnTo>
                    <a:lnTo>
                      <a:pt x="711" y="195"/>
                    </a:lnTo>
                    <a:lnTo>
                      <a:pt x="742" y="191"/>
                    </a:lnTo>
                    <a:lnTo>
                      <a:pt x="744" y="166"/>
                    </a:lnTo>
                    <a:lnTo>
                      <a:pt x="772" y="147"/>
                    </a:lnTo>
                    <a:lnTo>
                      <a:pt x="737" y="110"/>
                    </a:lnTo>
                    <a:lnTo>
                      <a:pt x="732" y="92"/>
                    </a:lnTo>
                    <a:lnTo>
                      <a:pt x="735" y="53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81" name="Freeform 269"/>
              <p:cNvSpPr>
                <a:spLocks/>
              </p:cNvSpPr>
              <p:nvPr>
                <p:custDataLst>
                  <p:tags r:id="rId206"/>
                </p:custDataLst>
              </p:nvPr>
            </p:nvSpPr>
            <p:spPr bwMode="auto">
              <a:xfrm>
                <a:off x="2770" y="1275"/>
                <a:ext cx="384" cy="367"/>
              </a:xfrm>
              <a:custGeom>
                <a:avLst/>
                <a:gdLst>
                  <a:gd name="T0" fmla="*/ 2153 w 2556"/>
                  <a:gd name="T1" fmla="*/ 117 h 2470"/>
                  <a:gd name="T2" fmla="*/ 1970 w 2556"/>
                  <a:gd name="T3" fmla="*/ 185 h 2470"/>
                  <a:gd name="T4" fmla="*/ 1922 w 2556"/>
                  <a:gd name="T5" fmla="*/ 58 h 2470"/>
                  <a:gd name="T6" fmla="*/ 1795 w 2556"/>
                  <a:gd name="T7" fmla="*/ 213 h 2470"/>
                  <a:gd name="T8" fmla="*/ 1631 w 2556"/>
                  <a:gd name="T9" fmla="*/ 223 h 2470"/>
                  <a:gd name="T10" fmla="*/ 1500 w 2556"/>
                  <a:gd name="T11" fmla="*/ 303 h 2470"/>
                  <a:gd name="T12" fmla="*/ 1402 w 2556"/>
                  <a:gd name="T13" fmla="*/ 379 h 2470"/>
                  <a:gd name="T14" fmla="*/ 1270 w 2556"/>
                  <a:gd name="T15" fmla="*/ 421 h 2470"/>
                  <a:gd name="T16" fmla="*/ 1164 w 2556"/>
                  <a:gd name="T17" fmla="*/ 513 h 2470"/>
                  <a:gd name="T18" fmla="*/ 1122 w 2556"/>
                  <a:gd name="T19" fmla="*/ 651 h 2470"/>
                  <a:gd name="T20" fmla="*/ 1058 w 2556"/>
                  <a:gd name="T21" fmla="*/ 689 h 2470"/>
                  <a:gd name="T22" fmla="*/ 954 w 2556"/>
                  <a:gd name="T23" fmla="*/ 749 h 2470"/>
                  <a:gd name="T24" fmla="*/ 890 w 2556"/>
                  <a:gd name="T25" fmla="*/ 830 h 2470"/>
                  <a:gd name="T26" fmla="*/ 810 w 2556"/>
                  <a:gd name="T27" fmla="*/ 909 h 2470"/>
                  <a:gd name="T28" fmla="*/ 795 w 2556"/>
                  <a:gd name="T29" fmla="*/ 1044 h 2470"/>
                  <a:gd name="T30" fmla="*/ 710 w 2556"/>
                  <a:gd name="T31" fmla="*/ 1192 h 2470"/>
                  <a:gd name="T32" fmla="*/ 641 w 2556"/>
                  <a:gd name="T33" fmla="*/ 1303 h 2470"/>
                  <a:gd name="T34" fmla="*/ 498 w 2556"/>
                  <a:gd name="T35" fmla="*/ 1390 h 2470"/>
                  <a:gd name="T36" fmla="*/ 391 w 2556"/>
                  <a:gd name="T37" fmla="*/ 1511 h 2470"/>
                  <a:gd name="T38" fmla="*/ 259 w 2556"/>
                  <a:gd name="T39" fmla="*/ 1602 h 2470"/>
                  <a:gd name="T40" fmla="*/ 198 w 2556"/>
                  <a:gd name="T41" fmla="*/ 1668 h 2470"/>
                  <a:gd name="T42" fmla="*/ 59 w 2556"/>
                  <a:gd name="T43" fmla="*/ 1740 h 2470"/>
                  <a:gd name="T44" fmla="*/ 81 w 2556"/>
                  <a:gd name="T45" fmla="*/ 1807 h 2470"/>
                  <a:gd name="T46" fmla="*/ 3 w 2556"/>
                  <a:gd name="T47" fmla="*/ 1892 h 2470"/>
                  <a:gd name="T48" fmla="*/ 27 w 2556"/>
                  <a:gd name="T49" fmla="*/ 2023 h 2470"/>
                  <a:gd name="T50" fmla="*/ 54 w 2556"/>
                  <a:gd name="T51" fmla="*/ 2091 h 2470"/>
                  <a:gd name="T52" fmla="*/ 91 w 2556"/>
                  <a:gd name="T53" fmla="*/ 2164 h 2470"/>
                  <a:gd name="T54" fmla="*/ 47 w 2556"/>
                  <a:gd name="T55" fmla="*/ 2181 h 2470"/>
                  <a:gd name="T56" fmla="*/ 36 w 2556"/>
                  <a:gd name="T57" fmla="*/ 2228 h 2470"/>
                  <a:gd name="T58" fmla="*/ 81 w 2556"/>
                  <a:gd name="T59" fmla="*/ 2221 h 2470"/>
                  <a:gd name="T60" fmla="*/ 124 w 2556"/>
                  <a:gd name="T61" fmla="*/ 2246 h 2470"/>
                  <a:gd name="T62" fmla="*/ 104 w 2556"/>
                  <a:gd name="T63" fmla="*/ 2304 h 2470"/>
                  <a:gd name="T64" fmla="*/ 49 w 2556"/>
                  <a:gd name="T65" fmla="*/ 2299 h 2470"/>
                  <a:gd name="T66" fmla="*/ 163 w 2556"/>
                  <a:gd name="T67" fmla="*/ 2437 h 2470"/>
                  <a:gd name="T68" fmla="*/ 288 w 2556"/>
                  <a:gd name="T69" fmla="*/ 2454 h 2470"/>
                  <a:gd name="T70" fmla="*/ 463 w 2556"/>
                  <a:gd name="T71" fmla="*/ 2295 h 2470"/>
                  <a:gd name="T72" fmla="*/ 530 w 2556"/>
                  <a:gd name="T73" fmla="*/ 2232 h 2470"/>
                  <a:gd name="T74" fmla="*/ 568 w 2556"/>
                  <a:gd name="T75" fmla="*/ 2276 h 2470"/>
                  <a:gd name="T76" fmla="*/ 645 w 2556"/>
                  <a:gd name="T77" fmla="*/ 2318 h 2470"/>
                  <a:gd name="T78" fmla="*/ 730 w 2556"/>
                  <a:gd name="T79" fmla="*/ 2114 h 2470"/>
                  <a:gd name="T80" fmla="*/ 767 w 2556"/>
                  <a:gd name="T81" fmla="*/ 1887 h 2470"/>
                  <a:gd name="T82" fmla="*/ 697 w 2556"/>
                  <a:gd name="T83" fmla="*/ 1576 h 2470"/>
                  <a:gd name="T84" fmla="*/ 841 w 2556"/>
                  <a:gd name="T85" fmla="*/ 1411 h 2470"/>
                  <a:gd name="T86" fmla="*/ 857 w 2556"/>
                  <a:gd name="T87" fmla="*/ 1296 h 2470"/>
                  <a:gd name="T88" fmla="*/ 987 w 2556"/>
                  <a:gd name="T89" fmla="*/ 1008 h 2470"/>
                  <a:gd name="T90" fmla="*/ 1186 w 2556"/>
                  <a:gd name="T91" fmla="*/ 642 h 2470"/>
                  <a:gd name="T92" fmla="*/ 1295 w 2556"/>
                  <a:gd name="T93" fmla="*/ 531 h 2470"/>
                  <a:gd name="T94" fmla="*/ 1545 w 2556"/>
                  <a:gd name="T95" fmla="*/ 430 h 2470"/>
                  <a:gd name="T96" fmla="*/ 1738 w 2556"/>
                  <a:gd name="T97" fmla="*/ 497 h 2470"/>
                  <a:gd name="T98" fmla="*/ 2032 w 2556"/>
                  <a:gd name="T99" fmla="*/ 416 h 2470"/>
                  <a:gd name="T100" fmla="*/ 2224 w 2556"/>
                  <a:gd name="T101" fmla="*/ 239 h 2470"/>
                  <a:gd name="T102" fmla="*/ 2330 w 2556"/>
                  <a:gd name="T103" fmla="*/ 432 h 2470"/>
                  <a:gd name="T104" fmla="*/ 2481 w 2556"/>
                  <a:gd name="T105" fmla="*/ 338 h 2470"/>
                  <a:gd name="T106" fmla="*/ 2427 w 2556"/>
                  <a:gd name="T107" fmla="*/ 278 h 2470"/>
                  <a:gd name="T108" fmla="*/ 2533 w 2556"/>
                  <a:gd name="T109" fmla="*/ 151 h 2470"/>
                  <a:gd name="T110" fmla="*/ 2335 w 2556"/>
                  <a:gd name="T111" fmla="*/ 32 h 2470"/>
                  <a:gd name="T112" fmla="*/ 2288 w 2556"/>
                  <a:gd name="T113" fmla="*/ 14 h 2470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2556"/>
                  <a:gd name="T172" fmla="*/ 0 h 2470"/>
                  <a:gd name="T173" fmla="*/ 2556 w 2556"/>
                  <a:gd name="T174" fmla="*/ 2470 h 2470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2556" h="2470">
                    <a:moveTo>
                      <a:pt x="2288" y="14"/>
                    </a:moveTo>
                    <a:lnTo>
                      <a:pt x="2277" y="0"/>
                    </a:lnTo>
                    <a:lnTo>
                      <a:pt x="2252" y="0"/>
                    </a:lnTo>
                    <a:lnTo>
                      <a:pt x="2210" y="11"/>
                    </a:lnTo>
                    <a:lnTo>
                      <a:pt x="2172" y="95"/>
                    </a:lnTo>
                    <a:lnTo>
                      <a:pt x="2153" y="117"/>
                    </a:lnTo>
                    <a:lnTo>
                      <a:pt x="2122" y="133"/>
                    </a:lnTo>
                    <a:lnTo>
                      <a:pt x="2121" y="21"/>
                    </a:lnTo>
                    <a:lnTo>
                      <a:pt x="2088" y="48"/>
                    </a:lnTo>
                    <a:lnTo>
                      <a:pt x="2019" y="139"/>
                    </a:lnTo>
                    <a:lnTo>
                      <a:pt x="1989" y="193"/>
                    </a:lnTo>
                    <a:lnTo>
                      <a:pt x="1970" y="185"/>
                    </a:lnTo>
                    <a:lnTo>
                      <a:pt x="1975" y="125"/>
                    </a:lnTo>
                    <a:lnTo>
                      <a:pt x="1986" y="98"/>
                    </a:lnTo>
                    <a:lnTo>
                      <a:pt x="2044" y="25"/>
                    </a:lnTo>
                    <a:lnTo>
                      <a:pt x="2002" y="23"/>
                    </a:lnTo>
                    <a:lnTo>
                      <a:pt x="1949" y="41"/>
                    </a:lnTo>
                    <a:lnTo>
                      <a:pt x="1922" y="58"/>
                    </a:lnTo>
                    <a:lnTo>
                      <a:pt x="1901" y="87"/>
                    </a:lnTo>
                    <a:lnTo>
                      <a:pt x="1887" y="116"/>
                    </a:lnTo>
                    <a:lnTo>
                      <a:pt x="1861" y="110"/>
                    </a:lnTo>
                    <a:lnTo>
                      <a:pt x="1848" y="116"/>
                    </a:lnTo>
                    <a:lnTo>
                      <a:pt x="1817" y="156"/>
                    </a:lnTo>
                    <a:lnTo>
                      <a:pt x="1795" y="213"/>
                    </a:lnTo>
                    <a:lnTo>
                      <a:pt x="1787" y="227"/>
                    </a:lnTo>
                    <a:lnTo>
                      <a:pt x="1742" y="179"/>
                    </a:lnTo>
                    <a:lnTo>
                      <a:pt x="1700" y="170"/>
                    </a:lnTo>
                    <a:lnTo>
                      <a:pt x="1684" y="197"/>
                    </a:lnTo>
                    <a:lnTo>
                      <a:pt x="1660" y="257"/>
                    </a:lnTo>
                    <a:lnTo>
                      <a:pt x="1631" y="223"/>
                    </a:lnTo>
                    <a:lnTo>
                      <a:pt x="1611" y="213"/>
                    </a:lnTo>
                    <a:lnTo>
                      <a:pt x="1581" y="253"/>
                    </a:lnTo>
                    <a:lnTo>
                      <a:pt x="1545" y="262"/>
                    </a:lnTo>
                    <a:lnTo>
                      <a:pt x="1528" y="315"/>
                    </a:lnTo>
                    <a:lnTo>
                      <a:pt x="1492" y="358"/>
                    </a:lnTo>
                    <a:lnTo>
                      <a:pt x="1500" y="303"/>
                    </a:lnTo>
                    <a:lnTo>
                      <a:pt x="1508" y="276"/>
                    </a:lnTo>
                    <a:lnTo>
                      <a:pt x="1500" y="260"/>
                    </a:lnTo>
                    <a:lnTo>
                      <a:pt x="1488" y="268"/>
                    </a:lnTo>
                    <a:lnTo>
                      <a:pt x="1455" y="347"/>
                    </a:lnTo>
                    <a:lnTo>
                      <a:pt x="1433" y="386"/>
                    </a:lnTo>
                    <a:lnTo>
                      <a:pt x="1402" y="379"/>
                    </a:lnTo>
                    <a:lnTo>
                      <a:pt x="1373" y="358"/>
                    </a:lnTo>
                    <a:lnTo>
                      <a:pt x="1332" y="372"/>
                    </a:lnTo>
                    <a:lnTo>
                      <a:pt x="1308" y="349"/>
                    </a:lnTo>
                    <a:lnTo>
                      <a:pt x="1286" y="411"/>
                    </a:lnTo>
                    <a:lnTo>
                      <a:pt x="1282" y="416"/>
                    </a:lnTo>
                    <a:lnTo>
                      <a:pt x="1270" y="421"/>
                    </a:lnTo>
                    <a:lnTo>
                      <a:pt x="1266" y="416"/>
                    </a:lnTo>
                    <a:lnTo>
                      <a:pt x="1234" y="428"/>
                    </a:lnTo>
                    <a:lnTo>
                      <a:pt x="1224" y="446"/>
                    </a:lnTo>
                    <a:lnTo>
                      <a:pt x="1219" y="469"/>
                    </a:lnTo>
                    <a:lnTo>
                      <a:pt x="1184" y="492"/>
                    </a:lnTo>
                    <a:lnTo>
                      <a:pt x="1164" y="513"/>
                    </a:lnTo>
                    <a:lnTo>
                      <a:pt x="1191" y="541"/>
                    </a:lnTo>
                    <a:lnTo>
                      <a:pt x="1182" y="557"/>
                    </a:lnTo>
                    <a:lnTo>
                      <a:pt x="1151" y="562"/>
                    </a:lnTo>
                    <a:lnTo>
                      <a:pt x="1132" y="557"/>
                    </a:lnTo>
                    <a:lnTo>
                      <a:pt x="1145" y="615"/>
                    </a:lnTo>
                    <a:lnTo>
                      <a:pt x="1122" y="651"/>
                    </a:lnTo>
                    <a:lnTo>
                      <a:pt x="1103" y="644"/>
                    </a:lnTo>
                    <a:lnTo>
                      <a:pt x="1087" y="615"/>
                    </a:lnTo>
                    <a:lnTo>
                      <a:pt x="1073" y="615"/>
                    </a:lnTo>
                    <a:lnTo>
                      <a:pt x="1066" y="640"/>
                    </a:lnTo>
                    <a:lnTo>
                      <a:pt x="1038" y="661"/>
                    </a:lnTo>
                    <a:lnTo>
                      <a:pt x="1058" y="689"/>
                    </a:lnTo>
                    <a:lnTo>
                      <a:pt x="1056" y="705"/>
                    </a:lnTo>
                    <a:lnTo>
                      <a:pt x="1040" y="709"/>
                    </a:lnTo>
                    <a:lnTo>
                      <a:pt x="1021" y="732"/>
                    </a:lnTo>
                    <a:lnTo>
                      <a:pt x="1005" y="723"/>
                    </a:lnTo>
                    <a:lnTo>
                      <a:pt x="980" y="719"/>
                    </a:lnTo>
                    <a:lnTo>
                      <a:pt x="954" y="749"/>
                    </a:lnTo>
                    <a:lnTo>
                      <a:pt x="940" y="758"/>
                    </a:lnTo>
                    <a:lnTo>
                      <a:pt x="944" y="776"/>
                    </a:lnTo>
                    <a:lnTo>
                      <a:pt x="961" y="781"/>
                    </a:lnTo>
                    <a:lnTo>
                      <a:pt x="948" y="800"/>
                    </a:lnTo>
                    <a:lnTo>
                      <a:pt x="922" y="807"/>
                    </a:lnTo>
                    <a:lnTo>
                      <a:pt x="890" y="830"/>
                    </a:lnTo>
                    <a:lnTo>
                      <a:pt x="870" y="833"/>
                    </a:lnTo>
                    <a:lnTo>
                      <a:pt x="861" y="841"/>
                    </a:lnTo>
                    <a:lnTo>
                      <a:pt x="885" y="886"/>
                    </a:lnTo>
                    <a:lnTo>
                      <a:pt x="844" y="892"/>
                    </a:lnTo>
                    <a:lnTo>
                      <a:pt x="825" y="888"/>
                    </a:lnTo>
                    <a:lnTo>
                      <a:pt x="810" y="909"/>
                    </a:lnTo>
                    <a:lnTo>
                      <a:pt x="803" y="931"/>
                    </a:lnTo>
                    <a:lnTo>
                      <a:pt x="812" y="943"/>
                    </a:lnTo>
                    <a:lnTo>
                      <a:pt x="826" y="952"/>
                    </a:lnTo>
                    <a:lnTo>
                      <a:pt x="844" y="984"/>
                    </a:lnTo>
                    <a:lnTo>
                      <a:pt x="801" y="994"/>
                    </a:lnTo>
                    <a:lnTo>
                      <a:pt x="795" y="1044"/>
                    </a:lnTo>
                    <a:lnTo>
                      <a:pt x="758" y="1036"/>
                    </a:lnTo>
                    <a:lnTo>
                      <a:pt x="736" y="1093"/>
                    </a:lnTo>
                    <a:lnTo>
                      <a:pt x="717" y="1128"/>
                    </a:lnTo>
                    <a:lnTo>
                      <a:pt x="738" y="1137"/>
                    </a:lnTo>
                    <a:lnTo>
                      <a:pt x="740" y="1190"/>
                    </a:lnTo>
                    <a:lnTo>
                      <a:pt x="710" y="1192"/>
                    </a:lnTo>
                    <a:lnTo>
                      <a:pt x="701" y="1187"/>
                    </a:lnTo>
                    <a:lnTo>
                      <a:pt x="678" y="1227"/>
                    </a:lnTo>
                    <a:lnTo>
                      <a:pt x="658" y="1254"/>
                    </a:lnTo>
                    <a:lnTo>
                      <a:pt x="637" y="1273"/>
                    </a:lnTo>
                    <a:lnTo>
                      <a:pt x="631" y="1284"/>
                    </a:lnTo>
                    <a:lnTo>
                      <a:pt x="641" y="1303"/>
                    </a:lnTo>
                    <a:lnTo>
                      <a:pt x="626" y="1321"/>
                    </a:lnTo>
                    <a:lnTo>
                      <a:pt x="611" y="1321"/>
                    </a:lnTo>
                    <a:lnTo>
                      <a:pt x="591" y="1307"/>
                    </a:lnTo>
                    <a:lnTo>
                      <a:pt x="580" y="1310"/>
                    </a:lnTo>
                    <a:lnTo>
                      <a:pt x="566" y="1328"/>
                    </a:lnTo>
                    <a:lnTo>
                      <a:pt x="498" y="1390"/>
                    </a:lnTo>
                    <a:lnTo>
                      <a:pt x="480" y="1421"/>
                    </a:lnTo>
                    <a:lnTo>
                      <a:pt x="477" y="1458"/>
                    </a:lnTo>
                    <a:lnTo>
                      <a:pt x="437" y="1492"/>
                    </a:lnTo>
                    <a:lnTo>
                      <a:pt x="416" y="1534"/>
                    </a:lnTo>
                    <a:lnTo>
                      <a:pt x="410" y="1526"/>
                    </a:lnTo>
                    <a:lnTo>
                      <a:pt x="391" y="1511"/>
                    </a:lnTo>
                    <a:lnTo>
                      <a:pt x="356" y="1525"/>
                    </a:lnTo>
                    <a:lnTo>
                      <a:pt x="343" y="1553"/>
                    </a:lnTo>
                    <a:lnTo>
                      <a:pt x="322" y="1574"/>
                    </a:lnTo>
                    <a:lnTo>
                      <a:pt x="319" y="1615"/>
                    </a:lnTo>
                    <a:lnTo>
                      <a:pt x="296" y="1595"/>
                    </a:lnTo>
                    <a:lnTo>
                      <a:pt x="259" y="1602"/>
                    </a:lnTo>
                    <a:lnTo>
                      <a:pt x="207" y="1601"/>
                    </a:lnTo>
                    <a:lnTo>
                      <a:pt x="196" y="1613"/>
                    </a:lnTo>
                    <a:lnTo>
                      <a:pt x="208" y="1639"/>
                    </a:lnTo>
                    <a:lnTo>
                      <a:pt x="252" y="1659"/>
                    </a:lnTo>
                    <a:lnTo>
                      <a:pt x="227" y="1678"/>
                    </a:lnTo>
                    <a:lnTo>
                      <a:pt x="198" y="1668"/>
                    </a:lnTo>
                    <a:lnTo>
                      <a:pt x="161" y="1661"/>
                    </a:lnTo>
                    <a:lnTo>
                      <a:pt x="153" y="1707"/>
                    </a:lnTo>
                    <a:lnTo>
                      <a:pt x="131" y="1715"/>
                    </a:lnTo>
                    <a:lnTo>
                      <a:pt x="106" y="1707"/>
                    </a:lnTo>
                    <a:lnTo>
                      <a:pt x="84" y="1735"/>
                    </a:lnTo>
                    <a:lnTo>
                      <a:pt x="59" y="1740"/>
                    </a:lnTo>
                    <a:lnTo>
                      <a:pt x="48" y="1749"/>
                    </a:lnTo>
                    <a:lnTo>
                      <a:pt x="44" y="1765"/>
                    </a:lnTo>
                    <a:lnTo>
                      <a:pt x="54" y="1779"/>
                    </a:lnTo>
                    <a:lnTo>
                      <a:pt x="73" y="1788"/>
                    </a:lnTo>
                    <a:lnTo>
                      <a:pt x="84" y="1798"/>
                    </a:lnTo>
                    <a:lnTo>
                      <a:pt x="81" y="1807"/>
                    </a:lnTo>
                    <a:lnTo>
                      <a:pt x="60" y="1804"/>
                    </a:lnTo>
                    <a:lnTo>
                      <a:pt x="44" y="1809"/>
                    </a:lnTo>
                    <a:lnTo>
                      <a:pt x="16" y="1812"/>
                    </a:lnTo>
                    <a:lnTo>
                      <a:pt x="12" y="1821"/>
                    </a:lnTo>
                    <a:lnTo>
                      <a:pt x="16" y="1876"/>
                    </a:lnTo>
                    <a:lnTo>
                      <a:pt x="3" y="1892"/>
                    </a:lnTo>
                    <a:lnTo>
                      <a:pt x="14" y="1920"/>
                    </a:lnTo>
                    <a:lnTo>
                      <a:pt x="40" y="1941"/>
                    </a:lnTo>
                    <a:lnTo>
                      <a:pt x="12" y="1963"/>
                    </a:lnTo>
                    <a:lnTo>
                      <a:pt x="0" y="2000"/>
                    </a:lnTo>
                    <a:lnTo>
                      <a:pt x="10" y="2017"/>
                    </a:lnTo>
                    <a:lnTo>
                      <a:pt x="27" y="2023"/>
                    </a:lnTo>
                    <a:lnTo>
                      <a:pt x="47" y="2017"/>
                    </a:lnTo>
                    <a:lnTo>
                      <a:pt x="57" y="2031"/>
                    </a:lnTo>
                    <a:lnTo>
                      <a:pt x="28" y="2065"/>
                    </a:lnTo>
                    <a:lnTo>
                      <a:pt x="12" y="2076"/>
                    </a:lnTo>
                    <a:lnTo>
                      <a:pt x="30" y="2100"/>
                    </a:lnTo>
                    <a:lnTo>
                      <a:pt x="54" y="2091"/>
                    </a:lnTo>
                    <a:lnTo>
                      <a:pt x="89" y="2093"/>
                    </a:lnTo>
                    <a:lnTo>
                      <a:pt x="81" y="2130"/>
                    </a:lnTo>
                    <a:lnTo>
                      <a:pt x="64" y="2141"/>
                    </a:lnTo>
                    <a:lnTo>
                      <a:pt x="55" y="2151"/>
                    </a:lnTo>
                    <a:lnTo>
                      <a:pt x="71" y="2164"/>
                    </a:lnTo>
                    <a:lnTo>
                      <a:pt x="91" y="2164"/>
                    </a:lnTo>
                    <a:lnTo>
                      <a:pt x="119" y="2151"/>
                    </a:lnTo>
                    <a:lnTo>
                      <a:pt x="97" y="2171"/>
                    </a:lnTo>
                    <a:lnTo>
                      <a:pt x="67" y="2178"/>
                    </a:lnTo>
                    <a:lnTo>
                      <a:pt x="75" y="2187"/>
                    </a:lnTo>
                    <a:lnTo>
                      <a:pt x="65" y="2194"/>
                    </a:lnTo>
                    <a:lnTo>
                      <a:pt x="47" y="2181"/>
                    </a:lnTo>
                    <a:lnTo>
                      <a:pt x="44" y="2207"/>
                    </a:lnTo>
                    <a:lnTo>
                      <a:pt x="39" y="2171"/>
                    </a:lnTo>
                    <a:lnTo>
                      <a:pt x="11" y="2207"/>
                    </a:lnTo>
                    <a:lnTo>
                      <a:pt x="20" y="2242"/>
                    </a:lnTo>
                    <a:lnTo>
                      <a:pt x="30" y="2250"/>
                    </a:lnTo>
                    <a:lnTo>
                      <a:pt x="36" y="2228"/>
                    </a:lnTo>
                    <a:lnTo>
                      <a:pt x="36" y="2250"/>
                    </a:lnTo>
                    <a:lnTo>
                      <a:pt x="54" y="2250"/>
                    </a:lnTo>
                    <a:lnTo>
                      <a:pt x="73" y="2237"/>
                    </a:lnTo>
                    <a:lnTo>
                      <a:pt x="69" y="2225"/>
                    </a:lnTo>
                    <a:lnTo>
                      <a:pt x="69" y="2207"/>
                    </a:lnTo>
                    <a:lnTo>
                      <a:pt x="81" y="2221"/>
                    </a:lnTo>
                    <a:lnTo>
                      <a:pt x="82" y="2241"/>
                    </a:lnTo>
                    <a:lnTo>
                      <a:pt x="112" y="2205"/>
                    </a:lnTo>
                    <a:lnTo>
                      <a:pt x="108" y="2223"/>
                    </a:lnTo>
                    <a:lnTo>
                      <a:pt x="88" y="2241"/>
                    </a:lnTo>
                    <a:lnTo>
                      <a:pt x="103" y="2251"/>
                    </a:lnTo>
                    <a:lnTo>
                      <a:pt x="124" y="2246"/>
                    </a:lnTo>
                    <a:lnTo>
                      <a:pt x="103" y="2260"/>
                    </a:lnTo>
                    <a:lnTo>
                      <a:pt x="77" y="2283"/>
                    </a:lnTo>
                    <a:lnTo>
                      <a:pt x="94" y="2306"/>
                    </a:lnTo>
                    <a:lnTo>
                      <a:pt x="106" y="2299"/>
                    </a:lnTo>
                    <a:lnTo>
                      <a:pt x="126" y="2297"/>
                    </a:lnTo>
                    <a:lnTo>
                      <a:pt x="104" y="2304"/>
                    </a:lnTo>
                    <a:lnTo>
                      <a:pt x="98" y="2315"/>
                    </a:lnTo>
                    <a:lnTo>
                      <a:pt x="110" y="2331"/>
                    </a:lnTo>
                    <a:lnTo>
                      <a:pt x="81" y="2310"/>
                    </a:lnTo>
                    <a:lnTo>
                      <a:pt x="67" y="2325"/>
                    </a:lnTo>
                    <a:lnTo>
                      <a:pt x="64" y="2302"/>
                    </a:lnTo>
                    <a:lnTo>
                      <a:pt x="49" y="2299"/>
                    </a:lnTo>
                    <a:lnTo>
                      <a:pt x="54" y="2317"/>
                    </a:lnTo>
                    <a:lnTo>
                      <a:pt x="42" y="2345"/>
                    </a:lnTo>
                    <a:lnTo>
                      <a:pt x="63" y="2389"/>
                    </a:lnTo>
                    <a:lnTo>
                      <a:pt x="88" y="2393"/>
                    </a:lnTo>
                    <a:lnTo>
                      <a:pt x="124" y="2419"/>
                    </a:lnTo>
                    <a:lnTo>
                      <a:pt x="163" y="2437"/>
                    </a:lnTo>
                    <a:lnTo>
                      <a:pt x="147" y="2451"/>
                    </a:lnTo>
                    <a:lnTo>
                      <a:pt x="163" y="2460"/>
                    </a:lnTo>
                    <a:lnTo>
                      <a:pt x="171" y="2444"/>
                    </a:lnTo>
                    <a:lnTo>
                      <a:pt x="186" y="2453"/>
                    </a:lnTo>
                    <a:lnTo>
                      <a:pt x="195" y="2470"/>
                    </a:lnTo>
                    <a:lnTo>
                      <a:pt x="288" y="2454"/>
                    </a:lnTo>
                    <a:lnTo>
                      <a:pt x="300" y="2454"/>
                    </a:lnTo>
                    <a:lnTo>
                      <a:pt x="312" y="2451"/>
                    </a:lnTo>
                    <a:lnTo>
                      <a:pt x="313" y="2437"/>
                    </a:lnTo>
                    <a:lnTo>
                      <a:pt x="431" y="2333"/>
                    </a:lnTo>
                    <a:lnTo>
                      <a:pt x="429" y="2322"/>
                    </a:lnTo>
                    <a:lnTo>
                      <a:pt x="463" y="2295"/>
                    </a:lnTo>
                    <a:lnTo>
                      <a:pt x="486" y="2306"/>
                    </a:lnTo>
                    <a:lnTo>
                      <a:pt x="509" y="2297"/>
                    </a:lnTo>
                    <a:lnTo>
                      <a:pt x="514" y="2283"/>
                    </a:lnTo>
                    <a:lnTo>
                      <a:pt x="529" y="2258"/>
                    </a:lnTo>
                    <a:lnTo>
                      <a:pt x="534" y="2251"/>
                    </a:lnTo>
                    <a:lnTo>
                      <a:pt x="530" y="2232"/>
                    </a:lnTo>
                    <a:lnTo>
                      <a:pt x="533" y="2209"/>
                    </a:lnTo>
                    <a:lnTo>
                      <a:pt x="549" y="2194"/>
                    </a:lnTo>
                    <a:lnTo>
                      <a:pt x="555" y="2218"/>
                    </a:lnTo>
                    <a:lnTo>
                      <a:pt x="546" y="2230"/>
                    </a:lnTo>
                    <a:lnTo>
                      <a:pt x="556" y="2257"/>
                    </a:lnTo>
                    <a:lnTo>
                      <a:pt x="568" y="2276"/>
                    </a:lnTo>
                    <a:lnTo>
                      <a:pt x="574" y="2278"/>
                    </a:lnTo>
                    <a:lnTo>
                      <a:pt x="601" y="2267"/>
                    </a:lnTo>
                    <a:lnTo>
                      <a:pt x="608" y="2283"/>
                    </a:lnTo>
                    <a:lnTo>
                      <a:pt x="621" y="2294"/>
                    </a:lnTo>
                    <a:lnTo>
                      <a:pt x="628" y="2320"/>
                    </a:lnTo>
                    <a:lnTo>
                      <a:pt x="645" y="2318"/>
                    </a:lnTo>
                    <a:lnTo>
                      <a:pt x="660" y="2262"/>
                    </a:lnTo>
                    <a:lnTo>
                      <a:pt x="650" y="2196"/>
                    </a:lnTo>
                    <a:lnTo>
                      <a:pt x="672" y="2180"/>
                    </a:lnTo>
                    <a:lnTo>
                      <a:pt x="678" y="2146"/>
                    </a:lnTo>
                    <a:lnTo>
                      <a:pt x="695" y="2144"/>
                    </a:lnTo>
                    <a:lnTo>
                      <a:pt x="730" y="2114"/>
                    </a:lnTo>
                    <a:lnTo>
                      <a:pt x="731" y="2072"/>
                    </a:lnTo>
                    <a:lnTo>
                      <a:pt x="742" y="2046"/>
                    </a:lnTo>
                    <a:lnTo>
                      <a:pt x="731" y="2012"/>
                    </a:lnTo>
                    <a:lnTo>
                      <a:pt x="706" y="1954"/>
                    </a:lnTo>
                    <a:lnTo>
                      <a:pt x="747" y="1940"/>
                    </a:lnTo>
                    <a:lnTo>
                      <a:pt x="767" y="1887"/>
                    </a:lnTo>
                    <a:lnTo>
                      <a:pt x="754" y="1867"/>
                    </a:lnTo>
                    <a:lnTo>
                      <a:pt x="721" y="1853"/>
                    </a:lnTo>
                    <a:lnTo>
                      <a:pt x="695" y="1821"/>
                    </a:lnTo>
                    <a:lnTo>
                      <a:pt x="710" y="1726"/>
                    </a:lnTo>
                    <a:lnTo>
                      <a:pt x="682" y="1666"/>
                    </a:lnTo>
                    <a:lnTo>
                      <a:pt x="697" y="1576"/>
                    </a:lnTo>
                    <a:lnTo>
                      <a:pt x="701" y="1521"/>
                    </a:lnTo>
                    <a:lnTo>
                      <a:pt x="718" y="1480"/>
                    </a:lnTo>
                    <a:lnTo>
                      <a:pt x="744" y="1439"/>
                    </a:lnTo>
                    <a:lnTo>
                      <a:pt x="773" y="1418"/>
                    </a:lnTo>
                    <a:lnTo>
                      <a:pt x="800" y="1409"/>
                    </a:lnTo>
                    <a:lnTo>
                      <a:pt x="841" y="1411"/>
                    </a:lnTo>
                    <a:lnTo>
                      <a:pt x="874" y="1407"/>
                    </a:lnTo>
                    <a:lnTo>
                      <a:pt x="893" y="1393"/>
                    </a:lnTo>
                    <a:lnTo>
                      <a:pt x="901" y="1379"/>
                    </a:lnTo>
                    <a:lnTo>
                      <a:pt x="889" y="1330"/>
                    </a:lnTo>
                    <a:lnTo>
                      <a:pt x="873" y="1307"/>
                    </a:lnTo>
                    <a:lnTo>
                      <a:pt x="857" y="1296"/>
                    </a:lnTo>
                    <a:lnTo>
                      <a:pt x="905" y="1206"/>
                    </a:lnTo>
                    <a:lnTo>
                      <a:pt x="922" y="1167"/>
                    </a:lnTo>
                    <a:lnTo>
                      <a:pt x="936" y="1116"/>
                    </a:lnTo>
                    <a:lnTo>
                      <a:pt x="938" y="1031"/>
                    </a:lnTo>
                    <a:lnTo>
                      <a:pt x="943" y="1010"/>
                    </a:lnTo>
                    <a:lnTo>
                      <a:pt x="987" y="1008"/>
                    </a:lnTo>
                    <a:lnTo>
                      <a:pt x="1075" y="888"/>
                    </a:lnTo>
                    <a:lnTo>
                      <a:pt x="1102" y="858"/>
                    </a:lnTo>
                    <a:lnTo>
                      <a:pt x="1111" y="828"/>
                    </a:lnTo>
                    <a:lnTo>
                      <a:pt x="1100" y="764"/>
                    </a:lnTo>
                    <a:lnTo>
                      <a:pt x="1167" y="658"/>
                    </a:lnTo>
                    <a:lnTo>
                      <a:pt x="1186" y="642"/>
                    </a:lnTo>
                    <a:lnTo>
                      <a:pt x="1238" y="652"/>
                    </a:lnTo>
                    <a:lnTo>
                      <a:pt x="1268" y="652"/>
                    </a:lnTo>
                    <a:lnTo>
                      <a:pt x="1283" y="626"/>
                    </a:lnTo>
                    <a:lnTo>
                      <a:pt x="1286" y="606"/>
                    </a:lnTo>
                    <a:lnTo>
                      <a:pt x="1287" y="546"/>
                    </a:lnTo>
                    <a:lnTo>
                      <a:pt x="1295" y="531"/>
                    </a:lnTo>
                    <a:lnTo>
                      <a:pt x="1443" y="591"/>
                    </a:lnTo>
                    <a:lnTo>
                      <a:pt x="1458" y="592"/>
                    </a:lnTo>
                    <a:lnTo>
                      <a:pt x="1470" y="569"/>
                    </a:lnTo>
                    <a:lnTo>
                      <a:pt x="1488" y="432"/>
                    </a:lnTo>
                    <a:lnTo>
                      <a:pt x="1528" y="428"/>
                    </a:lnTo>
                    <a:lnTo>
                      <a:pt x="1545" y="430"/>
                    </a:lnTo>
                    <a:lnTo>
                      <a:pt x="1552" y="435"/>
                    </a:lnTo>
                    <a:lnTo>
                      <a:pt x="1595" y="375"/>
                    </a:lnTo>
                    <a:lnTo>
                      <a:pt x="1610" y="366"/>
                    </a:lnTo>
                    <a:lnTo>
                      <a:pt x="1633" y="373"/>
                    </a:lnTo>
                    <a:lnTo>
                      <a:pt x="1714" y="485"/>
                    </a:lnTo>
                    <a:lnTo>
                      <a:pt x="1738" y="497"/>
                    </a:lnTo>
                    <a:lnTo>
                      <a:pt x="1801" y="501"/>
                    </a:lnTo>
                    <a:lnTo>
                      <a:pt x="1873" y="479"/>
                    </a:lnTo>
                    <a:lnTo>
                      <a:pt x="1944" y="538"/>
                    </a:lnTo>
                    <a:lnTo>
                      <a:pt x="1969" y="504"/>
                    </a:lnTo>
                    <a:lnTo>
                      <a:pt x="2024" y="462"/>
                    </a:lnTo>
                    <a:lnTo>
                      <a:pt x="2032" y="416"/>
                    </a:lnTo>
                    <a:lnTo>
                      <a:pt x="2036" y="370"/>
                    </a:lnTo>
                    <a:lnTo>
                      <a:pt x="2048" y="329"/>
                    </a:lnTo>
                    <a:lnTo>
                      <a:pt x="2073" y="289"/>
                    </a:lnTo>
                    <a:lnTo>
                      <a:pt x="2112" y="255"/>
                    </a:lnTo>
                    <a:lnTo>
                      <a:pt x="2199" y="246"/>
                    </a:lnTo>
                    <a:lnTo>
                      <a:pt x="2224" y="239"/>
                    </a:lnTo>
                    <a:lnTo>
                      <a:pt x="2248" y="239"/>
                    </a:lnTo>
                    <a:lnTo>
                      <a:pt x="2298" y="280"/>
                    </a:lnTo>
                    <a:lnTo>
                      <a:pt x="2328" y="290"/>
                    </a:lnTo>
                    <a:lnTo>
                      <a:pt x="2367" y="322"/>
                    </a:lnTo>
                    <a:lnTo>
                      <a:pt x="2368" y="347"/>
                    </a:lnTo>
                    <a:lnTo>
                      <a:pt x="2330" y="432"/>
                    </a:lnTo>
                    <a:lnTo>
                      <a:pt x="2326" y="465"/>
                    </a:lnTo>
                    <a:lnTo>
                      <a:pt x="2326" y="485"/>
                    </a:lnTo>
                    <a:lnTo>
                      <a:pt x="2356" y="456"/>
                    </a:lnTo>
                    <a:lnTo>
                      <a:pt x="2400" y="395"/>
                    </a:lnTo>
                    <a:lnTo>
                      <a:pt x="2447" y="349"/>
                    </a:lnTo>
                    <a:lnTo>
                      <a:pt x="2481" y="338"/>
                    </a:lnTo>
                    <a:lnTo>
                      <a:pt x="2517" y="336"/>
                    </a:lnTo>
                    <a:lnTo>
                      <a:pt x="2538" y="317"/>
                    </a:lnTo>
                    <a:lnTo>
                      <a:pt x="2556" y="290"/>
                    </a:lnTo>
                    <a:lnTo>
                      <a:pt x="2525" y="268"/>
                    </a:lnTo>
                    <a:lnTo>
                      <a:pt x="2489" y="264"/>
                    </a:lnTo>
                    <a:lnTo>
                      <a:pt x="2427" y="278"/>
                    </a:lnTo>
                    <a:lnTo>
                      <a:pt x="2409" y="250"/>
                    </a:lnTo>
                    <a:lnTo>
                      <a:pt x="2363" y="223"/>
                    </a:lnTo>
                    <a:lnTo>
                      <a:pt x="2330" y="186"/>
                    </a:lnTo>
                    <a:lnTo>
                      <a:pt x="2427" y="192"/>
                    </a:lnTo>
                    <a:lnTo>
                      <a:pt x="2478" y="188"/>
                    </a:lnTo>
                    <a:lnTo>
                      <a:pt x="2533" y="151"/>
                    </a:lnTo>
                    <a:lnTo>
                      <a:pt x="2528" y="125"/>
                    </a:lnTo>
                    <a:lnTo>
                      <a:pt x="2498" y="103"/>
                    </a:lnTo>
                    <a:lnTo>
                      <a:pt x="2457" y="102"/>
                    </a:lnTo>
                    <a:lnTo>
                      <a:pt x="2429" y="87"/>
                    </a:lnTo>
                    <a:lnTo>
                      <a:pt x="2355" y="34"/>
                    </a:lnTo>
                    <a:lnTo>
                      <a:pt x="2335" y="32"/>
                    </a:lnTo>
                    <a:lnTo>
                      <a:pt x="2296" y="95"/>
                    </a:lnTo>
                    <a:lnTo>
                      <a:pt x="2286" y="137"/>
                    </a:lnTo>
                    <a:lnTo>
                      <a:pt x="2245" y="126"/>
                    </a:lnTo>
                    <a:lnTo>
                      <a:pt x="2260" y="87"/>
                    </a:lnTo>
                    <a:lnTo>
                      <a:pt x="2256" y="64"/>
                    </a:lnTo>
                    <a:lnTo>
                      <a:pt x="2288" y="14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82" name="Freeform 270"/>
              <p:cNvSpPr>
                <a:spLocks/>
              </p:cNvSpPr>
              <p:nvPr>
                <p:custDataLst>
                  <p:tags r:id="rId207"/>
                </p:custDataLst>
              </p:nvPr>
            </p:nvSpPr>
            <p:spPr bwMode="auto">
              <a:xfrm>
                <a:off x="3001" y="1313"/>
                <a:ext cx="158" cy="282"/>
              </a:xfrm>
              <a:custGeom>
                <a:avLst/>
                <a:gdLst>
                  <a:gd name="T0" fmla="*/ 43 w 1040"/>
                  <a:gd name="T1" fmla="*/ 136 h 1914"/>
                  <a:gd name="T2" fmla="*/ 32 w 1040"/>
                  <a:gd name="T3" fmla="*/ 242 h 1914"/>
                  <a:gd name="T4" fmla="*/ 206 w 1040"/>
                  <a:gd name="T5" fmla="*/ 348 h 1914"/>
                  <a:gd name="T6" fmla="*/ 260 w 1040"/>
                  <a:gd name="T7" fmla="*/ 503 h 1914"/>
                  <a:gd name="T8" fmla="*/ 279 w 1040"/>
                  <a:gd name="T9" fmla="*/ 727 h 1914"/>
                  <a:gd name="T10" fmla="*/ 307 w 1040"/>
                  <a:gd name="T11" fmla="*/ 820 h 1914"/>
                  <a:gd name="T12" fmla="*/ 422 w 1040"/>
                  <a:gd name="T13" fmla="*/ 870 h 1914"/>
                  <a:gd name="T14" fmla="*/ 439 w 1040"/>
                  <a:gd name="T15" fmla="*/ 970 h 1914"/>
                  <a:gd name="T16" fmla="*/ 405 w 1040"/>
                  <a:gd name="T17" fmla="*/ 1008 h 1914"/>
                  <a:gd name="T18" fmla="*/ 186 w 1040"/>
                  <a:gd name="T19" fmla="*/ 1239 h 1914"/>
                  <a:gd name="T20" fmla="*/ 160 w 1040"/>
                  <a:gd name="T21" fmla="*/ 1273 h 1914"/>
                  <a:gd name="T22" fmla="*/ 86 w 1040"/>
                  <a:gd name="T23" fmla="*/ 1312 h 1914"/>
                  <a:gd name="T24" fmla="*/ 66 w 1040"/>
                  <a:gd name="T25" fmla="*/ 1367 h 1914"/>
                  <a:gd name="T26" fmla="*/ 22 w 1040"/>
                  <a:gd name="T27" fmla="*/ 1441 h 1914"/>
                  <a:gd name="T28" fmla="*/ 53 w 1040"/>
                  <a:gd name="T29" fmla="*/ 1498 h 1914"/>
                  <a:gd name="T30" fmla="*/ 75 w 1040"/>
                  <a:gd name="T31" fmla="*/ 1619 h 1914"/>
                  <a:gd name="T32" fmla="*/ 62 w 1040"/>
                  <a:gd name="T33" fmla="*/ 1704 h 1914"/>
                  <a:gd name="T34" fmla="*/ 92 w 1040"/>
                  <a:gd name="T35" fmla="*/ 1810 h 1914"/>
                  <a:gd name="T36" fmla="*/ 157 w 1040"/>
                  <a:gd name="T37" fmla="*/ 1831 h 1914"/>
                  <a:gd name="T38" fmla="*/ 216 w 1040"/>
                  <a:gd name="T39" fmla="*/ 1845 h 1914"/>
                  <a:gd name="T40" fmla="*/ 235 w 1040"/>
                  <a:gd name="T41" fmla="*/ 1914 h 1914"/>
                  <a:gd name="T42" fmla="*/ 311 w 1040"/>
                  <a:gd name="T43" fmla="*/ 1904 h 1914"/>
                  <a:gd name="T44" fmla="*/ 364 w 1040"/>
                  <a:gd name="T45" fmla="*/ 1884 h 1914"/>
                  <a:gd name="T46" fmla="*/ 426 w 1040"/>
                  <a:gd name="T47" fmla="*/ 1863 h 1914"/>
                  <a:gd name="T48" fmla="*/ 495 w 1040"/>
                  <a:gd name="T49" fmla="*/ 1863 h 1914"/>
                  <a:gd name="T50" fmla="*/ 552 w 1040"/>
                  <a:gd name="T51" fmla="*/ 1824 h 1914"/>
                  <a:gd name="T52" fmla="*/ 570 w 1040"/>
                  <a:gd name="T53" fmla="*/ 1821 h 1914"/>
                  <a:gd name="T54" fmla="*/ 625 w 1040"/>
                  <a:gd name="T55" fmla="*/ 1805 h 1914"/>
                  <a:gd name="T56" fmla="*/ 748 w 1040"/>
                  <a:gd name="T57" fmla="*/ 1776 h 1914"/>
                  <a:gd name="T58" fmla="*/ 1016 w 1040"/>
                  <a:gd name="T59" fmla="*/ 1460 h 1914"/>
                  <a:gd name="T60" fmla="*/ 1032 w 1040"/>
                  <a:gd name="T61" fmla="*/ 1356 h 1914"/>
                  <a:gd name="T62" fmla="*/ 904 w 1040"/>
                  <a:gd name="T63" fmla="*/ 1232 h 1914"/>
                  <a:gd name="T64" fmla="*/ 937 w 1040"/>
                  <a:gd name="T65" fmla="*/ 1138 h 1914"/>
                  <a:gd name="T66" fmla="*/ 865 w 1040"/>
                  <a:gd name="T67" fmla="*/ 946 h 1914"/>
                  <a:gd name="T68" fmla="*/ 902 w 1040"/>
                  <a:gd name="T69" fmla="*/ 835 h 1914"/>
                  <a:gd name="T70" fmla="*/ 820 w 1040"/>
                  <a:gd name="T71" fmla="*/ 582 h 1914"/>
                  <a:gd name="T72" fmla="*/ 872 w 1040"/>
                  <a:gd name="T73" fmla="*/ 443 h 1914"/>
                  <a:gd name="T74" fmla="*/ 767 w 1040"/>
                  <a:gd name="T75" fmla="*/ 362 h 1914"/>
                  <a:gd name="T76" fmla="*/ 778 w 1040"/>
                  <a:gd name="T77" fmla="*/ 193 h 1914"/>
                  <a:gd name="T78" fmla="*/ 776 w 1040"/>
                  <a:gd name="T79" fmla="*/ 51 h 1914"/>
                  <a:gd name="T80" fmla="*/ 672 w 1040"/>
                  <a:gd name="T81" fmla="*/ 0 h 1914"/>
                  <a:gd name="T82" fmla="*/ 521 w 1040"/>
                  <a:gd name="T83" fmla="*/ 50 h 1914"/>
                  <a:gd name="T84" fmla="*/ 480 w 1040"/>
                  <a:gd name="T85" fmla="*/ 177 h 1914"/>
                  <a:gd name="T86" fmla="*/ 392 w 1040"/>
                  <a:gd name="T87" fmla="*/ 299 h 1914"/>
                  <a:gd name="T88" fmla="*/ 186 w 1040"/>
                  <a:gd name="T89" fmla="*/ 258 h 1914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040"/>
                  <a:gd name="T136" fmla="*/ 0 h 1914"/>
                  <a:gd name="T137" fmla="*/ 1040 w 1040"/>
                  <a:gd name="T138" fmla="*/ 1914 h 1914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040" h="1914">
                    <a:moveTo>
                      <a:pt x="81" y="134"/>
                    </a:moveTo>
                    <a:lnTo>
                      <a:pt x="58" y="127"/>
                    </a:lnTo>
                    <a:lnTo>
                      <a:pt x="43" y="136"/>
                    </a:lnTo>
                    <a:lnTo>
                      <a:pt x="0" y="196"/>
                    </a:lnTo>
                    <a:lnTo>
                      <a:pt x="5" y="200"/>
                    </a:lnTo>
                    <a:lnTo>
                      <a:pt x="32" y="242"/>
                    </a:lnTo>
                    <a:lnTo>
                      <a:pt x="90" y="302"/>
                    </a:lnTo>
                    <a:lnTo>
                      <a:pt x="137" y="329"/>
                    </a:lnTo>
                    <a:lnTo>
                      <a:pt x="206" y="348"/>
                    </a:lnTo>
                    <a:lnTo>
                      <a:pt x="229" y="369"/>
                    </a:lnTo>
                    <a:lnTo>
                      <a:pt x="263" y="419"/>
                    </a:lnTo>
                    <a:lnTo>
                      <a:pt x="260" y="503"/>
                    </a:lnTo>
                    <a:lnTo>
                      <a:pt x="300" y="621"/>
                    </a:lnTo>
                    <a:lnTo>
                      <a:pt x="302" y="656"/>
                    </a:lnTo>
                    <a:lnTo>
                      <a:pt x="279" y="727"/>
                    </a:lnTo>
                    <a:lnTo>
                      <a:pt x="288" y="773"/>
                    </a:lnTo>
                    <a:lnTo>
                      <a:pt x="303" y="799"/>
                    </a:lnTo>
                    <a:lnTo>
                      <a:pt x="307" y="820"/>
                    </a:lnTo>
                    <a:lnTo>
                      <a:pt x="335" y="822"/>
                    </a:lnTo>
                    <a:lnTo>
                      <a:pt x="372" y="861"/>
                    </a:lnTo>
                    <a:lnTo>
                      <a:pt x="422" y="870"/>
                    </a:lnTo>
                    <a:lnTo>
                      <a:pt x="437" y="893"/>
                    </a:lnTo>
                    <a:lnTo>
                      <a:pt x="425" y="958"/>
                    </a:lnTo>
                    <a:lnTo>
                      <a:pt x="439" y="970"/>
                    </a:lnTo>
                    <a:lnTo>
                      <a:pt x="446" y="983"/>
                    </a:lnTo>
                    <a:lnTo>
                      <a:pt x="443" y="1009"/>
                    </a:lnTo>
                    <a:lnTo>
                      <a:pt x="405" y="1008"/>
                    </a:lnTo>
                    <a:lnTo>
                      <a:pt x="360" y="1041"/>
                    </a:lnTo>
                    <a:lnTo>
                      <a:pt x="198" y="1239"/>
                    </a:lnTo>
                    <a:lnTo>
                      <a:pt x="186" y="1239"/>
                    </a:lnTo>
                    <a:lnTo>
                      <a:pt x="173" y="1212"/>
                    </a:lnTo>
                    <a:lnTo>
                      <a:pt x="164" y="1234"/>
                    </a:lnTo>
                    <a:lnTo>
                      <a:pt x="160" y="1273"/>
                    </a:lnTo>
                    <a:lnTo>
                      <a:pt x="146" y="1309"/>
                    </a:lnTo>
                    <a:lnTo>
                      <a:pt x="125" y="1326"/>
                    </a:lnTo>
                    <a:lnTo>
                      <a:pt x="86" y="1312"/>
                    </a:lnTo>
                    <a:lnTo>
                      <a:pt x="67" y="1323"/>
                    </a:lnTo>
                    <a:lnTo>
                      <a:pt x="74" y="1351"/>
                    </a:lnTo>
                    <a:lnTo>
                      <a:pt x="66" y="1367"/>
                    </a:lnTo>
                    <a:lnTo>
                      <a:pt x="38" y="1390"/>
                    </a:lnTo>
                    <a:lnTo>
                      <a:pt x="26" y="1416"/>
                    </a:lnTo>
                    <a:lnTo>
                      <a:pt x="22" y="1441"/>
                    </a:lnTo>
                    <a:lnTo>
                      <a:pt x="39" y="1448"/>
                    </a:lnTo>
                    <a:lnTo>
                      <a:pt x="53" y="1466"/>
                    </a:lnTo>
                    <a:lnTo>
                      <a:pt x="53" y="1498"/>
                    </a:lnTo>
                    <a:lnTo>
                      <a:pt x="39" y="1551"/>
                    </a:lnTo>
                    <a:lnTo>
                      <a:pt x="58" y="1581"/>
                    </a:lnTo>
                    <a:lnTo>
                      <a:pt x="75" y="1619"/>
                    </a:lnTo>
                    <a:lnTo>
                      <a:pt x="70" y="1639"/>
                    </a:lnTo>
                    <a:lnTo>
                      <a:pt x="67" y="1674"/>
                    </a:lnTo>
                    <a:lnTo>
                      <a:pt x="62" y="1704"/>
                    </a:lnTo>
                    <a:lnTo>
                      <a:pt x="63" y="1761"/>
                    </a:lnTo>
                    <a:lnTo>
                      <a:pt x="75" y="1792"/>
                    </a:lnTo>
                    <a:lnTo>
                      <a:pt x="92" y="1810"/>
                    </a:lnTo>
                    <a:lnTo>
                      <a:pt x="111" y="1815"/>
                    </a:lnTo>
                    <a:lnTo>
                      <a:pt x="139" y="1837"/>
                    </a:lnTo>
                    <a:lnTo>
                      <a:pt x="157" y="1831"/>
                    </a:lnTo>
                    <a:lnTo>
                      <a:pt x="156" y="1861"/>
                    </a:lnTo>
                    <a:lnTo>
                      <a:pt x="178" y="1847"/>
                    </a:lnTo>
                    <a:lnTo>
                      <a:pt x="216" y="1845"/>
                    </a:lnTo>
                    <a:lnTo>
                      <a:pt x="204" y="1872"/>
                    </a:lnTo>
                    <a:lnTo>
                      <a:pt x="214" y="1895"/>
                    </a:lnTo>
                    <a:lnTo>
                      <a:pt x="235" y="1914"/>
                    </a:lnTo>
                    <a:lnTo>
                      <a:pt x="280" y="1911"/>
                    </a:lnTo>
                    <a:lnTo>
                      <a:pt x="309" y="1895"/>
                    </a:lnTo>
                    <a:lnTo>
                      <a:pt x="311" y="1904"/>
                    </a:lnTo>
                    <a:lnTo>
                      <a:pt x="340" y="1893"/>
                    </a:lnTo>
                    <a:lnTo>
                      <a:pt x="355" y="1905"/>
                    </a:lnTo>
                    <a:lnTo>
                      <a:pt x="364" y="1884"/>
                    </a:lnTo>
                    <a:lnTo>
                      <a:pt x="409" y="1867"/>
                    </a:lnTo>
                    <a:lnTo>
                      <a:pt x="411" y="1877"/>
                    </a:lnTo>
                    <a:lnTo>
                      <a:pt x="426" y="1863"/>
                    </a:lnTo>
                    <a:lnTo>
                      <a:pt x="455" y="1858"/>
                    </a:lnTo>
                    <a:lnTo>
                      <a:pt x="467" y="1837"/>
                    </a:lnTo>
                    <a:lnTo>
                      <a:pt x="495" y="1863"/>
                    </a:lnTo>
                    <a:lnTo>
                      <a:pt x="499" y="1842"/>
                    </a:lnTo>
                    <a:lnTo>
                      <a:pt x="541" y="1835"/>
                    </a:lnTo>
                    <a:lnTo>
                      <a:pt x="552" y="1824"/>
                    </a:lnTo>
                    <a:lnTo>
                      <a:pt x="564" y="1782"/>
                    </a:lnTo>
                    <a:lnTo>
                      <a:pt x="561" y="1814"/>
                    </a:lnTo>
                    <a:lnTo>
                      <a:pt x="570" y="1821"/>
                    </a:lnTo>
                    <a:lnTo>
                      <a:pt x="599" y="1828"/>
                    </a:lnTo>
                    <a:lnTo>
                      <a:pt x="602" y="1817"/>
                    </a:lnTo>
                    <a:lnTo>
                      <a:pt x="625" y="1805"/>
                    </a:lnTo>
                    <a:lnTo>
                      <a:pt x="647" y="1822"/>
                    </a:lnTo>
                    <a:lnTo>
                      <a:pt x="655" y="1808"/>
                    </a:lnTo>
                    <a:lnTo>
                      <a:pt x="748" y="1776"/>
                    </a:lnTo>
                    <a:lnTo>
                      <a:pt x="755" y="1754"/>
                    </a:lnTo>
                    <a:lnTo>
                      <a:pt x="990" y="1505"/>
                    </a:lnTo>
                    <a:lnTo>
                      <a:pt x="1016" y="1460"/>
                    </a:lnTo>
                    <a:lnTo>
                      <a:pt x="1035" y="1418"/>
                    </a:lnTo>
                    <a:lnTo>
                      <a:pt x="1040" y="1385"/>
                    </a:lnTo>
                    <a:lnTo>
                      <a:pt x="1032" y="1356"/>
                    </a:lnTo>
                    <a:lnTo>
                      <a:pt x="1014" y="1323"/>
                    </a:lnTo>
                    <a:lnTo>
                      <a:pt x="922" y="1259"/>
                    </a:lnTo>
                    <a:lnTo>
                      <a:pt x="904" y="1232"/>
                    </a:lnTo>
                    <a:lnTo>
                      <a:pt x="942" y="1181"/>
                    </a:lnTo>
                    <a:lnTo>
                      <a:pt x="944" y="1159"/>
                    </a:lnTo>
                    <a:lnTo>
                      <a:pt x="937" y="1138"/>
                    </a:lnTo>
                    <a:lnTo>
                      <a:pt x="880" y="1020"/>
                    </a:lnTo>
                    <a:lnTo>
                      <a:pt x="863" y="978"/>
                    </a:lnTo>
                    <a:lnTo>
                      <a:pt x="865" y="946"/>
                    </a:lnTo>
                    <a:lnTo>
                      <a:pt x="873" y="910"/>
                    </a:lnTo>
                    <a:lnTo>
                      <a:pt x="893" y="865"/>
                    </a:lnTo>
                    <a:lnTo>
                      <a:pt x="902" y="835"/>
                    </a:lnTo>
                    <a:lnTo>
                      <a:pt x="868" y="730"/>
                    </a:lnTo>
                    <a:lnTo>
                      <a:pt x="806" y="609"/>
                    </a:lnTo>
                    <a:lnTo>
                      <a:pt x="820" y="582"/>
                    </a:lnTo>
                    <a:lnTo>
                      <a:pt x="879" y="512"/>
                    </a:lnTo>
                    <a:lnTo>
                      <a:pt x="896" y="479"/>
                    </a:lnTo>
                    <a:lnTo>
                      <a:pt x="872" y="443"/>
                    </a:lnTo>
                    <a:lnTo>
                      <a:pt x="830" y="398"/>
                    </a:lnTo>
                    <a:lnTo>
                      <a:pt x="791" y="382"/>
                    </a:lnTo>
                    <a:lnTo>
                      <a:pt x="767" y="362"/>
                    </a:lnTo>
                    <a:lnTo>
                      <a:pt x="761" y="315"/>
                    </a:lnTo>
                    <a:lnTo>
                      <a:pt x="773" y="270"/>
                    </a:lnTo>
                    <a:lnTo>
                      <a:pt x="778" y="193"/>
                    </a:lnTo>
                    <a:lnTo>
                      <a:pt x="816" y="108"/>
                    </a:lnTo>
                    <a:lnTo>
                      <a:pt x="815" y="83"/>
                    </a:lnTo>
                    <a:lnTo>
                      <a:pt x="776" y="51"/>
                    </a:lnTo>
                    <a:lnTo>
                      <a:pt x="746" y="41"/>
                    </a:lnTo>
                    <a:lnTo>
                      <a:pt x="696" y="0"/>
                    </a:lnTo>
                    <a:lnTo>
                      <a:pt x="672" y="0"/>
                    </a:lnTo>
                    <a:lnTo>
                      <a:pt x="647" y="7"/>
                    </a:lnTo>
                    <a:lnTo>
                      <a:pt x="560" y="16"/>
                    </a:lnTo>
                    <a:lnTo>
                      <a:pt x="521" y="50"/>
                    </a:lnTo>
                    <a:lnTo>
                      <a:pt x="496" y="90"/>
                    </a:lnTo>
                    <a:lnTo>
                      <a:pt x="484" y="131"/>
                    </a:lnTo>
                    <a:lnTo>
                      <a:pt x="480" y="177"/>
                    </a:lnTo>
                    <a:lnTo>
                      <a:pt x="472" y="223"/>
                    </a:lnTo>
                    <a:lnTo>
                      <a:pt x="417" y="265"/>
                    </a:lnTo>
                    <a:lnTo>
                      <a:pt x="392" y="299"/>
                    </a:lnTo>
                    <a:lnTo>
                      <a:pt x="321" y="240"/>
                    </a:lnTo>
                    <a:lnTo>
                      <a:pt x="249" y="262"/>
                    </a:lnTo>
                    <a:lnTo>
                      <a:pt x="186" y="258"/>
                    </a:lnTo>
                    <a:lnTo>
                      <a:pt x="162" y="246"/>
                    </a:lnTo>
                    <a:lnTo>
                      <a:pt x="81" y="134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83" name="Freeform 271"/>
              <p:cNvSpPr>
                <a:spLocks/>
              </p:cNvSpPr>
              <p:nvPr>
                <p:custDataLst>
                  <p:tags r:id="rId208"/>
                </p:custDataLst>
              </p:nvPr>
            </p:nvSpPr>
            <p:spPr bwMode="auto">
              <a:xfrm>
                <a:off x="2859" y="1340"/>
                <a:ext cx="190" cy="368"/>
              </a:xfrm>
              <a:custGeom>
                <a:avLst/>
                <a:gdLst>
                  <a:gd name="T0" fmla="*/ 875 w 1264"/>
                  <a:gd name="T1" fmla="*/ 141 h 2488"/>
                  <a:gd name="T2" fmla="*/ 692 w 1264"/>
                  <a:gd name="T3" fmla="*/ 118 h 2488"/>
                  <a:gd name="T4" fmla="*/ 643 w 1264"/>
                  <a:gd name="T5" fmla="*/ 224 h 2488"/>
                  <a:gd name="T6" fmla="*/ 516 w 1264"/>
                  <a:gd name="T7" fmla="*/ 400 h 2488"/>
                  <a:gd name="T8" fmla="*/ 348 w 1264"/>
                  <a:gd name="T9" fmla="*/ 582 h 2488"/>
                  <a:gd name="T10" fmla="*/ 310 w 1264"/>
                  <a:gd name="T11" fmla="*/ 778 h 2488"/>
                  <a:gd name="T12" fmla="*/ 306 w 1264"/>
                  <a:gd name="T13" fmla="*/ 951 h 2488"/>
                  <a:gd name="T14" fmla="*/ 205 w 1264"/>
                  <a:gd name="T15" fmla="*/ 981 h 2488"/>
                  <a:gd name="T16" fmla="*/ 106 w 1264"/>
                  <a:gd name="T17" fmla="*/ 1093 h 2488"/>
                  <a:gd name="T18" fmla="*/ 100 w 1264"/>
                  <a:gd name="T19" fmla="*/ 1393 h 2488"/>
                  <a:gd name="T20" fmla="*/ 152 w 1264"/>
                  <a:gd name="T21" fmla="*/ 1512 h 2488"/>
                  <a:gd name="T22" fmla="*/ 136 w 1264"/>
                  <a:gd name="T23" fmla="*/ 1644 h 2488"/>
                  <a:gd name="T24" fmla="*/ 77 w 1264"/>
                  <a:gd name="T25" fmla="*/ 1752 h 2488"/>
                  <a:gd name="T26" fmla="*/ 33 w 1264"/>
                  <a:gd name="T27" fmla="*/ 1892 h 2488"/>
                  <a:gd name="T28" fmla="*/ 9 w 1264"/>
                  <a:gd name="T29" fmla="*/ 1894 h 2488"/>
                  <a:gd name="T30" fmla="*/ 57 w 1264"/>
                  <a:gd name="T31" fmla="*/ 1996 h 2488"/>
                  <a:gd name="T32" fmla="*/ 82 w 1264"/>
                  <a:gd name="T33" fmla="*/ 2122 h 2488"/>
                  <a:gd name="T34" fmla="*/ 145 w 1264"/>
                  <a:gd name="T35" fmla="*/ 2243 h 2488"/>
                  <a:gd name="T36" fmla="*/ 172 w 1264"/>
                  <a:gd name="T37" fmla="*/ 2305 h 2488"/>
                  <a:gd name="T38" fmla="*/ 161 w 1264"/>
                  <a:gd name="T39" fmla="*/ 2388 h 2488"/>
                  <a:gd name="T40" fmla="*/ 172 w 1264"/>
                  <a:gd name="T41" fmla="*/ 2468 h 2488"/>
                  <a:gd name="T42" fmla="*/ 280 w 1264"/>
                  <a:gd name="T43" fmla="*/ 2469 h 2488"/>
                  <a:gd name="T44" fmla="*/ 316 w 1264"/>
                  <a:gd name="T45" fmla="*/ 2388 h 2488"/>
                  <a:gd name="T46" fmla="*/ 409 w 1264"/>
                  <a:gd name="T47" fmla="*/ 2358 h 2488"/>
                  <a:gd name="T48" fmla="*/ 525 w 1264"/>
                  <a:gd name="T49" fmla="*/ 2194 h 2488"/>
                  <a:gd name="T50" fmla="*/ 545 w 1264"/>
                  <a:gd name="T51" fmla="*/ 2095 h 2488"/>
                  <a:gd name="T52" fmla="*/ 557 w 1264"/>
                  <a:gd name="T53" fmla="*/ 2056 h 2488"/>
                  <a:gd name="T54" fmla="*/ 529 w 1264"/>
                  <a:gd name="T55" fmla="*/ 1931 h 2488"/>
                  <a:gd name="T56" fmla="*/ 618 w 1264"/>
                  <a:gd name="T57" fmla="*/ 1912 h 2488"/>
                  <a:gd name="T58" fmla="*/ 656 w 1264"/>
                  <a:gd name="T59" fmla="*/ 1869 h 2488"/>
                  <a:gd name="T60" fmla="*/ 683 w 1264"/>
                  <a:gd name="T61" fmla="*/ 1860 h 2488"/>
                  <a:gd name="T62" fmla="*/ 741 w 1264"/>
                  <a:gd name="T63" fmla="*/ 1811 h 2488"/>
                  <a:gd name="T64" fmla="*/ 715 w 1264"/>
                  <a:gd name="T65" fmla="*/ 1804 h 2488"/>
                  <a:gd name="T66" fmla="*/ 642 w 1264"/>
                  <a:gd name="T67" fmla="*/ 1822 h 2488"/>
                  <a:gd name="T68" fmla="*/ 584 w 1264"/>
                  <a:gd name="T69" fmla="*/ 1806 h 2488"/>
                  <a:gd name="T70" fmla="*/ 557 w 1264"/>
                  <a:gd name="T71" fmla="*/ 1776 h 2488"/>
                  <a:gd name="T72" fmla="*/ 655 w 1264"/>
                  <a:gd name="T73" fmla="*/ 1795 h 2488"/>
                  <a:gd name="T74" fmla="*/ 766 w 1264"/>
                  <a:gd name="T75" fmla="*/ 1743 h 2488"/>
                  <a:gd name="T76" fmla="*/ 761 w 1264"/>
                  <a:gd name="T77" fmla="*/ 1674 h 2488"/>
                  <a:gd name="T78" fmla="*/ 654 w 1264"/>
                  <a:gd name="T79" fmla="*/ 1596 h 2488"/>
                  <a:gd name="T80" fmla="*/ 599 w 1264"/>
                  <a:gd name="T81" fmla="*/ 1526 h 2488"/>
                  <a:gd name="T82" fmla="*/ 621 w 1264"/>
                  <a:gd name="T83" fmla="*/ 1400 h 2488"/>
                  <a:gd name="T84" fmla="*/ 654 w 1264"/>
                  <a:gd name="T85" fmla="*/ 1275 h 2488"/>
                  <a:gd name="T86" fmla="*/ 712 w 1264"/>
                  <a:gd name="T87" fmla="*/ 1196 h 2488"/>
                  <a:gd name="T88" fmla="*/ 787 w 1264"/>
                  <a:gd name="T89" fmla="*/ 1120 h 2488"/>
                  <a:gd name="T90" fmla="*/ 947 w 1264"/>
                  <a:gd name="T91" fmla="*/ 1006 h 2488"/>
                  <a:gd name="T92" fmla="*/ 983 w 1264"/>
                  <a:gd name="T93" fmla="*/ 861 h 2488"/>
                  <a:gd name="T94" fmla="*/ 1016 w 1264"/>
                  <a:gd name="T95" fmla="*/ 764 h 2488"/>
                  <a:gd name="T96" fmla="*/ 1071 w 1264"/>
                  <a:gd name="T97" fmla="*/ 699 h 2488"/>
                  <a:gd name="T98" fmla="*/ 1192 w 1264"/>
                  <a:gd name="T99" fmla="*/ 653 h 2488"/>
                  <a:gd name="T100" fmla="*/ 1245 w 1264"/>
                  <a:gd name="T101" fmla="*/ 584 h 2488"/>
                  <a:gd name="T102" fmla="*/ 1217 w 1264"/>
                  <a:gd name="T103" fmla="*/ 314 h 2488"/>
                  <a:gd name="T104" fmla="*/ 1094 w 1264"/>
                  <a:gd name="T105" fmla="*/ 140 h 2488"/>
                  <a:gd name="T106" fmla="*/ 957 w 1264"/>
                  <a:gd name="T107" fmla="*/ 7 h 2488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264"/>
                  <a:gd name="T163" fmla="*/ 0 h 2488"/>
                  <a:gd name="T164" fmla="*/ 1264 w 1264"/>
                  <a:gd name="T165" fmla="*/ 2488 h 2488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264" h="2488">
                    <a:moveTo>
                      <a:pt x="950" y="2"/>
                    </a:moveTo>
                    <a:lnTo>
                      <a:pt x="933" y="0"/>
                    </a:lnTo>
                    <a:lnTo>
                      <a:pt x="893" y="4"/>
                    </a:lnTo>
                    <a:lnTo>
                      <a:pt x="875" y="141"/>
                    </a:lnTo>
                    <a:lnTo>
                      <a:pt x="863" y="164"/>
                    </a:lnTo>
                    <a:lnTo>
                      <a:pt x="848" y="163"/>
                    </a:lnTo>
                    <a:lnTo>
                      <a:pt x="700" y="103"/>
                    </a:lnTo>
                    <a:lnTo>
                      <a:pt x="692" y="118"/>
                    </a:lnTo>
                    <a:lnTo>
                      <a:pt x="691" y="178"/>
                    </a:lnTo>
                    <a:lnTo>
                      <a:pt x="688" y="198"/>
                    </a:lnTo>
                    <a:lnTo>
                      <a:pt x="673" y="224"/>
                    </a:lnTo>
                    <a:lnTo>
                      <a:pt x="643" y="224"/>
                    </a:lnTo>
                    <a:lnTo>
                      <a:pt x="591" y="214"/>
                    </a:lnTo>
                    <a:lnTo>
                      <a:pt x="572" y="230"/>
                    </a:lnTo>
                    <a:lnTo>
                      <a:pt x="505" y="336"/>
                    </a:lnTo>
                    <a:lnTo>
                      <a:pt x="516" y="400"/>
                    </a:lnTo>
                    <a:lnTo>
                      <a:pt x="507" y="430"/>
                    </a:lnTo>
                    <a:lnTo>
                      <a:pt x="480" y="460"/>
                    </a:lnTo>
                    <a:lnTo>
                      <a:pt x="392" y="580"/>
                    </a:lnTo>
                    <a:lnTo>
                      <a:pt x="348" y="582"/>
                    </a:lnTo>
                    <a:lnTo>
                      <a:pt x="343" y="603"/>
                    </a:lnTo>
                    <a:lnTo>
                      <a:pt x="341" y="688"/>
                    </a:lnTo>
                    <a:lnTo>
                      <a:pt x="327" y="739"/>
                    </a:lnTo>
                    <a:lnTo>
                      <a:pt x="310" y="778"/>
                    </a:lnTo>
                    <a:lnTo>
                      <a:pt x="262" y="868"/>
                    </a:lnTo>
                    <a:lnTo>
                      <a:pt x="278" y="879"/>
                    </a:lnTo>
                    <a:lnTo>
                      <a:pt x="294" y="902"/>
                    </a:lnTo>
                    <a:lnTo>
                      <a:pt x="306" y="951"/>
                    </a:lnTo>
                    <a:lnTo>
                      <a:pt x="298" y="965"/>
                    </a:lnTo>
                    <a:lnTo>
                      <a:pt x="279" y="979"/>
                    </a:lnTo>
                    <a:lnTo>
                      <a:pt x="246" y="983"/>
                    </a:lnTo>
                    <a:lnTo>
                      <a:pt x="205" y="981"/>
                    </a:lnTo>
                    <a:lnTo>
                      <a:pt x="178" y="990"/>
                    </a:lnTo>
                    <a:lnTo>
                      <a:pt x="149" y="1011"/>
                    </a:lnTo>
                    <a:lnTo>
                      <a:pt x="123" y="1052"/>
                    </a:lnTo>
                    <a:lnTo>
                      <a:pt x="106" y="1093"/>
                    </a:lnTo>
                    <a:lnTo>
                      <a:pt x="102" y="1148"/>
                    </a:lnTo>
                    <a:lnTo>
                      <a:pt x="87" y="1238"/>
                    </a:lnTo>
                    <a:lnTo>
                      <a:pt x="115" y="1298"/>
                    </a:lnTo>
                    <a:lnTo>
                      <a:pt x="100" y="1393"/>
                    </a:lnTo>
                    <a:lnTo>
                      <a:pt x="126" y="1425"/>
                    </a:lnTo>
                    <a:lnTo>
                      <a:pt x="159" y="1439"/>
                    </a:lnTo>
                    <a:lnTo>
                      <a:pt x="172" y="1459"/>
                    </a:lnTo>
                    <a:lnTo>
                      <a:pt x="152" y="1512"/>
                    </a:lnTo>
                    <a:lnTo>
                      <a:pt x="111" y="1526"/>
                    </a:lnTo>
                    <a:lnTo>
                      <a:pt x="136" y="1584"/>
                    </a:lnTo>
                    <a:lnTo>
                      <a:pt x="147" y="1618"/>
                    </a:lnTo>
                    <a:lnTo>
                      <a:pt x="136" y="1644"/>
                    </a:lnTo>
                    <a:lnTo>
                      <a:pt x="135" y="1686"/>
                    </a:lnTo>
                    <a:lnTo>
                      <a:pt x="100" y="1716"/>
                    </a:lnTo>
                    <a:lnTo>
                      <a:pt x="83" y="1718"/>
                    </a:lnTo>
                    <a:lnTo>
                      <a:pt x="77" y="1752"/>
                    </a:lnTo>
                    <a:lnTo>
                      <a:pt x="55" y="1768"/>
                    </a:lnTo>
                    <a:lnTo>
                      <a:pt x="65" y="1834"/>
                    </a:lnTo>
                    <a:lnTo>
                      <a:pt x="50" y="1890"/>
                    </a:lnTo>
                    <a:lnTo>
                      <a:pt x="33" y="1892"/>
                    </a:lnTo>
                    <a:lnTo>
                      <a:pt x="26" y="1866"/>
                    </a:lnTo>
                    <a:lnTo>
                      <a:pt x="13" y="1855"/>
                    </a:lnTo>
                    <a:lnTo>
                      <a:pt x="0" y="1883"/>
                    </a:lnTo>
                    <a:lnTo>
                      <a:pt x="9" y="1894"/>
                    </a:lnTo>
                    <a:lnTo>
                      <a:pt x="18" y="1986"/>
                    </a:lnTo>
                    <a:lnTo>
                      <a:pt x="36" y="1982"/>
                    </a:lnTo>
                    <a:lnTo>
                      <a:pt x="38" y="2003"/>
                    </a:lnTo>
                    <a:lnTo>
                      <a:pt x="57" y="1996"/>
                    </a:lnTo>
                    <a:lnTo>
                      <a:pt x="74" y="2009"/>
                    </a:lnTo>
                    <a:lnTo>
                      <a:pt x="55" y="2070"/>
                    </a:lnTo>
                    <a:lnTo>
                      <a:pt x="71" y="2093"/>
                    </a:lnTo>
                    <a:lnTo>
                      <a:pt x="82" y="2122"/>
                    </a:lnTo>
                    <a:lnTo>
                      <a:pt x="82" y="2152"/>
                    </a:lnTo>
                    <a:lnTo>
                      <a:pt x="95" y="2152"/>
                    </a:lnTo>
                    <a:lnTo>
                      <a:pt x="122" y="2226"/>
                    </a:lnTo>
                    <a:lnTo>
                      <a:pt x="145" y="2243"/>
                    </a:lnTo>
                    <a:lnTo>
                      <a:pt x="159" y="2272"/>
                    </a:lnTo>
                    <a:lnTo>
                      <a:pt x="171" y="2270"/>
                    </a:lnTo>
                    <a:lnTo>
                      <a:pt x="180" y="2288"/>
                    </a:lnTo>
                    <a:lnTo>
                      <a:pt x="172" y="2305"/>
                    </a:lnTo>
                    <a:lnTo>
                      <a:pt x="155" y="2300"/>
                    </a:lnTo>
                    <a:lnTo>
                      <a:pt x="157" y="2323"/>
                    </a:lnTo>
                    <a:lnTo>
                      <a:pt x="135" y="2332"/>
                    </a:lnTo>
                    <a:lnTo>
                      <a:pt x="161" y="2388"/>
                    </a:lnTo>
                    <a:lnTo>
                      <a:pt x="189" y="2427"/>
                    </a:lnTo>
                    <a:lnTo>
                      <a:pt x="178" y="2448"/>
                    </a:lnTo>
                    <a:lnTo>
                      <a:pt x="181" y="2462"/>
                    </a:lnTo>
                    <a:lnTo>
                      <a:pt x="172" y="2468"/>
                    </a:lnTo>
                    <a:lnTo>
                      <a:pt x="172" y="2479"/>
                    </a:lnTo>
                    <a:lnTo>
                      <a:pt x="221" y="2488"/>
                    </a:lnTo>
                    <a:lnTo>
                      <a:pt x="273" y="2468"/>
                    </a:lnTo>
                    <a:lnTo>
                      <a:pt x="280" y="2469"/>
                    </a:lnTo>
                    <a:lnTo>
                      <a:pt x="300" y="2479"/>
                    </a:lnTo>
                    <a:lnTo>
                      <a:pt x="317" y="2452"/>
                    </a:lnTo>
                    <a:lnTo>
                      <a:pt x="303" y="2427"/>
                    </a:lnTo>
                    <a:lnTo>
                      <a:pt x="316" y="2388"/>
                    </a:lnTo>
                    <a:lnTo>
                      <a:pt x="337" y="2369"/>
                    </a:lnTo>
                    <a:lnTo>
                      <a:pt x="348" y="2376"/>
                    </a:lnTo>
                    <a:lnTo>
                      <a:pt x="354" y="2353"/>
                    </a:lnTo>
                    <a:lnTo>
                      <a:pt x="409" y="2358"/>
                    </a:lnTo>
                    <a:lnTo>
                      <a:pt x="435" y="2344"/>
                    </a:lnTo>
                    <a:lnTo>
                      <a:pt x="464" y="2367"/>
                    </a:lnTo>
                    <a:lnTo>
                      <a:pt x="524" y="2236"/>
                    </a:lnTo>
                    <a:lnTo>
                      <a:pt x="525" y="2194"/>
                    </a:lnTo>
                    <a:lnTo>
                      <a:pt x="533" y="2160"/>
                    </a:lnTo>
                    <a:lnTo>
                      <a:pt x="550" y="2132"/>
                    </a:lnTo>
                    <a:lnTo>
                      <a:pt x="540" y="2115"/>
                    </a:lnTo>
                    <a:lnTo>
                      <a:pt x="545" y="2095"/>
                    </a:lnTo>
                    <a:lnTo>
                      <a:pt x="532" y="2088"/>
                    </a:lnTo>
                    <a:lnTo>
                      <a:pt x="531" y="2056"/>
                    </a:lnTo>
                    <a:lnTo>
                      <a:pt x="544" y="2062"/>
                    </a:lnTo>
                    <a:lnTo>
                      <a:pt x="557" y="2056"/>
                    </a:lnTo>
                    <a:lnTo>
                      <a:pt x="562" y="2032"/>
                    </a:lnTo>
                    <a:lnTo>
                      <a:pt x="558" y="1986"/>
                    </a:lnTo>
                    <a:lnTo>
                      <a:pt x="537" y="1966"/>
                    </a:lnTo>
                    <a:lnTo>
                      <a:pt x="529" y="1931"/>
                    </a:lnTo>
                    <a:lnTo>
                      <a:pt x="591" y="1927"/>
                    </a:lnTo>
                    <a:lnTo>
                      <a:pt x="591" y="1912"/>
                    </a:lnTo>
                    <a:lnTo>
                      <a:pt x="607" y="1917"/>
                    </a:lnTo>
                    <a:lnTo>
                      <a:pt x="618" y="1912"/>
                    </a:lnTo>
                    <a:lnTo>
                      <a:pt x="640" y="1885"/>
                    </a:lnTo>
                    <a:lnTo>
                      <a:pt x="645" y="1850"/>
                    </a:lnTo>
                    <a:lnTo>
                      <a:pt x="656" y="1848"/>
                    </a:lnTo>
                    <a:lnTo>
                      <a:pt x="656" y="1869"/>
                    </a:lnTo>
                    <a:lnTo>
                      <a:pt x="655" y="1882"/>
                    </a:lnTo>
                    <a:lnTo>
                      <a:pt x="660" y="1889"/>
                    </a:lnTo>
                    <a:lnTo>
                      <a:pt x="676" y="1883"/>
                    </a:lnTo>
                    <a:lnTo>
                      <a:pt x="683" y="1860"/>
                    </a:lnTo>
                    <a:lnTo>
                      <a:pt x="719" y="1841"/>
                    </a:lnTo>
                    <a:lnTo>
                      <a:pt x="708" y="1818"/>
                    </a:lnTo>
                    <a:lnTo>
                      <a:pt x="741" y="1816"/>
                    </a:lnTo>
                    <a:lnTo>
                      <a:pt x="741" y="1811"/>
                    </a:lnTo>
                    <a:lnTo>
                      <a:pt x="732" y="1799"/>
                    </a:lnTo>
                    <a:lnTo>
                      <a:pt x="725" y="1799"/>
                    </a:lnTo>
                    <a:lnTo>
                      <a:pt x="724" y="1811"/>
                    </a:lnTo>
                    <a:lnTo>
                      <a:pt x="715" y="1804"/>
                    </a:lnTo>
                    <a:lnTo>
                      <a:pt x="692" y="1813"/>
                    </a:lnTo>
                    <a:lnTo>
                      <a:pt x="680" y="1811"/>
                    </a:lnTo>
                    <a:lnTo>
                      <a:pt x="668" y="1827"/>
                    </a:lnTo>
                    <a:lnTo>
                      <a:pt x="642" y="1822"/>
                    </a:lnTo>
                    <a:lnTo>
                      <a:pt x="640" y="1830"/>
                    </a:lnTo>
                    <a:lnTo>
                      <a:pt x="619" y="1825"/>
                    </a:lnTo>
                    <a:lnTo>
                      <a:pt x="609" y="1809"/>
                    </a:lnTo>
                    <a:lnTo>
                      <a:pt x="584" y="1806"/>
                    </a:lnTo>
                    <a:lnTo>
                      <a:pt x="562" y="1784"/>
                    </a:lnTo>
                    <a:lnTo>
                      <a:pt x="527" y="1790"/>
                    </a:lnTo>
                    <a:lnTo>
                      <a:pt x="537" y="1766"/>
                    </a:lnTo>
                    <a:lnTo>
                      <a:pt x="557" y="1776"/>
                    </a:lnTo>
                    <a:lnTo>
                      <a:pt x="564" y="1768"/>
                    </a:lnTo>
                    <a:lnTo>
                      <a:pt x="591" y="1774"/>
                    </a:lnTo>
                    <a:lnTo>
                      <a:pt x="619" y="1786"/>
                    </a:lnTo>
                    <a:lnTo>
                      <a:pt x="655" y="1795"/>
                    </a:lnTo>
                    <a:lnTo>
                      <a:pt x="661" y="1804"/>
                    </a:lnTo>
                    <a:lnTo>
                      <a:pt x="685" y="1806"/>
                    </a:lnTo>
                    <a:lnTo>
                      <a:pt x="744" y="1770"/>
                    </a:lnTo>
                    <a:lnTo>
                      <a:pt x="766" y="1743"/>
                    </a:lnTo>
                    <a:lnTo>
                      <a:pt x="785" y="1743"/>
                    </a:lnTo>
                    <a:lnTo>
                      <a:pt x="785" y="1716"/>
                    </a:lnTo>
                    <a:lnTo>
                      <a:pt x="769" y="1706"/>
                    </a:lnTo>
                    <a:lnTo>
                      <a:pt x="761" y="1674"/>
                    </a:lnTo>
                    <a:lnTo>
                      <a:pt x="724" y="1662"/>
                    </a:lnTo>
                    <a:lnTo>
                      <a:pt x="704" y="1637"/>
                    </a:lnTo>
                    <a:lnTo>
                      <a:pt x="675" y="1589"/>
                    </a:lnTo>
                    <a:lnTo>
                      <a:pt x="654" y="1596"/>
                    </a:lnTo>
                    <a:lnTo>
                      <a:pt x="643" y="1582"/>
                    </a:lnTo>
                    <a:lnTo>
                      <a:pt x="602" y="1575"/>
                    </a:lnTo>
                    <a:lnTo>
                      <a:pt x="615" y="1561"/>
                    </a:lnTo>
                    <a:lnTo>
                      <a:pt x="599" y="1526"/>
                    </a:lnTo>
                    <a:lnTo>
                      <a:pt x="599" y="1482"/>
                    </a:lnTo>
                    <a:lnTo>
                      <a:pt x="590" y="1422"/>
                    </a:lnTo>
                    <a:lnTo>
                      <a:pt x="601" y="1406"/>
                    </a:lnTo>
                    <a:lnTo>
                      <a:pt x="621" y="1400"/>
                    </a:lnTo>
                    <a:lnTo>
                      <a:pt x="633" y="1323"/>
                    </a:lnTo>
                    <a:lnTo>
                      <a:pt x="623" y="1303"/>
                    </a:lnTo>
                    <a:lnTo>
                      <a:pt x="613" y="1259"/>
                    </a:lnTo>
                    <a:lnTo>
                      <a:pt x="654" y="1275"/>
                    </a:lnTo>
                    <a:lnTo>
                      <a:pt x="676" y="1240"/>
                    </a:lnTo>
                    <a:lnTo>
                      <a:pt x="668" y="1196"/>
                    </a:lnTo>
                    <a:lnTo>
                      <a:pt x="679" y="1197"/>
                    </a:lnTo>
                    <a:lnTo>
                      <a:pt x="712" y="1196"/>
                    </a:lnTo>
                    <a:lnTo>
                      <a:pt x="720" y="1183"/>
                    </a:lnTo>
                    <a:lnTo>
                      <a:pt x="729" y="1160"/>
                    </a:lnTo>
                    <a:lnTo>
                      <a:pt x="759" y="1132"/>
                    </a:lnTo>
                    <a:lnTo>
                      <a:pt x="787" y="1120"/>
                    </a:lnTo>
                    <a:lnTo>
                      <a:pt x="811" y="1076"/>
                    </a:lnTo>
                    <a:lnTo>
                      <a:pt x="826" y="1068"/>
                    </a:lnTo>
                    <a:lnTo>
                      <a:pt x="847" y="1086"/>
                    </a:lnTo>
                    <a:lnTo>
                      <a:pt x="947" y="1006"/>
                    </a:lnTo>
                    <a:lnTo>
                      <a:pt x="982" y="930"/>
                    </a:lnTo>
                    <a:lnTo>
                      <a:pt x="1014" y="900"/>
                    </a:lnTo>
                    <a:lnTo>
                      <a:pt x="999" y="873"/>
                    </a:lnTo>
                    <a:lnTo>
                      <a:pt x="983" y="861"/>
                    </a:lnTo>
                    <a:lnTo>
                      <a:pt x="969" y="838"/>
                    </a:lnTo>
                    <a:lnTo>
                      <a:pt x="1008" y="803"/>
                    </a:lnTo>
                    <a:lnTo>
                      <a:pt x="1024" y="780"/>
                    </a:lnTo>
                    <a:lnTo>
                      <a:pt x="1016" y="764"/>
                    </a:lnTo>
                    <a:lnTo>
                      <a:pt x="1003" y="743"/>
                    </a:lnTo>
                    <a:lnTo>
                      <a:pt x="1027" y="713"/>
                    </a:lnTo>
                    <a:lnTo>
                      <a:pt x="1057" y="711"/>
                    </a:lnTo>
                    <a:lnTo>
                      <a:pt x="1071" y="699"/>
                    </a:lnTo>
                    <a:lnTo>
                      <a:pt x="1094" y="647"/>
                    </a:lnTo>
                    <a:lnTo>
                      <a:pt x="1122" y="614"/>
                    </a:lnTo>
                    <a:lnTo>
                      <a:pt x="1137" y="605"/>
                    </a:lnTo>
                    <a:lnTo>
                      <a:pt x="1192" y="653"/>
                    </a:lnTo>
                    <a:lnTo>
                      <a:pt x="1256" y="630"/>
                    </a:lnTo>
                    <a:lnTo>
                      <a:pt x="1264" y="631"/>
                    </a:lnTo>
                    <a:lnTo>
                      <a:pt x="1260" y="610"/>
                    </a:lnTo>
                    <a:lnTo>
                      <a:pt x="1245" y="584"/>
                    </a:lnTo>
                    <a:lnTo>
                      <a:pt x="1236" y="538"/>
                    </a:lnTo>
                    <a:lnTo>
                      <a:pt x="1259" y="467"/>
                    </a:lnTo>
                    <a:lnTo>
                      <a:pt x="1257" y="432"/>
                    </a:lnTo>
                    <a:lnTo>
                      <a:pt x="1217" y="314"/>
                    </a:lnTo>
                    <a:lnTo>
                      <a:pt x="1220" y="230"/>
                    </a:lnTo>
                    <a:lnTo>
                      <a:pt x="1186" y="180"/>
                    </a:lnTo>
                    <a:lnTo>
                      <a:pt x="1163" y="159"/>
                    </a:lnTo>
                    <a:lnTo>
                      <a:pt x="1094" y="140"/>
                    </a:lnTo>
                    <a:lnTo>
                      <a:pt x="1047" y="113"/>
                    </a:lnTo>
                    <a:lnTo>
                      <a:pt x="989" y="53"/>
                    </a:lnTo>
                    <a:lnTo>
                      <a:pt x="962" y="11"/>
                    </a:lnTo>
                    <a:lnTo>
                      <a:pt x="957" y="7"/>
                    </a:lnTo>
                    <a:lnTo>
                      <a:pt x="950" y="2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84" name="Freeform 272"/>
              <p:cNvSpPr>
                <a:spLocks/>
              </p:cNvSpPr>
              <p:nvPr>
                <p:custDataLst>
                  <p:tags r:id="rId209"/>
                </p:custDataLst>
              </p:nvPr>
            </p:nvSpPr>
            <p:spPr bwMode="auto">
              <a:xfrm>
                <a:off x="3169" y="2132"/>
                <a:ext cx="35" cy="22"/>
              </a:xfrm>
              <a:custGeom>
                <a:avLst/>
                <a:gdLst>
                  <a:gd name="T0" fmla="*/ 161 w 227"/>
                  <a:gd name="T1" fmla="*/ 58 h 146"/>
                  <a:gd name="T2" fmla="*/ 227 w 227"/>
                  <a:gd name="T3" fmla="*/ 0 h 146"/>
                  <a:gd name="T4" fmla="*/ 137 w 227"/>
                  <a:gd name="T5" fmla="*/ 42 h 146"/>
                  <a:gd name="T6" fmla="*/ 121 w 227"/>
                  <a:gd name="T7" fmla="*/ 45 h 146"/>
                  <a:gd name="T8" fmla="*/ 64 w 227"/>
                  <a:gd name="T9" fmla="*/ 38 h 146"/>
                  <a:gd name="T10" fmla="*/ 65 w 227"/>
                  <a:gd name="T11" fmla="*/ 49 h 146"/>
                  <a:gd name="T12" fmla="*/ 63 w 227"/>
                  <a:gd name="T13" fmla="*/ 65 h 146"/>
                  <a:gd name="T14" fmla="*/ 59 w 227"/>
                  <a:gd name="T15" fmla="*/ 70 h 146"/>
                  <a:gd name="T16" fmla="*/ 45 w 227"/>
                  <a:gd name="T17" fmla="*/ 65 h 146"/>
                  <a:gd name="T18" fmla="*/ 33 w 227"/>
                  <a:gd name="T19" fmla="*/ 65 h 146"/>
                  <a:gd name="T20" fmla="*/ 15 w 227"/>
                  <a:gd name="T21" fmla="*/ 84 h 146"/>
                  <a:gd name="T22" fmla="*/ 10 w 227"/>
                  <a:gd name="T23" fmla="*/ 84 h 146"/>
                  <a:gd name="T24" fmla="*/ 3 w 227"/>
                  <a:gd name="T25" fmla="*/ 79 h 146"/>
                  <a:gd name="T26" fmla="*/ 0 w 227"/>
                  <a:gd name="T27" fmla="*/ 81 h 146"/>
                  <a:gd name="T28" fmla="*/ 6 w 227"/>
                  <a:gd name="T29" fmla="*/ 104 h 146"/>
                  <a:gd name="T30" fmla="*/ 12 w 227"/>
                  <a:gd name="T31" fmla="*/ 111 h 146"/>
                  <a:gd name="T32" fmla="*/ 12 w 227"/>
                  <a:gd name="T33" fmla="*/ 123 h 146"/>
                  <a:gd name="T34" fmla="*/ 22 w 227"/>
                  <a:gd name="T35" fmla="*/ 128 h 146"/>
                  <a:gd name="T36" fmla="*/ 45 w 227"/>
                  <a:gd name="T37" fmla="*/ 137 h 146"/>
                  <a:gd name="T38" fmla="*/ 63 w 227"/>
                  <a:gd name="T39" fmla="*/ 135 h 146"/>
                  <a:gd name="T40" fmla="*/ 65 w 227"/>
                  <a:gd name="T41" fmla="*/ 146 h 146"/>
                  <a:gd name="T42" fmla="*/ 76 w 227"/>
                  <a:gd name="T43" fmla="*/ 146 h 146"/>
                  <a:gd name="T44" fmla="*/ 76 w 227"/>
                  <a:gd name="T45" fmla="*/ 134 h 146"/>
                  <a:gd name="T46" fmla="*/ 80 w 227"/>
                  <a:gd name="T47" fmla="*/ 130 h 146"/>
                  <a:gd name="T48" fmla="*/ 97 w 227"/>
                  <a:gd name="T49" fmla="*/ 128 h 146"/>
                  <a:gd name="T50" fmla="*/ 131 w 227"/>
                  <a:gd name="T51" fmla="*/ 113 h 146"/>
                  <a:gd name="T52" fmla="*/ 137 w 227"/>
                  <a:gd name="T53" fmla="*/ 93 h 146"/>
                  <a:gd name="T54" fmla="*/ 151 w 227"/>
                  <a:gd name="T55" fmla="*/ 95 h 146"/>
                  <a:gd name="T56" fmla="*/ 157 w 227"/>
                  <a:gd name="T57" fmla="*/ 98 h 146"/>
                  <a:gd name="T58" fmla="*/ 162 w 227"/>
                  <a:gd name="T59" fmla="*/ 91 h 146"/>
                  <a:gd name="T60" fmla="*/ 174 w 227"/>
                  <a:gd name="T61" fmla="*/ 91 h 146"/>
                  <a:gd name="T62" fmla="*/ 159 w 227"/>
                  <a:gd name="T63" fmla="*/ 68 h 146"/>
                  <a:gd name="T64" fmla="*/ 161 w 227"/>
                  <a:gd name="T65" fmla="*/ 58 h 14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27"/>
                  <a:gd name="T100" fmla="*/ 0 h 146"/>
                  <a:gd name="T101" fmla="*/ 227 w 227"/>
                  <a:gd name="T102" fmla="*/ 146 h 14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27" h="146">
                    <a:moveTo>
                      <a:pt x="161" y="58"/>
                    </a:moveTo>
                    <a:lnTo>
                      <a:pt x="227" y="0"/>
                    </a:lnTo>
                    <a:lnTo>
                      <a:pt x="137" y="42"/>
                    </a:lnTo>
                    <a:lnTo>
                      <a:pt x="121" y="45"/>
                    </a:lnTo>
                    <a:lnTo>
                      <a:pt x="64" y="38"/>
                    </a:lnTo>
                    <a:lnTo>
                      <a:pt x="65" y="49"/>
                    </a:lnTo>
                    <a:lnTo>
                      <a:pt x="63" y="65"/>
                    </a:lnTo>
                    <a:lnTo>
                      <a:pt x="59" y="70"/>
                    </a:lnTo>
                    <a:lnTo>
                      <a:pt x="45" y="65"/>
                    </a:lnTo>
                    <a:lnTo>
                      <a:pt x="33" y="65"/>
                    </a:lnTo>
                    <a:lnTo>
                      <a:pt x="15" y="84"/>
                    </a:lnTo>
                    <a:lnTo>
                      <a:pt x="10" y="84"/>
                    </a:lnTo>
                    <a:lnTo>
                      <a:pt x="3" y="79"/>
                    </a:lnTo>
                    <a:lnTo>
                      <a:pt x="0" y="81"/>
                    </a:lnTo>
                    <a:lnTo>
                      <a:pt x="6" y="104"/>
                    </a:lnTo>
                    <a:lnTo>
                      <a:pt x="12" y="111"/>
                    </a:lnTo>
                    <a:lnTo>
                      <a:pt x="12" y="123"/>
                    </a:lnTo>
                    <a:lnTo>
                      <a:pt x="22" y="128"/>
                    </a:lnTo>
                    <a:lnTo>
                      <a:pt x="45" y="137"/>
                    </a:lnTo>
                    <a:lnTo>
                      <a:pt x="63" y="135"/>
                    </a:lnTo>
                    <a:lnTo>
                      <a:pt x="65" y="146"/>
                    </a:lnTo>
                    <a:lnTo>
                      <a:pt x="76" y="146"/>
                    </a:lnTo>
                    <a:lnTo>
                      <a:pt x="76" y="134"/>
                    </a:lnTo>
                    <a:lnTo>
                      <a:pt x="80" y="130"/>
                    </a:lnTo>
                    <a:lnTo>
                      <a:pt x="97" y="128"/>
                    </a:lnTo>
                    <a:lnTo>
                      <a:pt x="131" y="113"/>
                    </a:lnTo>
                    <a:lnTo>
                      <a:pt x="137" y="93"/>
                    </a:lnTo>
                    <a:lnTo>
                      <a:pt x="151" y="95"/>
                    </a:lnTo>
                    <a:lnTo>
                      <a:pt x="157" y="98"/>
                    </a:lnTo>
                    <a:lnTo>
                      <a:pt x="162" y="91"/>
                    </a:lnTo>
                    <a:lnTo>
                      <a:pt x="174" y="91"/>
                    </a:lnTo>
                    <a:lnTo>
                      <a:pt x="159" y="68"/>
                    </a:lnTo>
                    <a:lnTo>
                      <a:pt x="161" y="58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85" name="Freeform 273"/>
              <p:cNvSpPr>
                <a:spLocks/>
              </p:cNvSpPr>
              <p:nvPr>
                <p:custDataLst>
                  <p:tags r:id="rId210"/>
                </p:custDataLst>
              </p:nvPr>
            </p:nvSpPr>
            <p:spPr bwMode="auto">
              <a:xfrm>
                <a:off x="3080" y="2003"/>
                <a:ext cx="277" cy="125"/>
              </a:xfrm>
              <a:custGeom>
                <a:avLst/>
                <a:gdLst>
                  <a:gd name="T0" fmla="*/ 695 w 1836"/>
                  <a:gd name="T1" fmla="*/ 13 h 851"/>
                  <a:gd name="T2" fmla="*/ 506 w 1836"/>
                  <a:gd name="T3" fmla="*/ 139 h 851"/>
                  <a:gd name="T4" fmla="*/ 346 w 1836"/>
                  <a:gd name="T5" fmla="*/ 125 h 851"/>
                  <a:gd name="T6" fmla="*/ 321 w 1836"/>
                  <a:gd name="T7" fmla="*/ 183 h 851"/>
                  <a:gd name="T8" fmla="*/ 279 w 1836"/>
                  <a:gd name="T9" fmla="*/ 199 h 851"/>
                  <a:gd name="T10" fmla="*/ 301 w 1836"/>
                  <a:gd name="T11" fmla="*/ 229 h 851"/>
                  <a:gd name="T12" fmla="*/ 191 w 1836"/>
                  <a:gd name="T13" fmla="*/ 236 h 851"/>
                  <a:gd name="T14" fmla="*/ 172 w 1836"/>
                  <a:gd name="T15" fmla="*/ 215 h 851"/>
                  <a:gd name="T16" fmla="*/ 167 w 1836"/>
                  <a:gd name="T17" fmla="*/ 245 h 851"/>
                  <a:gd name="T18" fmla="*/ 118 w 1836"/>
                  <a:gd name="T19" fmla="*/ 224 h 851"/>
                  <a:gd name="T20" fmla="*/ 42 w 1836"/>
                  <a:gd name="T21" fmla="*/ 259 h 851"/>
                  <a:gd name="T22" fmla="*/ 7 w 1836"/>
                  <a:gd name="T23" fmla="*/ 301 h 851"/>
                  <a:gd name="T24" fmla="*/ 0 w 1836"/>
                  <a:gd name="T25" fmla="*/ 359 h 851"/>
                  <a:gd name="T26" fmla="*/ 85 w 1836"/>
                  <a:gd name="T27" fmla="*/ 358 h 851"/>
                  <a:gd name="T28" fmla="*/ 64 w 1836"/>
                  <a:gd name="T29" fmla="*/ 396 h 851"/>
                  <a:gd name="T30" fmla="*/ 72 w 1836"/>
                  <a:gd name="T31" fmla="*/ 430 h 851"/>
                  <a:gd name="T32" fmla="*/ 89 w 1836"/>
                  <a:gd name="T33" fmla="*/ 453 h 851"/>
                  <a:gd name="T34" fmla="*/ 75 w 1836"/>
                  <a:gd name="T35" fmla="*/ 486 h 851"/>
                  <a:gd name="T36" fmla="*/ 40 w 1836"/>
                  <a:gd name="T37" fmla="*/ 497 h 851"/>
                  <a:gd name="T38" fmla="*/ 61 w 1836"/>
                  <a:gd name="T39" fmla="*/ 543 h 851"/>
                  <a:gd name="T40" fmla="*/ 104 w 1836"/>
                  <a:gd name="T41" fmla="*/ 626 h 851"/>
                  <a:gd name="T42" fmla="*/ 144 w 1836"/>
                  <a:gd name="T43" fmla="*/ 675 h 851"/>
                  <a:gd name="T44" fmla="*/ 196 w 1836"/>
                  <a:gd name="T45" fmla="*/ 716 h 851"/>
                  <a:gd name="T46" fmla="*/ 216 w 1836"/>
                  <a:gd name="T47" fmla="*/ 732 h 851"/>
                  <a:gd name="T48" fmla="*/ 317 w 1836"/>
                  <a:gd name="T49" fmla="*/ 804 h 851"/>
                  <a:gd name="T50" fmla="*/ 414 w 1836"/>
                  <a:gd name="T51" fmla="*/ 811 h 851"/>
                  <a:gd name="T52" fmla="*/ 445 w 1836"/>
                  <a:gd name="T53" fmla="*/ 724 h 851"/>
                  <a:gd name="T54" fmla="*/ 616 w 1836"/>
                  <a:gd name="T55" fmla="*/ 809 h 851"/>
                  <a:gd name="T56" fmla="*/ 762 w 1836"/>
                  <a:gd name="T57" fmla="*/ 816 h 851"/>
                  <a:gd name="T58" fmla="*/ 774 w 1836"/>
                  <a:gd name="T59" fmla="*/ 793 h 851"/>
                  <a:gd name="T60" fmla="*/ 865 w 1836"/>
                  <a:gd name="T61" fmla="*/ 749 h 851"/>
                  <a:gd name="T62" fmla="*/ 915 w 1836"/>
                  <a:gd name="T63" fmla="*/ 765 h 851"/>
                  <a:gd name="T64" fmla="*/ 927 w 1836"/>
                  <a:gd name="T65" fmla="*/ 751 h 851"/>
                  <a:gd name="T66" fmla="*/ 971 w 1836"/>
                  <a:gd name="T67" fmla="*/ 726 h 851"/>
                  <a:gd name="T68" fmla="*/ 956 w 1836"/>
                  <a:gd name="T69" fmla="*/ 786 h 851"/>
                  <a:gd name="T70" fmla="*/ 958 w 1836"/>
                  <a:gd name="T71" fmla="*/ 842 h 851"/>
                  <a:gd name="T72" fmla="*/ 1002 w 1836"/>
                  <a:gd name="T73" fmla="*/ 845 h 851"/>
                  <a:gd name="T74" fmla="*/ 1034 w 1836"/>
                  <a:gd name="T75" fmla="*/ 777 h 851"/>
                  <a:gd name="T76" fmla="*/ 1049 w 1836"/>
                  <a:gd name="T77" fmla="*/ 733 h 851"/>
                  <a:gd name="T78" fmla="*/ 1181 w 1836"/>
                  <a:gd name="T79" fmla="*/ 719 h 851"/>
                  <a:gd name="T80" fmla="*/ 1360 w 1836"/>
                  <a:gd name="T81" fmla="*/ 733 h 851"/>
                  <a:gd name="T82" fmla="*/ 1509 w 1836"/>
                  <a:gd name="T83" fmla="*/ 698 h 851"/>
                  <a:gd name="T84" fmla="*/ 1613 w 1836"/>
                  <a:gd name="T85" fmla="*/ 650 h 851"/>
                  <a:gd name="T86" fmla="*/ 1656 w 1836"/>
                  <a:gd name="T87" fmla="*/ 649 h 851"/>
                  <a:gd name="T88" fmla="*/ 1736 w 1836"/>
                  <a:gd name="T89" fmla="*/ 666 h 851"/>
                  <a:gd name="T90" fmla="*/ 1774 w 1836"/>
                  <a:gd name="T91" fmla="*/ 682 h 851"/>
                  <a:gd name="T92" fmla="*/ 1819 w 1836"/>
                  <a:gd name="T93" fmla="*/ 673 h 851"/>
                  <a:gd name="T94" fmla="*/ 1806 w 1836"/>
                  <a:gd name="T95" fmla="*/ 631 h 851"/>
                  <a:gd name="T96" fmla="*/ 1779 w 1836"/>
                  <a:gd name="T97" fmla="*/ 576 h 851"/>
                  <a:gd name="T98" fmla="*/ 1791 w 1836"/>
                  <a:gd name="T99" fmla="*/ 493 h 851"/>
                  <a:gd name="T100" fmla="*/ 1778 w 1836"/>
                  <a:gd name="T101" fmla="*/ 439 h 851"/>
                  <a:gd name="T102" fmla="*/ 1794 w 1836"/>
                  <a:gd name="T103" fmla="*/ 338 h 851"/>
                  <a:gd name="T104" fmla="*/ 1803 w 1836"/>
                  <a:gd name="T105" fmla="*/ 291 h 851"/>
                  <a:gd name="T106" fmla="*/ 1745 w 1836"/>
                  <a:gd name="T107" fmla="*/ 194 h 851"/>
                  <a:gd name="T108" fmla="*/ 1598 w 1836"/>
                  <a:gd name="T109" fmla="*/ 90 h 851"/>
                  <a:gd name="T110" fmla="*/ 1426 w 1836"/>
                  <a:gd name="T111" fmla="*/ 142 h 851"/>
                  <a:gd name="T112" fmla="*/ 1283 w 1836"/>
                  <a:gd name="T113" fmla="*/ 141 h 851"/>
                  <a:gd name="T114" fmla="*/ 1098 w 1836"/>
                  <a:gd name="T115" fmla="*/ 142 h 851"/>
                  <a:gd name="T116" fmla="*/ 991 w 1836"/>
                  <a:gd name="T117" fmla="*/ 97 h 851"/>
                  <a:gd name="T118" fmla="*/ 904 w 1836"/>
                  <a:gd name="T119" fmla="*/ 51 h 851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1836"/>
                  <a:gd name="T181" fmla="*/ 0 h 851"/>
                  <a:gd name="T182" fmla="*/ 1836 w 1836"/>
                  <a:gd name="T183" fmla="*/ 851 h 851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1836" h="851">
                    <a:moveTo>
                      <a:pt x="844" y="23"/>
                    </a:moveTo>
                    <a:lnTo>
                      <a:pt x="808" y="21"/>
                    </a:lnTo>
                    <a:lnTo>
                      <a:pt x="735" y="9"/>
                    </a:lnTo>
                    <a:lnTo>
                      <a:pt x="695" y="13"/>
                    </a:lnTo>
                    <a:lnTo>
                      <a:pt x="624" y="41"/>
                    </a:lnTo>
                    <a:lnTo>
                      <a:pt x="522" y="106"/>
                    </a:lnTo>
                    <a:lnTo>
                      <a:pt x="525" y="125"/>
                    </a:lnTo>
                    <a:lnTo>
                      <a:pt x="506" y="139"/>
                    </a:lnTo>
                    <a:lnTo>
                      <a:pt x="460" y="141"/>
                    </a:lnTo>
                    <a:lnTo>
                      <a:pt x="412" y="121"/>
                    </a:lnTo>
                    <a:lnTo>
                      <a:pt x="400" y="128"/>
                    </a:lnTo>
                    <a:lnTo>
                      <a:pt x="346" y="125"/>
                    </a:lnTo>
                    <a:lnTo>
                      <a:pt x="304" y="116"/>
                    </a:lnTo>
                    <a:lnTo>
                      <a:pt x="290" y="149"/>
                    </a:lnTo>
                    <a:lnTo>
                      <a:pt x="317" y="174"/>
                    </a:lnTo>
                    <a:lnTo>
                      <a:pt x="321" y="183"/>
                    </a:lnTo>
                    <a:lnTo>
                      <a:pt x="375" y="181"/>
                    </a:lnTo>
                    <a:lnTo>
                      <a:pt x="359" y="190"/>
                    </a:lnTo>
                    <a:lnTo>
                      <a:pt x="339" y="190"/>
                    </a:lnTo>
                    <a:lnTo>
                      <a:pt x="279" y="199"/>
                    </a:lnTo>
                    <a:lnTo>
                      <a:pt x="267" y="213"/>
                    </a:lnTo>
                    <a:lnTo>
                      <a:pt x="276" y="220"/>
                    </a:lnTo>
                    <a:lnTo>
                      <a:pt x="297" y="222"/>
                    </a:lnTo>
                    <a:lnTo>
                      <a:pt x="301" y="229"/>
                    </a:lnTo>
                    <a:lnTo>
                      <a:pt x="294" y="239"/>
                    </a:lnTo>
                    <a:lnTo>
                      <a:pt x="264" y="232"/>
                    </a:lnTo>
                    <a:lnTo>
                      <a:pt x="237" y="231"/>
                    </a:lnTo>
                    <a:lnTo>
                      <a:pt x="191" y="236"/>
                    </a:lnTo>
                    <a:lnTo>
                      <a:pt x="181" y="236"/>
                    </a:lnTo>
                    <a:lnTo>
                      <a:pt x="191" y="224"/>
                    </a:lnTo>
                    <a:lnTo>
                      <a:pt x="186" y="218"/>
                    </a:lnTo>
                    <a:lnTo>
                      <a:pt x="172" y="215"/>
                    </a:lnTo>
                    <a:lnTo>
                      <a:pt x="159" y="222"/>
                    </a:lnTo>
                    <a:lnTo>
                      <a:pt x="171" y="229"/>
                    </a:lnTo>
                    <a:lnTo>
                      <a:pt x="174" y="238"/>
                    </a:lnTo>
                    <a:lnTo>
                      <a:pt x="167" y="245"/>
                    </a:lnTo>
                    <a:lnTo>
                      <a:pt x="144" y="245"/>
                    </a:lnTo>
                    <a:lnTo>
                      <a:pt x="137" y="243"/>
                    </a:lnTo>
                    <a:lnTo>
                      <a:pt x="125" y="236"/>
                    </a:lnTo>
                    <a:lnTo>
                      <a:pt x="118" y="224"/>
                    </a:lnTo>
                    <a:lnTo>
                      <a:pt x="98" y="225"/>
                    </a:lnTo>
                    <a:lnTo>
                      <a:pt x="92" y="234"/>
                    </a:lnTo>
                    <a:lnTo>
                      <a:pt x="69" y="232"/>
                    </a:lnTo>
                    <a:lnTo>
                      <a:pt x="42" y="259"/>
                    </a:lnTo>
                    <a:lnTo>
                      <a:pt x="35" y="261"/>
                    </a:lnTo>
                    <a:lnTo>
                      <a:pt x="26" y="285"/>
                    </a:lnTo>
                    <a:lnTo>
                      <a:pt x="12" y="285"/>
                    </a:lnTo>
                    <a:lnTo>
                      <a:pt x="7" y="301"/>
                    </a:lnTo>
                    <a:lnTo>
                      <a:pt x="7" y="319"/>
                    </a:lnTo>
                    <a:lnTo>
                      <a:pt x="10" y="331"/>
                    </a:lnTo>
                    <a:lnTo>
                      <a:pt x="3" y="340"/>
                    </a:lnTo>
                    <a:lnTo>
                      <a:pt x="0" y="359"/>
                    </a:lnTo>
                    <a:lnTo>
                      <a:pt x="7" y="361"/>
                    </a:lnTo>
                    <a:lnTo>
                      <a:pt x="73" y="345"/>
                    </a:lnTo>
                    <a:lnTo>
                      <a:pt x="89" y="347"/>
                    </a:lnTo>
                    <a:lnTo>
                      <a:pt x="85" y="358"/>
                    </a:lnTo>
                    <a:lnTo>
                      <a:pt x="79" y="359"/>
                    </a:lnTo>
                    <a:lnTo>
                      <a:pt x="53" y="388"/>
                    </a:lnTo>
                    <a:lnTo>
                      <a:pt x="64" y="388"/>
                    </a:lnTo>
                    <a:lnTo>
                      <a:pt x="64" y="396"/>
                    </a:lnTo>
                    <a:lnTo>
                      <a:pt x="73" y="403"/>
                    </a:lnTo>
                    <a:lnTo>
                      <a:pt x="80" y="414"/>
                    </a:lnTo>
                    <a:lnTo>
                      <a:pt x="72" y="419"/>
                    </a:lnTo>
                    <a:lnTo>
                      <a:pt x="72" y="430"/>
                    </a:lnTo>
                    <a:lnTo>
                      <a:pt x="86" y="432"/>
                    </a:lnTo>
                    <a:lnTo>
                      <a:pt x="93" y="437"/>
                    </a:lnTo>
                    <a:lnTo>
                      <a:pt x="97" y="446"/>
                    </a:lnTo>
                    <a:lnTo>
                      <a:pt x="89" y="453"/>
                    </a:lnTo>
                    <a:lnTo>
                      <a:pt x="64" y="463"/>
                    </a:lnTo>
                    <a:lnTo>
                      <a:pt x="63" y="470"/>
                    </a:lnTo>
                    <a:lnTo>
                      <a:pt x="76" y="479"/>
                    </a:lnTo>
                    <a:lnTo>
                      <a:pt x="75" y="486"/>
                    </a:lnTo>
                    <a:lnTo>
                      <a:pt x="92" y="504"/>
                    </a:lnTo>
                    <a:lnTo>
                      <a:pt x="67" y="520"/>
                    </a:lnTo>
                    <a:lnTo>
                      <a:pt x="47" y="500"/>
                    </a:lnTo>
                    <a:lnTo>
                      <a:pt x="40" y="497"/>
                    </a:lnTo>
                    <a:lnTo>
                      <a:pt x="32" y="529"/>
                    </a:lnTo>
                    <a:lnTo>
                      <a:pt x="32" y="545"/>
                    </a:lnTo>
                    <a:lnTo>
                      <a:pt x="44" y="548"/>
                    </a:lnTo>
                    <a:lnTo>
                      <a:pt x="61" y="543"/>
                    </a:lnTo>
                    <a:lnTo>
                      <a:pt x="89" y="566"/>
                    </a:lnTo>
                    <a:lnTo>
                      <a:pt x="106" y="573"/>
                    </a:lnTo>
                    <a:lnTo>
                      <a:pt x="110" y="589"/>
                    </a:lnTo>
                    <a:lnTo>
                      <a:pt x="104" y="626"/>
                    </a:lnTo>
                    <a:lnTo>
                      <a:pt x="109" y="643"/>
                    </a:lnTo>
                    <a:lnTo>
                      <a:pt x="128" y="649"/>
                    </a:lnTo>
                    <a:lnTo>
                      <a:pt x="141" y="661"/>
                    </a:lnTo>
                    <a:lnTo>
                      <a:pt x="144" y="675"/>
                    </a:lnTo>
                    <a:lnTo>
                      <a:pt x="118" y="687"/>
                    </a:lnTo>
                    <a:lnTo>
                      <a:pt x="123" y="703"/>
                    </a:lnTo>
                    <a:lnTo>
                      <a:pt x="190" y="705"/>
                    </a:lnTo>
                    <a:lnTo>
                      <a:pt x="196" y="716"/>
                    </a:lnTo>
                    <a:lnTo>
                      <a:pt x="186" y="724"/>
                    </a:lnTo>
                    <a:lnTo>
                      <a:pt x="183" y="733"/>
                    </a:lnTo>
                    <a:lnTo>
                      <a:pt x="191" y="756"/>
                    </a:lnTo>
                    <a:lnTo>
                      <a:pt x="216" y="732"/>
                    </a:lnTo>
                    <a:lnTo>
                      <a:pt x="237" y="728"/>
                    </a:lnTo>
                    <a:lnTo>
                      <a:pt x="270" y="754"/>
                    </a:lnTo>
                    <a:lnTo>
                      <a:pt x="289" y="733"/>
                    </a:lnTo>
                    <a:lnTo>
                      <a:pt x="317" y="804"/>
                    </a:lnTo>
                    <a:lnTo>
                      <a:pt x="335" y="814"/>
                    </a:lnTo>
                    <a:lnTo>
                      <a:pt x="353" y="816"/>
                    </a:lnTo>
                    <a:lnTo>
                      <a:pt x="403" y="802"/>
                    </a:lnTo>
                    <a:lnTo>
                      <a:pt x="414" y="811"/>
                    </a:lnTo>
                    <a:lnTo>
                      <a:pt x="425" y="811"/>
                    </a:lnTo>
                    <a:lnTo>
                      <a:pt x="433" y="800"/>
                    </a:lnTo>
                    <a:lnTo>
                      <a:pt x="439" y="740"/>
                    </a:lnTo>
                    <a:lnTo>
                      <a:pt x="445" y="724"/>
                    </a:lnTo>
                    <a:lnTo>
                      <a:pt x="476" y="721"/>
                    </a:lnTo>
                    <a:lnTo>
                      <a:pt x="521" y="732"/>
                    </a:lnTo>
                    <a:lnTo>
                      <a:pt x="574" y="760"/>
                    </a:lnTo>
                    <a:lnTo>
                      <a:pt x="616" y="809"/>
                    </a:lnTo>
                    <a:lnTo>
                      <a:pt x="645" y="826"/>
                    </a:lnTo>
                    <a:lnTo>
                      <a:pt x="697" y="831"/>
                    </a:lnTo>
                    <a:lnTo>
                      <a:pt x="755" y="807"/>
                    </a:lnTo>
                    <a:lnTo>
                      <a:pt x="762" y="816"/>
                    </a:lnTo>
                    <a:lnTo>
                      <a:pt x="762" y="813"/>
                    </a:lnTo>
                    <a:lnTo>
                      <a:pt x="768" y="807"/>
                    </a:lnTo>
                    <a:lnTo>
                      <a:pt x="774" y="806"/>
                    </a:lnTo>
                    <a:lnTo>
                      <a:pt x="774" y="793"/>
                    </a:lnTo>
                    <a:lnTo>
                      <a:pt x="789" y="776"/>
                    </a:lnTo>
                    <a:lnTo>
                      <a:pt x="826" y="742"/>
                    </a:lnTo>
                    <a:lnTo>
                      <a:pt x="844" y="740"/>
                    </a:lnTo>
                    <a:lnTo>
                      <a:pt x="865" y="749"/>
                    </a:lnTo>
                    <a:lnTo>
                      <a:pt x="883" y="761"/>
                    </a:lnTo>
                    <a:lnTo>
                      <a:pt x="898" y="774"/>
                    </a:lnTo>
                    <a:lnTo>
                      <a:pt x="912" y="770"/>
                    </a:lnTo>
                    <a:lnTo>
                      <a:pt x="915" y="765"/>
                    </a:lnTo>
                    <a:lnTo>
                      <a:pt x="918" y="769"/>
                    </a:lnTo>
                    <a:lnTo>
                      <a:pt x="926" y="767"/>
                    </a:lnTo>
                    <a:lnTo>
                      <a:pt x="931" y="754"/>
                    </a:lnTo>
                    <a:lnTo>
                      <a:pt x="927" y="751"/>
                    </a:lnTo>
                    <a:lnTo>
                      <a:pt x="932" y="747"/>
                    </a:lnTo>
                    <a:lnTo>
                      <a:pt x="943" y="746"/>
                    </a:lnTo>
                    <a:lnTo>
                      <a:pt x="964" y="723"/>
                    </a:lnTo>
                    <a:lnTo>
                      <a:pt x="971" y="726"/>
                    </a:lnTo>
                    <a:lnTo>
                      <a:pt x="983" y="744"/>
                    </a:lnTo>
                    <a:lnTo>
                      <a:pt x="984" y="751"/>
                    </a:lnTo>
                    <a:lnTo>
                      <a:pt x="984" y="761"/>
                    </a:lnTo>
                    <a:lnTo>
                      <a:pt x="956" y="786"/>
                    </a:lnTo>
                    <a:lnTo>
                      <a:pt x="946" y="799"/>
                    </a:lnTo>
                    <a:lnTo>
                      <a:pt x="942" y="809"/>
                    </a:lnTo>
                    <a:lnTo>
                      <a:pt x="947" y="814"/>
                    </a:lnTo>
                    <a:lnTo>
                      <a:pt x="958" y="842"/>
                    </a:lnTo>
                    <a:lnTo>
                      <a:pt x="972" y="842"/>
                    </a:lnTo>
                    <a:lnTo>
                      <a:pt x="989" y="851"/>
                    </a:lnTo>
                    <a:lnTo>
                      <a:pt x="993" y="842"/>
                    </a:lnTo>
                    <a:lnTo>
                      <a:pt x="1002" y="845"/>
                    </a:lnTo>
                    <a:lnTo>
                      <a:pt x="1012" y="835"/>
                    </a:lnTo>
                    <a:lnTo>
                      <a:pt x="1017" y="811"/>
                    </a:lnTo>
                    <a:lnTo>
                      <a:pt x="1045" y="804"/>
                    </a:lnTo>
                    <a:lnTo>
                      <a:pt x="1034" y="777"/>
                    </a:lnTo>
                    <a:lnTo>
                      <a:pt x="1030" y="751"/>
                    </a:lnTo>
                    <a:lnTo>
                      <a:pt x="1032" y="732"/>
                    </a:lnTo>
                    <a:lnTo>
                      <a:pt x="1038" y="733"/>
                    </a:lnTo>
                    <a:lnTo>
                      <a:pt x="1049" y="733"/>
                    </a:lnTo>
                    <a:lnTo>
                      <a:pt x="1082" y="744"/>
                    </a:lnTo>
                    <a:lnTo>
                      <a:pt x="1107" y="746"/>
                    </a:lnTo>
                    <a:lnTo>
                      <a:pt x="1140" y="740"/>
                    </a:lnTo>
                    <a:lnTo>
                      <a:pt x="1181" y="719"/>
                    </a:lnTo>
                    <a:lnTo>
                      <a:pt x="1193" y="716"/>
                    </a:lnTo>
                    <a:lnTo>
                      <a:pt x="1287" y="753"/>
                    </a:lnTo>
                    <a:lnTo>
                      <a:pt x="1335" y="742"/>
                    </a:lnTo>
                    <a:lnTo>
                      <a:pt x="1360" y="733"/>
                    </a:lnTo>
                    <a:lnTo>
                      <a:pt x="1426" y="693"/>
                    </a:lnTo>
                    <a:lnTo>
                      <a:pt x="1446" y="689"/>
                    </a:lnTo>
                    <a:lnTo>
                      <a:pt x="1478" y="696"/>
                    </a:lnTo>
                    <a:lnTo>
                      <a:pt x="1509" y="698"/>
                    </a:lnTo>
                    <a:lnTo>
                      <a:pt x="1562" y="686"/>
                    </a:lnTo>
                    <a:lnTo>
                      <a:pt x="1593" y="666"/>
                    </a:lnTo>
                    <a:lnTo>
                      <a:pt x="1602" y="649"/>
                    </a:lnTo>
                    <a:lnTo>
                      <a:pt x="1613" y="650"/>
                    </a:lnTo>
                    <a:lnTo>
                      <a:pt x="1614" y="666"/>
                    </a:lnTo>
                    <a:lnTo>
                      <a:pt x="1625" y="663"/>
                    </a:lnTo>
                    <a:lnTo>
                      <a:pt x="1637" y="654"/>
                    </a:lnTo>
                    <a:lnTo>
                      <a:pt x="1656" y="649"/>
                    </a:lnTo>
                    <a:lnTo>
                      <a:pt x="1670" y="657"/>
                    </a:lnTo>
                    <a:lnTo>
                      <a:pt x="1685" y="656"/>
                    </a:lnTo>
                    <a:lnTo>
                      <a:pt x="1721" y="666"/>
                    </a:lnTo>
                    <a:lnTo>
                      <a:pt x="1736" y="666"/>
                    </a:lnTo>
                    <a:lnTo>
                      <a:pt x="1748" y="652"/>
                    </a:lnTo>
                    <a:lnTo>
                      <a:pt x="1765" y="657"/>
                    </a:lnTo>
                    <a:lnTo>
                      <a:pt x="1777" y="666"/>
                    </a:lnTo>
                    <a:lnTo>
                      <a:pt x="1774" y="682"/>
                    </a:lnTo>
                    <a:lnTo>
                      <a:pt x="1779" y="698"/>
                    </a:lnTo>
                    <a:lnTo>
                      <a:pt x="1793" y="705"/>
                    </a:lnTo>
                    <a:lnTo>
                      <a:pt x="1799" y="698"/>
                    </a:lnTo>
                    <a:lnTo>
                      <a:pt x="1819" y="673"/>
                    </a:lnTo>
                    <a:lnTo>
                      <a:pt x="1836" y="675"/>
                    </a:lnTo>
                    <a:lnTo>
                      <a:pt x="1836" y="656"/>
                    </a:lnTo>
                    <a:lnTo>
                      <a:pt x="1823" y="654"/>
                    </a:lnTo>
                    <a:lnTo>
                      <a:pt x="1806" y="631"/>
                    </a:lnTo>
                    <a:lnTo>
                      <a:pt x="1802" y="606"/>
                    </a:lnTo>
                    <a:lnTo>
                      <a:pt x="1807" y="590"/>
                    </a:lnTo>
                    <a:lnTo>
                      <a:pt x="1790" y="585"/>
                    </a:lnTo>
                    <a:lnTo>
                      <a:pt x="1779" y="576"/>
                    </a:lnTo>
                    <a:lnTo>
                      <a:pt x="1782" y="567"/>
                    </a:lnTo>
                    <a:lnTo>
                      <a:pt x="1804" y="518"/>
                    </a:lnTo>
                    <a:lnTo>
                      <a:pt x="1803" y="506"/>
                    </a:lnTo>
                    <a:lnTo>
                      <a:pt x="1791" y="493"/>
                    </a:lnTo>
                    <a:lnTo>
                      <a:pt x="1786" y="500"/>
                    </a:lnTo>
                    <a:lnTo>
                      <a:pt x="1782" y="493"/>
                    </a:lnTo>
                    <a:lnTo>
                      <a:pt x="1772" y="462"/>
                    </a:lnTo>
                    <a:lnTo>
                      <a:pt x="1778" y="439"/>
                    </a:lnTo>
                    <a:lnTo>
                      <a:pt x="1766" y="398"/>
                    </a:lnTo>
                    <a:lnTo>
                      <a:pt x="1767" y="382"/>
                    </a:lnTo>
                    <a:lnTo>
                      <a:pt x="1794" y="365"/>
                    </a:lnTo>
                    <a:lnTo>
                      <a:pt x="1794" y="338"/>
                    </a:lnTo>
                    <a:lnTo>
                      <a:pt x="1804" y="329"/>
                    </a:lnTo>
                    <a:lnTo>
                      <a:pt x="1822" y="331"/>
                    </a:lnTo>
                    <a:lnTo>
                      <a:pt x="1826" y="319"/>
                    </a:lnTo>
                    <a:lnTo>
                      <a:pt x="1803" y="291"/>
                    </a:lnTo>
                    <a:lnTo>
                      <a:pt x="1741" y="283"/>
                    </a:lnTo>
                    <a:lnTo>
                      <a:pt x="1729" y="269"/>
                    </a:lnTo>
                    <a:lnTo>
                      <a:pt x="1728" y="245"/>
                    </a:lnTo>
                    <a:lnTo>
                      <a:pt x="1745" y="194"/>
                    </a:lnTo>
                    <a:lnTo>
                      <a:pt x="1745" y="181"/>
                    </a:lnTo>
                    <a:lnTo>
                      <a:pt x="1650" y="69"/>
                    </a:lnTo>
                    <a:lnTo>
                      <a:pt x="1631" y="67"/>
                    </a:lnTo>
                    <a:lnTo>
                      <a:pt x="1598" y="90"/>
                    </a:lnTo>
                    <a:lnTo>
                      <a:pt x="1588" y="94"/>
                    </a:lnTo>
                    <a:lnTo>
                      <a:pt x="1512" y="85"/>
                    </a:lnTo>
                    <a:lnTo>
                      <a:pt x="1495" y="106"/>
                    </a:lnTo>
                    <a:lnTo>
                      <a:pt x="1426" y="142"/>
                    </a:lnTo>
                    <a:lnTo>
                      <a:pt x="1402" y="151"/>
                    </a:lnTo>
                    <a:lnTo>
                      <a:pt x="1369" y="153"/>
                    </a:lnTo>
                    <a:lnTo>
                      <a:pt x="1304" y="137"/>
                    </a:lnTo>
                    <a:lnTo>
                      <a:pt x="1283" y="141"/>
                    </a:lnTo>
                    <a:lnTo>
                      <a:pt x="1235" y="158"/>
                    </a:lnTo>
                    <a:lnTo>
                      <a:pt x="1202" y="158"/>
                    </a:lnTo>
                    <a:lnTo>
                      <a:pt x="1153" y="146"/>
                    </a:lnTo>
                    <a:lnTo>
                      <a:pt x="1098" y="142"/>
                    </a:lnTo>
                    <a:lnTo>
                      <a:pt x="1055" y="106"/>
                    </a:lnTo>
                    <a:lnTo>
                      <a:pt x="1038" y="103"/>
                    </a:lnTo>
                    <a:lnTo>
                      <a:pt x="1013" y="114"/>
                    </a:lnTo>
                    <a:lnTo>
                      <a:pt x="991" y="97"/>
                    </a:lnTo>
                    <a:lnTo>
                      <a:pt x="971" y="50"/>
                    </a:lnTo>
                    <a:lnTo>
                      <a:pt x="943" y="58"/>
                    </a:lnTo>
                    <a:lnTo>
                      <a:pt x="918" y="58"/>
                    </a:lnTo>
                    <a:lnTo>
                      <a:pt x="904" y="51"/>
                    </a:lnTo>
                    <a:lnTo>
                      <a:pt x="887" y="34"/>
                    </a:lnTo>
                    <a:lnTo>
                      <a:pt x="878" y="0"/>
                    </a:lnTo>
                    <a:lnTo>
                      <a:pt x="844" y="23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86" name="Freeform 274"/>
              <p:cNvSpPr>
                <a:spLocks/>
              </p:cNvSpPr>
              <p:nvPr>
                <p:custDataLst>
                  <p:tags r:id="rId211"/>
                </p:custDataLst>
              </p:nvPr>
            </p:nvSpPr>
            <p:spPr bwMode="auto">
              <a:xfrm>
                <a:off x="3080" y="2003"/>
                <a:ext cx="45" cy="41"/>
              </a:xfrm>
              <a:custGeom>
                <a:avLst/>
                <a:gdLst>
                  <a:gd name="T0" fmla="*/ 195 w 299"/>
                  <a:gd name="T1" fmla="*/ 21 h 276"/>
                  <a:gd name="T2" fmla="*/ 185 w 299"/>
                  <a:gd name="T3" fmla="*/ 7 h 276"/>
                  <a:gd name="T4" fmla="*/ 125 w 299"/>
                  <a:gd name="T5" fmla="*/ 7 h 276"/>
                  <a:gd name="T6" fmla="*/ 103 w 299"/>
                  <a:gd name="T7" fmla="*/ 0 h 276"/>
                  <a:gd name="T8" fmla="*/ 81 w 299"/>
                  <a:gd name="T9" fmla="*/ 4 h 276"/>
                  <a:gd name="T10" fmla="*/ 53 w 299"/>
                  <a:gd name="T11" fmla="*/ 26 h 276"/>
                  <a:gd name="T12" fmla="*/ 30 w 299"/>
                  <a:gd name="T13" fmla="*/ 55 h 276"/>
                  <a:gd name="T14" fmla="*/ 34 w 299"/>
                  <a:gd name="T15" fmla="*/ 55 h 276"/>
                  <a:gd name="T16" fmla="*/ 54 w 299"/>
                  <a:gd name="T17" fmla="*/ 67 h 276"/>
                  <a:gd name="T18" fmla="*/ 60 w 299"/>
                  <a:gd name="T19" fmla="*/ 81 h 276"/>
                  <a:gd name="T20" fmla="*/ 30 w 299"/>
                  <a:gd name="T21" fmla="*/ 121 h 276"/>
                  <a:gd name="T22" fmla="*/ 0 w 299"/>
                  <a:gd name="T23" fmla="*/ 190 h 276"/>
                  <a:gd name="T24" fmla="*/ 8 w 299"/>
                  <a:gd name="T25" fmla="*/ 200 h 276"/>
                  <a:gd name="T26" fmla="*/ 38 w 299"/>
                  <a:gd name="T27" fmla="*/ 204 h 276"/>
                  <a:gd name="T28" fmla="*/ 41 w 299"/>
                  <a:gd name="T29" fmla="*/ 202 h 276"/>
                  <a:gd name="T30" fmla="*/ 51 w 299"/>
                  <a:gd name="T31" fmla="*/ 214 h 276"/>
                  <a:gd name="T32" fmla="*/ 16 w 299"/>
                  <a:gd name="T33" fmla="*/ 241 h 276"/>
                  <a:gd name="T34" fmla="*/ 18 w 299"/>
                  <a:gd name="T35" fmla="*/ 251 h 276"/>
                  <a:gd name="T36" fmla="*/ 17 w 299"/>
                  <a:gd name="T37" fmla="*/ 260 h 276"/>
                  <a:gd name="T38" fmla="*/ 9 w 299"/>
                  <a:gd name="T39" fmla="*/ 276 h 276"/>
                  <a:gd name="T40" fmla="*/ 21 w 299"/>
                  <a:gd name="T41" fmla="*/ 271 h 276"/>
                  <a:gd name="T42" fmla="*/ 33 w 299"/>
                  <a:gd name="T43" fmla="*/ 253 h 276"/>
                  <a:gd name="T44" fmla="*/ 46 w 299"/>
                  <a:gd name="T45" fmla="*/ 244 h 276"/>
                  <a:gd name="T46" fmla="*/ 57 w 299"/>
                  <a:gd name="T47" fmla="*/ 229 h 276"/>
                  <a:gd name="T48" fmla="*/ 120 w 299"/>
                  <a:gd name="T49" fmla="*/ 192 h 276"/>
                  <a:gd name="T50" fmla="*/ 125 w 299"/>
                  <a:gd name="T51" fmla="*/ 174 h 276"/>
                  <a:gd name="T52" fmla="*/ 141 w 299"/>
                  <a:gd name="T53" fmla="*/ 149 h 276"/>
                  <a:gd name="T54" fmla="*/ 186 w 299"/>
                  <a:gd name="T55" fmla="*/ 151 h 276"/>
                  <a:gd name="T56" fmla="*/ 195 w 299"/>
                  <a:gd name="T57" fmla="*/ 140 h 276"/>
                  <a:gd name="T58" fmla="*/ 210 w 299"/>
                  <a:gd name="T59" fmla="*/ 137 h 276"/>
                  <a:gd name="T60" fmla="*/ 251 w 299"/>
                  <a:gd name="T61" fmla="*/ 153 h 276"/>
                  <a:gd name="T62" fmla="*/ 274 w 299"/>
                  <a:gd name="T63" fmla="*/ 156 h 276"/>
                  <a:gd name="T64" fmla="*/ 287 w 299"/>
                  <a:gd name="T65" fmla="*/ 146 h 276"/>
                  <a:gd name="T66" fmla="*/ 299 w 299"/>
                  <a:gd name="T67" fmla="*/ 117 h 276"/>
                  <a:gd name="T68" fmla="*/ 291 w 299"/>
                  <a:gd name="T69" fmla="*/ 108 h 276"/>
                  <a:gd name="T70" fmla="*/ 229 w 299"/>
                  <a:gd name="T71" fmla="*/ 83 h 276"/>
                  <a:gd name="T72" fmla="*/ 202 w 299"/>
                  <a:gd name="T73" fmla="*/ 62 h 276"/>
                  <a:gd name="T74" fmla="*/ 200 w 299"/>
                  <a:gd name="T75" fmla="*/ 56 h 276"/>
                  <a:gd name="T76" fmla="*/ 195 w 299"/>
                  <a:gd name="T77" fmla="*/ 39 h 276"/>
                  <a:gd name="T78" fmla="*/ 195 w 299"/>
                  <a:gd name="T79" fmla="*/ 21 h 27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299"/>
                  <a:gd name="T121" fmla="*/ 0 h 276"/>
                  <a:gd name="T122" fmla="*/ 299 w 299"/>
                  <a:gd name="T123" fmla="*/ 276 h 27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299" h="276">
                    <a:moveTo>
                      <a:pt x="195" y="21"/>
                    </a:moveTo>
                    <a:lnTo>
                      <a:pt x="185" y="7"/>
                    </a:lnTo>
                    <a:lnTo>
                      <a:pt x="125" y="7"/>
                    </a:lnTo>
                    <a:lnTo>
                      <a:pt x="103" y="0"/>
                    </a:lnTo>
                    <a:lnTo>
                      <a:pt x="81" y="4"/>
                    </a:lnTo>
                    <a:lnTo>
                      <a:pt x="53" y="26"/>
                    </a:lnTo>
                    <a:lnTo>
                      <a:pt x="30" y="55"/>
                    </a:lnTo>
                    <a:lnTo>
                      <a:pt x="34" y="55"/>
                    </a:lnTo>
                    <a:lnTo>
                      <a:pt x="54" y="67"/>
                    </a:lnTo>
                    <a:lnTo>
                      <a:pt x="60" y="81"/>
                    </a:lnTo>
                    <a:lnTo>
                      <a:pt x="30" y="121"/>
                    </a:lnTo>
                    <a:lnTo>
                      <a:pt x="0" y="190"/>
                    </a:lnTo>
                    <a:lnTo>
                      <a:pt x="8" y="200"/>
                    </a:lnTo>
                    <a:lnTo>
                      <a:pt x="38" y="204"/>
                    </a:lnTo>
                    <a:lnTo>
                      <a:pt x="41" y="202"/>
                    </a:lnTo>
                    <a:lnTo>
                      <a:pt x="51" y="214"/>
                    </a:lnTo>
                    <a:lnTo>
                      <a:pt x="16" y="241"/>
                    </a:lnTo>
                    <a:lnTo>
                      <a:pt x="18" y="251"/>
                    </a:lnTo>
                    <a:lnTo>
                      <a:pt x="17" y="260"/>
                    </a:lnTo>
                    <a:lnTo>
                      <a:pt x="9" y="276"/>
                    </a:lnTo>
                    <a:lnTo>
                      <a:pt x="21" y="271"/>
                    </a:lnTo>
                    <a:lnTo>
                      <a:pt x="33" y="253"/>
                    </a:lnTo>
                    <a:lnTo>
                      <a:pt x="46" y="244"/>
                    </a:lnTo>
                    <a:lnTo>
                      <a:pt x="57" y="229"/>
                    </a:lnTo>
                    <a:lnTo>
                      <a:pt x="120" y="192"/>
                    </a:lnTo>
                    <a:lnTo>
                      <a:pt x="125" y="174"/>
                    </a:lnTo>
                    <a:lnTo>
                      <a:pt x="141" y="149"/>
                    </a:lnTo>
                    <a:lnTo>
                      <a:pt x="186" y="151"/>
                    </a:lnTo>
                    <a:lnTo>
                      <a:pt x="195" y="140"/>
                    </a:lnTo>
                    <a:lnTo>
                      <a:pt x="210" y="137"/>
                    </a:lnTo>
                    <a:lnTo>
                      <a:pt x="251" y="153"/>
                    </a:lnTo>
                    <a:lnTo>
                      <a:pt x="274" y="156"/>
                    </a:lnTo>
                    <a:lnTo>
                      <a:pt x="287" y="146"/>
                    </a:lnTo>
                    <a:lnTo>
                      <a:pt x="299" y="117"/>
                    </a:lnTo>
                    <a:lnTo>
                      <a:pt x="291" y="108"/>
                    </a:lnTo>
                    <a:lnTo>
                      <a:pt x="229" y="83"/>
                    </a:lnTo>
                    <a:lnTo>
                      <a:pt x="202" y="62"/>
                    </a:lnTo>
                    <a:lnTo>
                      <a:pt x="200" y="56"/>
                    </a:lnTo>
                    <a:lnTo>
                      <a:pt x="195" y="39"/>
                    </a:lnTo>
                    <a:lnTo>
                      <a:pt x="195" y="21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87" name="Freeform 275"/>
              <p:cNvSpPr>
                <a:spLocks/>
              </p:cNvSpPr>
              <p:nvPr>
                <p:custDataLst>
                  <p:tags r:id="rId212"/>
                </p:custDataLst>
              </p:nvPr>
            </p:nvSpPr>
            <p:spPr bwMode="auto">
              <a:xfrm>
                <a:off x="2988" y="1706"/>
                <a:ext cx="44" cy="20"/>
              </a:xfrm>
              <a:custGeom>
                <a:avLst/>
                <a:gdLst>
                  <a:gd name="T0" fmla="*/ 178 w 294"/>
                  <a:gd name="T1" fmla="*/ 23 h 140"/>
                  <a:gd name="T2" fmla="*/ 168 w 294"/>
                  <a:gd name="T3" fmla="*/ 14 h 140"/>
                  <a:gd name="T4" fmla="*/ 158 w 294"/>
                  <a:gd name="T5" fmla="*/ 14 h 140"/>
                  <a:gd name="T6" fmla="*/ 154 w 294"/>
                  <a:gd name="T7" fmla="*/ 11 h 140"/>
                  <a:gd name="T8" fmla="*/ 151 w 294"/>
                  <a:gd name="T9" fmla="*/ 0 h 140"/>
                  <a:gd name="T10" fmla="*/ 131 w 294"/>
                  <a:gd name="T11" fmla="*/ 9 h 140"/>
                  <a:gd name="T12" fmla="*/ 137 w 294"/>
                  <a:gd name="T13" fmla="*/ 27 h 140"/>
                  <a:gd name="T14" fmla="*/ 126 w 294"/>
                  <a:gd name="T15" fmla="*/ 30 h 140"/>
                  <a:gd name="T16" fmla="*/ 134 w 294"/>
                  <a:gd name="T17" fmla="*/ 51 h 140"/>
                  <a:gd name="T18" fmla="*/ 129 w 294"/>
                  <a:gd name="T19" fmla="*/ 71 h 140"/>
                  <a:gd name="T20" fmla="*/ 113 w 294"/>
                  <a:gd name="T21" fmla="*/ 76 h 140"/>
                  <a:gd name="T22" fmla="*/ 12 w 294"/>
                  <a:gd name="T23" fmla="*/ 69 h 140"/>
                  <a:gd name="T24" fmla="*/ 3 w 294"/>
                  <a:gd name="T25" fmla="*/ 85 h 140"/>
                  <a:gd name="T26" fmla="*/ 0 w 294"/>
                  <a:gd name="T27" fmla="*/ 120 h 140"/>
                  <a:gd name="T28" fmla="*/ 7 w 294"/>
                  <a:gd name="T29" fmla="*/ 122 h 140"/>
                  <a:gd name="T30" fmla="*/ 11 w 294"/>
                  <a:gd name="T31" fmla="*/ 108 h 140"/>
                  <a:gd name="T32" fmla="*/ 18 w 294"/>
                  <a:gd name="T33" fmla="*/ 118 h 140"/>
                  <a:gd name="T34" fmla="*/ 36 w 294"/>
                  <a:gd name="T35" fmla="*/ 113 h 140"/>
                  <a:gd name="T36" fmla="*/ 49 w 294"/>
                  <a:gd name="T37" fmla="*/ 115 h 140"/>
                  <a:gd name="T38" fmla="*/ 36 w 294"/>
                  <a:gd name="T39" fmla="*/ 122 h 140"/>
                  <a:gd name="T40" fmla="*/ 15 w 294"/>
                  <a:gd name="T41" fmla="*/ 138 h 140"/>
                  <a:gd name="T42" fmla="*/ 282 w 294"/>
                  <a:gd name="T43" fmla="*/ 140 h 140"/>
                  <a:gd name="T44" fmla="*/ 281 w 294"/>
                  <a:gd name="T45" fmla="*/ 136 h 140"/>
                  <a:gd name="T46" fmla="*/ 277 w 294"/>
                  <a:gd name="T47" fmla="*/ 115 h 140"/>
                  <a:gd name="T48" fmla="*/ 283 w 294"/>
                  <a:gd name="T49" fmla="*/ 88 h 140"/>
                  <a:gd name="T50" fmla="*/ 294 w 294"/>
                  <a:gd name="T51" fmla="*/ 80 h 140"/>
                  <a:gd name="T52" fmla="*/ 291 w 294"/>
                  <a:gd name="T53" fmla="*/ 60 h 140"/>
                  <a:gd name="T54" fmla="*/ 274 w 294"/>
                  <a:gd name="T55" fmla="*/ 53 h 140"/>
                  <a:gd name="T56" fmla="*/ 270 w 294"/>
                  <a:gd name="T57" fmla="*/ 46 h 140"/>
                  <a:gd name="T58" fmla="*/ 267 w 294"/>
                  <a:gd name="T59" fmla="*/ 35 h 140"/>
                  <a:gd name="T60" fmla="*/ 257 w 294"/>
                  <a:gd name="T61" fmla="*/ 37 h 140"/>
                  <a:gd name="T62" fmla="*/ 225 w 294"/>
                  <a:gd name="T63" fmla="*/ 37 h 140"/>
                  <a:gd name="T64" fmla="*/ 217 w 294"/>
                  <a:gd name="T65" fmla="*/ 41 h 140"/>
                  <a:gd name="T66" fmla="*/ 212 w 294"/>
                  <a:gd name="T67" fmla="*/ 34 h 140"/>
                  <a:gd name="T68" fmla="*/ 190 w 294"/>
                  <a:gd name="T69" fmla="*/ 28 h 140"/>
                  <a:gd name="T70" fmla="*/ 178 w 294"/>
                  <a:gd name="T71" fmla="*/ 23 h 140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294"/>
                  <a:gd name="T109" fmla="*/ 0 h 140"/>
                  <a:gd name="T110" fmla="*/ 294 w 294"/>
                  <a:gd name="T111" fmla="*/ 140 h 140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294" h="140">
                    <a:moveTo>
                      <a:pt x="178" y="23"/>
                    </a:moveTo>
                    <a:lnTo>
                      <a:pt x="168" y="14"/>
                    </a:lnTo>
                    <a:lnTo>
                      <a:pt x="158" y="14"/>
                    </a:lnTo>
                    <a:lnTo>
                      <a:pt x="154" y="11"/>
                    </a:lnTo>
                    <a:lnTo>
                      <a:pt x="151" y="0"/>
                    </a:lnTo>
                    <a:lnTo>
                      <a:pt x="131" y="9"/>
                    </a:lnTo>
                    <a:lnTo>
                      <a:pt x="137" y="27"/>
                    </a:lnTo>
                    <a:lnTo>
                      <a:pt x="126" y="30"/>
                    </a:lnTo>
                    <a:lnTo>
                      <a:pt x="134" y="51"/>
                    </a:lnTo>
                    <a:lnTo>
                      <a:pt x="129" y="71"/>
                    </a:lnTo>
                    <a:lnTo>
                      <a:pt x="113" y="76"/>
                    </a:lnTo>
                    <a:lnTo>
                      <a:pt x="12" y="69"/>
                    </a:lnTo>
                    <a:lnTo>
                      <a:pt x="3" y="85"/>
                    </a:lnTo>
                    <a:lnTo>
                      <a:pt x="0" y="120"/>
                    </a:lnTo>
                    <a:lnTo>
                      <a:pt x="7" y="122"/>
                    </a:lnTo>
                    <a:lnTo>
                      <a:pt x="11" y="108"/>
                    </a:lnTo>
                    <a:lnTo>
                      <a:pt x="18" y="118"/>
                    </a:lnTo>
                    <a:lnTo>
                      <a:pt x="36" y="113"/>
                    </a:lnTo>
                    <a:lnTo>
                      <a:pt x="49" y="115"/>
                    </a:lnTo>
                    <a:lnTo>
                      <a:pt x="36" y="122"/>
                    </a:lnTo>
                    <a:lnTo>
                      <a:pt x="15" y="138"/>
                    </a:lnTo>
                    <a:lnTo>
                      <a:pt x="282" y="140"/>
                    </a:lnTo>
                    <a:lnTo>
                      <a:pt x="281" y="136"/>
                    </a:lnTo>
                    <a:lnTo>
                      <a:pt x="277" y="115"/>
                    </a:lnTo>
                    <a:lnTo>
                      <a:pt x="283" y="88"/>
                    </a:lnTo>
                    <a:lnTo>
                      <a:pt x="294" y="80"/>
                    </a:lnTo>
                    <a:lnTo>
                      <a:pt x="291" y="60"/>
                    </a:lnTo>
                    <a:lnTo>
                      <a:pt x="274" y="53"/>
                    </a:lnTo>
                    <a:lnTo>
                      <a:pt x="270" y="46"/>
                    </a:lnTo>
                    <a:lnTo>
                      <a:pt x="267" y="35"/>
                    </a:lnTo>
                    <a:lnTo>
                      <a:pt x="257" y="37"/>
                    </a:lnTo>
                    <a:lnTo>
                      <a:pt x="225" y="37"/>
                    </a:lnTo>
                    <a:lnTo>
                      <a:pt x="217" y="41"/>
                    </a:lnTo>
                    <a:lnTo>
                      <a:pt x="212" y="34"/>
                    </a:lnTo>
                    <a:lnTo>
                      <a:pt x="190" y="28"/>
                    </a:lnTo>
                    <a:lnTo>
                      <a:pt x="178" y="23"/>
                    </a:ln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  <p:sp>
            <p:nvSpPr>
              <p:cNvPr id="5388" name="Freeform 276"/>
              <p:cNvSpPr>
                <a:spLocks/>
              </p:cNvSpPr>
              <p:nvPr>
                <p:custDataLst>
                  <p:tags r:id="rId213"/>
                </p:custDataLst>
              </p:nvPr>
            </p:nvSpPr>
            <p:spPr bwMode="auto">
              <a:xfrm>
                <a:off x="2880" y="2115"/>
                <a:ext cx="34" cy="51"/>
              </a:xfrm>
              <a:custGeom>
                <a:avLst/>
                <a:gdLst>
                  <a:gd name="T0" fmla="*/ 0 w 9"/>
                  <a:gd name="T1" fmla="*/ 2 h 13"/>
                  <a:gd name="T2" fmla="*/ 0 w 9"/>
                  <a:gd name="T3" fmla="*/ 2 h 13"/>
                  <a:gd name="T4" fmla="*/ 0 60000 65536"/>
                  <a:gd name="T5" fmla="*/ 0 60000 65536"/>
                  <a:gd name="T6" fmla="*/ 0 w 9"/>
                  <a:gd name="T7" fmla="*/ 0 h 13"/>
                  <a:gd name="T8" fmla="*/ 9 w 9"/>
                  <a:gd name="T9" fmla="*/ 13 h 13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9" h="13">
                    <a:moveTo>
                      <a:pt x="0" y="2"/>
                    </a:moveTo>
                    <a:cubicBezTo>
                      <a:pt x="6" y="13"/>
                      <a:pt x="9" y="0"/>
                      <a:pt x="0" y="2"/>
                    </a:cubicBezTo>
                    <a:close/>
                  </a:path>
                </a:pathLst>
              </a:custGeom>
              <a:solidFill>
                <a:srgbClr val="8E8E95"/>
              </a:solidFill>
              <a:ln w="9525">
                <a:solidFill>
                  <a:srgbClr val="EAEAEA"/>
                </a:solidFill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endParaRPr lang="en-US"/>
              </a:p>
            </p:txBody>
          </p:sp>
        </p:grpSp>
        <p:sp>
          <p:nvSpPr>
            <p:cNvPr id="5324" name="Rectangle 277"/>
            <p:cNvSpPr>
              <a:spLocks noChangeArrowheads="1"/>
            </p:cNvSpPr>
            <p:nvPr/>
          </p:nvSpPr>
          <p:spPr bwMode="auto">
            <a:xfrm>
              <a:off x="3469" y="2342"/>
              <a:ext cx="46" cy="45"/>
            </a:xfrm>
            <a:prstGeom prst="rect">
              <a:avLst/>
            </a:prstGeom>
            <a:solidFill>
              <a:srgbClr val="8E8E95"/>
            </a:solidFill>
            <a:ln w="9525" algn="ctr">
              <a:solidFill>
                <a:srgbClr val="EAEAEA"/>
              </a:solidFill>
              <a:miter lim="800000"/>
              <a:headEnd/>
              <a:tailEnd/>
            </a:ln>
          </p:spPr>
          <p:txBody>
            <a:bodyPr wrap="none" lIns="73025" tIns="36511" rIns="73025" bIns="36511" anchor="ctr"/>
            <a:lstStyle/>
            <a:p>
              <a:endParaRPr lang="en-US"/>
            </a:p>
          </p:txBody>
        </p:sp>
      </p:grpSp>
      <p:sp>
        <p:nvSpPr>
          <p:cNvPr id="5134" name="Text Box 282"/>
          <p:cNvSpPr txBox="1">
            <a:spLocks noChangeArrowheads="1"/>
          </p:cNvSpPr>
          <p:nvPr/>
        </p:nvSpPr>
        <p:spPr bwMode="auto">
          <a:xfrm>
            <a:off x="1163511" y="2833785"/>
            <a:ext cx="495300" cy="254000"/>
          </a:xfrm>
          <a:prstGeom prst="rect">
            <a:avLst/>
          </a:prstGeom>
          <a:solidFill>
            <a:srgbClr val="89A424"/>
          </a:solidFill>
          <a:ln w="19050" algn="ctr">
            <a:solidFill>
              <a:srgbClr val="FFFFFF"/>
            </a:solidFill>
            <a:miter lim="800000"/>
            <a:headEnd/>
            <a:tailEnd/>
          </a:ln>
        </p:spPr>
        <p:txBody>
          <a:bodyPr wrap="none" lIns="73025" tIns="36511" rIns="73025" bIns="36511" anchor="ctr"/>
          <a:lstStyle/>
          <a:p>
            <a:pPr eaLnBrk="1" hangingPunct="1">
              <a:buClrTx/>
              <a:buSzTx/>
              <a:buFontTx/>
              <a:buNone/>
            </a:pPr>
            <a:r>
              <a:rPr lang="en-US" sz="1000" b="1" dirty="0" err="1" smtClean="0"/>
              <a:t>DC1</a:t>
            </a:r>
            <a:endParaRPr lang="en-US" sz="1000" b="1" dirty="0"/>
          </a:p>
        </p:txBody>
      </p:sp>
      <p:sp>
        <p:nvSpPr>
          <p:cNvPr id="323" name="Text Box 315"/>
          <p:cNvSpPr txBox="1">
            <a:spLocks noChangeArrowheads="1"/>
          </p:cNvSpPr>
          <p:nvPr/>
        </p:nvSpPr>
        <p:spPr bwMode="auto">
          <a:xfrm>
            <a:off x="2910042" y="2449414"/>
            <a:ext cx="367232" cy="254000"/>
          </a:xfrm>
          <a:prstGeom prst="rect">
            <a:avLst/>
          </a:prstGeom>
          <a:solidFill>
            <a:schemeClr val="accent1"/>
          </a:solidFill>
          <a:ln w="19050" algn="ctr">
            <a:solidFill>
              <a:srgbClr val="FFFFFF"/>
            </a:solidFill>
            <a:miter lim="800000"/>
            <a:headEnd/>
            <a:tailEnd/>
          </a:ln>
        </p:spPr>
        <p:txBody>
          <a:bodyPr wrap="none" lIns="73025" tIns="36511" rIns="73025" bIns="36511" anchor="ctr"/>
          <a:lstStyle/>
          <a:p>
            <a:pPr eaLnBrk="1" hangingPunct="1">
              <a:buClrTx/>
              <a:buSzTx/>
              <a:buFontTx/>
              <a:buNone/>
            </a:pPr>
            <a:r>
              <a:rPr lang="en-US" sz="1000" b="1" dirty="0" err="1" smtClean="0"/>
              <a:t>DC2</a:t>
            </a:r>
            <a:endParaRPr lang="en-US" sz="1000" b="1" dirty="0"/>
          </a:p>
        </p:txBody>
      </p:sp>
      <p:sp>
        <p:nvSpPr>
          <p:cNvPr id="324" name="Line 292"/>
          <p:cNvSpPr>
            <a:spLocks noChangeShapeType="1"/>
          </p:cNvSpPr>
          <p:nvPr/>
        </p:nvSpPr>
        <p:spPr bwMode="auto">
          <a:xfrm flipH="1">
            <a:off x="1432290" y="1432291"/>
            <a:ext cx="1019596" cy="1408014"/>
          </a:xfrm>
          <a:prstGeom prst="line">
            <a:avLst/>
          </a:prstGeom>
          <a:noFill/>
          <a:ln w="38100">
            <a:solidFill>
              <a:schemeClr val="tx2"/>
            </a:solidFill>
            <a:prstDash val="sysDot"/>
            <a:round/>
            <a:headEnd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325" name="Line 292"/>
          <p:cNvSpPr>
            <a:spLocks noChangeShapeType="1"/>
          </p:cNvSpPr>
          <p:nvPr/>
        </p:nvSpPr>
        <p:spPr bwMode="auto">
          <a:xfrm>
            <a:off x="2500439" y="1424198"/>
            <a:ext cx="542165" cy="1051965"/>
          </a:xfrm>
          <a:prstGeom prst="line">
            <a:avLst/>
          </a:prstGeom>
          <a:noFill/>
          <a:ln w="38100">
            <a:solidFill>
              <a:schemeClr val="tx2"/>
            </a:solidFill>
            <a:prstDash val="sysDot"/>
            <a:round/>
            <a:headEnd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326" name="TextBox 23"/>
          <p:cNvSpPr txBox="1">
            <a:spLocks noChangeArrowheads="1"/>
          </p:cNvSpPr>
          <p:nvPr/>
        </p:nvSpPr>
        <p:spPr bwMode="auto">
          <a:xfrm flipH="1">
            <a:off x="380326" y="868546"/>
            <a:ext cx="5478308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 eaLnBrk="1" hangingPunct="1">
              <a:lnSpc>
                <a:spcPct val="100000"/>
              </a:lnSpc>
            </a:pPr>
            <a:r>
              <a:rPr lang="en-US" sz="1800" b="1" dirty="0">
                <a:ea typeface="华文细黑" charset="-122"/>
                <a:sym typeface="Arial" charset="0"/>
              </a:rPr>
              <a:t>Data that is perceived to be secure in one country may not be perceived </a:t>
            </a:r>
            <a:endParaRPr lang="en-US" sz="1800" b="1" dirty="0" smtClean="0">
              <a:ea typeface="华文细黑" charset="-122"/>
              <a:sym typeface="Arial" charset="0"/>
            </a:endParaRPr>
          </a:p>
          <a:p>
            <a:pPr algn="l" eaLnBrk="1" hangingPunct="1">
              <a:lnSpc>
                <a:spcPct val="100000"/>
              </a:lnSpc>
            </a:pPr>
            <a:r>
              <a:rPr lang="en-US" sz="1800" b="1" dirty="0" smtClean="0">
                <a:ea typeface="华文细黑" charset="-122"/>
                <a:sym typeface="Arial" charset="0"/>
              </a:rPr>
              <a:t>secure </a:t>
            </a:r>
            <a:r>
              <a:rPr lang="en-US" sz="1800" b="1" dirty="0">
                <a:ea typeface="华文细黑" charset="-122"/>
                <a:sym typeface="Arial" charset="0"/>
              </a:rPr>
              <a:t>in another </a:t>
            </a:r>
            <a:r>
              <a:rPr lang="en-US" sz="1800" b="1" dirty="0" smtClean="0">
                <a:ea typeface="华文细黑" charset="-122"/>
                <a:sym typeface="Arial" charset="0"/>
              </a:rPr>
              <a:t>country/region</a:t>
            </a:r>
            <a:endParaRPr lang="en-US" sz="1800" b="1" dirty="0">
              <a:ea typeface="华文细黑" charset="-122"/>
              <a:sym typeface="Arial" charset="0"/>
            </a:endParaRPr>
          </a:p>
        </p:txBody>
      </p:sp>
      <p:sp>
        <p:nvSpPr>
          <p:cNvPr id="327" name="Text Box 315"/>
          <p:cNvSpPr txBox="1">
            <a:spLocks noChangeArrowheads="1"/>
          </p:cNvSpPr>
          <p:nvPr/>
        </p:nvSpPr>
        <p:spPr bwMode="auto">
          <a:xfrm>
            <a:off x="4065854" y="2860760"/>
            <a:ext cx="367232" cy="254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</p:spPr>
        <p:txBody>
          <a:bodyPr wrap="none" lIns="73025" tIns="36511" rIns="73025" bIns="36511" anchor="ctr"/>
          <a:lstStyle/>
          <a:p>
            <a:pPr eaLnBrk="1" hangingPunct="1">
              <a:buClrTx/>
              <a:buSzTx/>
              <a:buFontTx/>
              <a:buNone/>
            </a:pPr>
            <a:r>
              <a:rPr lang="en-US" sz="1000" b="1" dirty="0" err="1" smtClean="0"/>
              <a:t>DC3</a:t>
            </a:r>
            <a:endParaRPr lang="en-US" sz="1000" b="1" dirty="0"/>
          </a:p>
        </p:txBody>
      </p:sp>
      <p:sp>
        <p:nvSpPr>
          <p:cNvPr id="328" name="Line 292"/>
          <p:cNvSpPr>
            <a:spLocks noChangeShapeType="1"/>
          </p:cNvSpPr>
          <p:nvPr/>
        </p:nvSpPr>
        <p:spPr bwMode="auto">
          <a:xfrm>
            <a:off x="2540899" y="1432290"/>
            <a:ext cx="1600869" cy="1398573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ot"/>
            <a:round/>
            <a:headEnd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330" name="Rectangle 329"/>
          <p:cNvSpPr/>
          <p:nvPr/>
        </p:nvSpPr>
        <p:spPr>
          <a:xfrm>
            <a:off x="351059" y="5720896"/>
            <a:ext cx="807989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eaLnBrk="1" hangingPunct="1">
              <a:lnSpc>
                <a:spcPct val="100000"/>
              </a:lnSpc>
            </a:pPr>
            <a:r>
              <a:rPr lang="en-US" sz="1800" b="1" dirty="0" smtClean="0">
                <a:ea typeface="华文细黑" charset="-122"/>
                <a:sym typeface="Arial" charset="0"/>
              </a:rPr>
              <a:t>European Union (EU) has very strict privacy laws and hence data stored in US may not comply with those EU laws (</a:t>
            </a:r>
            <a:r>
              <a:rPr lang="en-US" sz="1800" b="1" i="1" dirty="0" smtClean="0">
                <a:solidFill>
                  <a:srgbClr val="FF7401"/>
                </a:solidFill>
                <a:ea typeface="华文细黑" charset="-122"/>
                <a:sym typeface="Arial" charset="0"/>
              </a:rPr>
              <a:t>US Patriot Act allows federal agencies limitless powers to access any corporate data etc</a:t>
            </a:r>
            <a:r>
              <a:rPr lang="en-US" sz="1800" b="1" dirty="0" smtClean="0">
                <a:ea typeface="华文细黑" charset="-122"/>
                <a:sym typeface="Arial" charset="0"/>
              </a:rPr>
              <a:t>)</a:t>
            </a:r>
            <a:endParaRPr lang="en-US" sz="1800" b="1" dirty="0">
              <a:ea typeface="华文细黑" charset="-122"/>
              <a:sym typeface="Arial" charset="0"/>
            </a:endParaRPr>
          </a:p>
        </p:txBody>
      </p:sp>
      <p:sp>
        <p:nvSpPr>
          <p:cNvPr id="331" name="Rectangle 3"/>
          <p:cNvSpPr>
            <a:spLocks/>
          </p:cNvSpPr>
          <p:nvPr/>
        </p:nvSpPr>
        <p:spPr bwMode="auto">
          <a:xfrm>
            <a:off x="6096000" y="1371600"/>
            <a:ext cx="2872673" cy="1524000"/>
          </a:xfrm>
          <a:prstGeom prst="rect">
            <a:avLst/>
          </a:prstGeom>
          <a:solidFill>
            <a:srgbClr val="000000">
              <a:alpha val="64705"/>
            </a:srgbClr>
          </a:solidFill>
          <a:ln w="127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l" eaLnBrk="1" hangingPunct="1">
              <a:lnSpc>
                <a:spcPct val="100000"/>
              </a:lnSpc>
            </a:pPr>
            <a:r>
              <a:rPr lang="en-US" sz="1800" dirty="0" smtClean="0">
                <a:solidFill>
                  <a:schemeClr val="bg1"/>
                </a:solidFill>
                <a:ea typeface="华文细黑" charset="-122"/>
                <a:sym typeface="Arial" charset="0"/>
              </a:rPr>
              <a:t>Lack of transparency in the underlying implementations makes it difficult for data owners to demonstrate compliance </a:t>
            </a:r>
            <a:r>
              <a:rPr lang="en-US" sz="1800" b="1" dirty="0" smtClean="0">
                <a:solidFill>
                  <a:schemeClr val="bg1"/>
                </a:solidFill>
                <a:ea typeface="华文细黑" charset="-122"/>
                <a:sym typeface="Arial" charset="0"/>
              </a:rPr>
              <a:t>(SOX/</a:t>
            </a:r>
            <a:r>
              <a:rPr lang="en-US" sz="1800" b="1" dirty="0" err="1" smtClean="0">
                <a:solidFill>
                  <a:schemeClr val="bg1"/>
                </a:solidFill>
                <a:ea typeface="华文细黑" charset="-122"/>
                <a:sym typeface="Arial" charset="0"/>
              </a:rPr>
              <a:t>HIPAA</a:t>
            </a:r>
            <a:r>
              <a:rPr lang="en-US" sz="1800" b="1" dirty="0" smtClean="0">
                <a:solidFill>
                  <a:schemeClr val="bg1"/>
                </a:solidFill>
                <a:ea typeface="华文细黑" charset="-122"/>
                <a:sym typeface="Arial" charset="0"/>
              </a:rPr>
              <a:t>)</a:t>
            </a:r>
            <a:endParaRPr lang="en-US" sz="1800" b="1" dirty="0">
              <a:solidFill>
                <a:schemeClr val="bg1"/>
              </a:solidFill>
              <a:ea typeface="华文细黑" charset="-122"/>
              <a:sym typeface="Arial" charset="0"/>
            </a:endParaRPr>
          </a:p>
        </p:txBody>
      </p:sp>
      <p:sp>
        <p:nvSpPr>
          <p:cNvPr id="285" name="Rectangle 284"/>
          <p:cNvSpPr/>
          <p:nvPr/>
        </p:nvSpPr>
        <p:spPr>
          <a:xfrm>
            <a:off x="5760720" y="3429000"/>
            <a:ext cx="338328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dirty="0" smtClean="0"/>
              <a:t>Lack of </a:t>
            </a:r>
            <a:r>
              <a:rPr lang="en-US" sz="1800" dirty="0" smtClean="0">
                <a:solidFill>
                  <a:srgbClr val="FF3300"/>
                </a:solidFill>
              </a:rPr>
              <a:t>consistent</a:t>
            </a:r>
            <a:r>
              <a:rPr lang="en-US" sz="1800" dirty="0" smtClean="0"/>
              <a:t> </a:t>
            </a:r>
            <a:r>
              <a:rPr lang="en-US" sz="1800" dirty="0" smtClean="0">
                <a:solidFill>
                  <a:srgbClr val="FF3300"/>
                </a:solidFill>
              </a:rPr>
              <a:t>standards and requirements for global regulatory compliance</a:t>
            </a:r>
            <a:r>
              <a:rPr lang="en-US" sz="1800" dirty="0" smtClean="0"/>
              <a:t> – data governance can no longer be viewed from a point-to-point data flow perspective but rather a multi-point to multi-point.</a:t>
            </a:r>
            <a:endParaRPr lang="en-US" sz="18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0" y="0"/>
            <a:ext cx="9142413" cy="365125"/>
            <a:chOff x="0" y="0"/>
            <a:chExt cx="10237" cy="307"/>
          </a:xfrm>
          <a:solidFill>
            <a:srgbClr val="0070C0"/>
          </a:solidFill>
        </p:grpSpPr>
        <p:sp>
          <p:nvSpPr>
            <p:cNvPr id="8208" name="Rectangle 5"/>
            <p:cNvSpPr>
              <a:spLocks/>
            </p:cNvSpPr>
            <p:nvPr/>
          </p:nvSpPr>
          <p:spPr bwMode="auto">
            <a:xfrm>
              <a:off x="0" y="0"/>
              <a:ext cx="10237" cy="152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algn="l" eaLnBrk="1" hangingPunct="1">
                <a:lnSpc>
                  <a:spcPct val="100000"/>
                </a:lnSpc>
              </a:pPr>
              <a:endParaRPr lang="en-US">
                <a:solidFill>
                  <a:srgbClr val="FFFFFF"/>
                </a:solidFill>
                <a:ea typeface="华文细黑" charset="-122"/>
                <a:sym typeface="Arial" charset="0"/>
              </a:endParaRPr>
            </a:p>
          </p:txBody>
        </p:sp>
        <p:sp>
          <p:nvSpPr>
            <p:cNvPr id="8209" name="Rectangle 6"/>
            <p:cNvSpPr>
              <a:spLocks/>
            </p:cNvSpPr>
            <p:nvPr/>
          </p:nvSpPr>
          <p:spPr bwMode="auto">
            <a:xfrm>
              <a:off x="0" y="0"/>
              <a:ext cx="1" cy="307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1" hangingPunct="1">
                <a:lnSpc>
                  <a:spcPct val="100000"/>
                </a:lnSpc>
              </a:pPr>
              <a:endParaRPr lang="en-US">
                <a:solidFill>
                  <a:srgbClr val="FFFFFF"/>
                </a:solidFill>
                <a:ea typeface="华文细黑" charset="-122"/>
                <a:sym typeface="Arial" charset="0"/>
              </a:endParaRPr>
            </a:p>
          </p:txBody>
        </p:sp>
      </p:grpSp>
      <p:sp>
        <p:nvSpPr>
          <p:cNvPr id="8197" name="Slide Number Placeholder 3"/>
          <p:cNvSpPr txBox="1">
            <a:spLocks noGrp="1"/>
          </p:cNvSpPr>
          <p:nvPr/>
        </p:nvSpPr>
        <p:spPr bwMode="auto">
          <a:xfrm>
            <a:off x="8709025" y="6646863"/>
            <a:ext cx="171450" cy="215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b"/>
          <a:lstStyle/>
          <a:p>
            <a:pPr eaLnBrk="1" hangingPunct="1">
              <a:lnSpc>
                <a:spcPct val="100000"/>
              </a:lnSpc>
            </a:pPr>
            <a:fld id="{D97B8B4C-EE27-4F88-858F-09B8D8E70A9D}" type="slidenum">
              <a:rPr lang="en-US" sz="1000">
                <a:solidFill>
                  <a:srgbClr val="777777"/>
                </a:solidFill>
                <a:ea typeface="华文细黑" charset="-122"/>
                <a:sym typeface="Arial" charset="0"/>
              </a:rPr>
              <a:pPr eaLnBrk="1" hangingPunct="1">
                <a:lnSpc>
                  <a:spcPct val="100000"/>
                </a:lnSpc>
              </a:pPr>
              <a:t>19</a:t>
            </a:fld>
            <a:endParaRPr lang="en-US" sz="1000">
              <a:solidFill>
                <a:srgbClr val="777777"/>
              </a:solidFill>
              <a:ea typeface="华文细黑" charset="-122"/>
              <a:sym typeface="Arial" charset="0"/>
            </a:endParaRPr>
          </a:p>
        </p:txBody>
      </p:sp>
      <p:sp>
        <p:nvSpPr>
          <p:cNvPr id="29" name="Rectangle 9"/>
          <p:cNvSpPr txBox="1">
            <a:spLocks noChangeArrowheads="1"/>
          </p:cNvSpPr>
          <p:nvPr/>
        </p:nvSpPr>
        <p:spPr bwMode="auto">
          <a:xfrm>
            <a:off x="91440" y="407670"/>
            <a:ext cx="8652510" cy="659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124" tIns="41061" rIns="82124" bIns="41061" anchor="b"/>
          <a:lstStyle/>
          <a:p>
            <a:pPr algn="l" defTabSz="814388" eaLnBrk="1" hangingPunct="1">
              <a:defRPr/>
            </a:pPr>
            <a:r>
              <a:rPr lang="en-US" sz="2800" b="1" kern="0" dirty="0" err="1" smtClean="0">
                <a:latin typeface="+mj-lt"/>
                <a:ea typeface="ＭＳ Ｐゴシック" charset="-128"/>
                <a:cs typeface="ＭＳ Ｐゴシック" charset="-128"/>
              </a:rPr>
              <a:t>R3</a:t>
            </a:r>
            <a:r>
              <a:rPr lang="en-US" sz="2800" b="1" kern="0" dirty="0" smtClean="0">
                <a:latin typeface="+mj-lt"/>
                <a:ea typeface="ＭＳ Ｐゴシック" charset="-128"/>
                <a:cs typeface="ＭＳ Ｐゴシック" charset="-128"/>
              </a:rPr>
              <a:t>: Mitigations: Regulatory Compliance</a:t>
            </a:r>
            <a:endParaRPr lang="en-US" sz="2800" b="1" kern="0" dirty="0">
              <a:latin typeface="+mj-lt"/>
              <a:ea typeface="ＭＳ Ｐゴシック" charset="-128"/>
              <a:cs typeface="ＭＳ Ｐゴシック" charset="-128"/>
            </a:endParaRPr>
          </a:p>
        </p:txBody>
      </p:sp>
      <p:pic>
        <p:nvPicPr>
          <p:cNvPr id="59394" name="Picture 2" descr="C:\Documents and Settings\shbabu\Local Settings\Temporary Internet Files\Content.IE5\LT2DGU0Y\MP900438797[1]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61521" y="1642198"/>
            <a:ext cx="3002821" cy="2924628"/>
          </a:xfrm>
          <a:prstGeom prst="rect">
            <a:avLst/>
          </a:prstGeom>
          <a:noFill/>
        </p:spPr>
      </p:pic>
      <p:sp>
        <p:nvSpPr>
          <p:cNvPr id="19" name="TextBox 18"/>
          <p:cNvSpPr txBox="1"/>
          <p:nvPr/>
        </p:nvSpPr>
        <p:spPr>
          <a:xfrm>
            <a:off x="192397" y="4623630"/>
            <a:ext cx="37388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Apply risk management framework, case-by-case basis</a:t>
            </a:r>
            <a:endParaRPr lang="en-US" sz="2000" dirty="0"/>
          </a:p>
        </p:txBody>
      </p:sp>
      <p:pic>
        <p:nvPicPr>
          <p:cNvPr id="59395" name="Picture 3" descr="C:\Documents and Settings\shbabu\Local Settings\Temporary Internet Files\Content.IE5\DCZPNB07\MC900439607[1]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663681" y="1000903"/>
            <a:ext cx="2507343" cy="2184345"/>
          </a:xfrm>
          <a:prstGeom prst="rect">
            <a:avLst/>
          </a:prstGeom>
          <a:noFill/>
        </p:spPr>
      </p:pic>
      <p:sp>
        <p:nvSpPr>
          <p:cNvPr id="20" name="TextBox 19"/>
          <p:cNvSpPr txBox="1"/>
          <p:nvPr/>
        </p:nvSpPr>
        <p:spPr>
          <a:xfrm>
            <a:off x="5094513" y="2944119"/>
            <a:ext cx="38908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Define data protection requirements and </a:t>
            </a:r>
            <a:r>
              <a:rPr lang="en-US" sz="2000" dirty="0" err="1" smtClean="0"/>
              <a:t>SLAs</a:t>
            </a:r>
            <a:endParaRPr lang="en-US" sz="2000" dirty="0"/>
          </a:p>
        </p:txBody>
      </p:sp>
      <p:pic>
        <p:nvPicPr>
          <p:cNvPr id="59397" name="Picture 5" descr="C:\Documents and Settings\shbabu\Local Settings\Temporary Internet Files\Content.IE5\YA3KS1UC\MP900202243[1]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343400" y="3962400"/>
            <a:ext cx="2757208" cy="1842734"/>
          </a:xfrm>
          <a:prstGeom prst="rect">
            <a:avLst/>
          </a:prstGeom>
          <a:noFill/>
        </p:spPr>
      </p:pic>
      <p:sp>
        <p:nvSpPr>
          <p:cNvPr id="24" name="TextBox 23"/>
          <p:cNvSpPr txBox="1"/>
          <p:nvPr/>
        </p:nvSpPr>
        <p:spPr>
          <a:xfrm>
            <a:off x="4038600" y="5867400"/>
            <a:ext cx="42205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Provider / Consumer agreement to a pre-defined RACI model </a:t>
            </a:r>
            <a:endParaRPr lang="en-US" sz="20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1060" name="Rectangle 36"/>
          <p:cNvSpPr>
            <a:spLocks noGrp="1" noChangeArrowheads="1"/>
          </p:cNvSpPr>
          <p:nvPr>
            <p:ph type="title"/>
          </p:nvPr>
        </p:nvSpPr>
        <p:spPr>
          <a:xfrm>
            <a:off x="685800" y="152400"/>
            <a:ext cx="7802563" cy="838200"/>
          </a:xfrm>
        </p:spPr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graphicFrame>
        <p:nvGraphicFramePr>
          <p:cNvPr id="4" name="Diagram 3"/>
          <p:cNvGraphicFramePr/>
          <p:nvPr/>
        </p:nvGraphicFramePr>
        <p:xfrm>
          <a:off x="609600" y="1143000"/>
          <a:ext cx="7643191" cy="55327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0" y="0"/>
            <a:ext cx="9142413" cy="365125"/>
            <a:chOff x="0" y="0"/>
            <a:chExt cx="10237" cy="307"/>
          </a:xfrm>
          <a:solidFill>
            <a:srgbClr val="0070C0"/>
          </a:solidFill>
        </p:grpSpPr>
        <p:sp>
          <p:nvSpPr>
            <p:cNvPr id="6163" name="Rectangle 5"/>
            <p:cNvSpPr>
              <a:spLocks/>
            </p:cNvSpPr>
            <p:nvPr/>
          </p:nvSpPr>
          <p:spPr bwMode="auto">
            <a:xfrm>
              <a:off x="0" y="0"/>
              <a:ext cx="10237" cy="152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algn="l" eaLnBrk="1" hangingPunct="1">
                <a:lnSpc>
                  <a:spcPct val="100000"/>
                </a:lnSpc>
              </a:pPr>
              <a:endParaRPr lang="en-US">
                <a:solidFill>
                  <a:srgbClr val="FFFFFF"/>
                </a:solidFill>
                <a:ea typeface="华文细黑" charset="-122"/>
                <a:sym typeface="Arial" charset="0"/>
              </a:endParaRPr>
            </a:p>
          </p:txBody>
        </p:sp>
        <p:sp>
          <p:nvSpPr>
            <p:cNvPr id="6164" name="Rectangle 6"/>
            <p:cNvSpPr>
              <a:spLocks/>
            </p:cNvSpPr>
            <p:nvPr/>
          </p:nvSpPr>
          <p:spPr bwMode="auto">
            <a:xfrm>
              <a:off x="0" y="0"/>
              <a:ext cx="1" cy="307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1" hangingPunct="1">
                <a:lnSpc>
                  <a:spcPct val="100000"/>
                </a:lnSpc>
              </a:pPr>
              <a:endParaRPr lang="en-US">
                <a:solidFill>
                  <a:srgbClr val="FFFFFF"/>
                </a:solidFill>
                <a:ea typeface="华文细黑" charset="-122"/>
                <a:sym typeface="Arial" charset="0"/>
              </a:endParaRPr>
            </a:p>
          </p:txBody>
        </p:sp>
      </p:grpSp>
      <p:sp>
        <p:nvSpPr>
          <p:cNvPr id="6149" name="Slide Number Placeholder 3"/>
          <p:cNvSpPr txBox="1">
            <a:spLocks noGrp="1"/>
          </p:cNvSpPr>
          <p:nvPr/>
        </p:nvSpPr>
        <p:spPr bwMode="auto">
          <a:xfrm>
            <a:off x="8709025" y="6646863"/>
            <a:ext cx="171450" cy="215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b"/>
          <a:lstStyle/>
          <a:p>
            <a:pPr eaLnBrk="1" hangingPunct="1">
              <a:lnSpc>
                <a:spcPct val="100000"/>
              </a:lnSpc>
            </a:pPr>
            <a:fld id="{F752C20E-9033-415D-8AD6-90674CC451FC}" type="slidenum">
              <a:rPr lang="en-US" sz="1000">
                <a:solidFill>
                  <a:srgbClr val="777777"/>
                </a:solidFill>
                <a:ea typeface="华文细黑" charset="-122"/>
                <a:sym typeface="Arial" charset="0"/>
              </a:rPr>
              <a:pPr eaLnBrk="1" hangingPunct="1">
                <a:lnSpc>
                  <a:spcPct val="100000"/>
                </a:lnSpc>
              </a:pPr>
              <a:t>20</a:t>
            </a:fld>
            <a:endParaRPr lang="en-US" sz="1000">
              <a:solidFill>
                <a:srgbClr val="777777"/>
              </a:solidFill>
              <a:ea typeface="华文细黑" charset="-122"/>
              <a:sym typeface="Arial" charset="0"/>
            </a:endParaRPr>
          </a:p>
        </p:txBody>
      </p:sp>
      <p:sp>
        <p:nvSpPr>
          <p:cNvPr id="29" name="Rectangle 9"/>
          <p:cNvSpPr txBox="1">
            <a:spLocks noChangeArrowheads="1"/>
          </p:cNvSpPr>
          <p:nvPr/>
        </p:nvSpPr>
        <p:spPr bwMode="auto">
          <a:xfrm>
            <a:off x="217170" y="163830"/>
            <a:ext cx="8926830" cy="5981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124" tIns="41061" rIns="82124" bIns="41061" anchor="b"/>
          <a:lstStyle/>
          <a:p>
            <a:pPr algn="l" defTabSz="814388" eaLnBrk="1" hangingPunct="1">
              <a:defRPr/>
            </a:pPr>
            <a:r>
              <a:rPr lang="en-US" sz="2800" b="1" kern="0" dirty="0" err="1" smtClean="0">
                <a:latin typeface="+mj-lt"/>
                <a:ea typeface="ＭＳ Ｐゴシック" charset="-128"/>
                <a:cs typeface="ＭＳ Ｐゴシック" charset="-128"/>
              </a:rPr>
              <a:t>R4</a:t>
            </a:r>
            <a:r>
              <a:rPr lang="en-US" sz="2800" b="1" kern="0" dirty="0" smtClean="0">
                <a:latin typeface="+mj-lt"/>
                <a:ea typeface="ＭＳ Ｐゴシック" charset="-128"/>
                <a:cs typeface="ＭＳ Ｐゴシック" charset="-128"/>
              </a:rPr>
              <a:t>: Risk: Business Continuity &amp; Resiliency</a:t>
            </a:r>
            <a:endParaRPr lang="en-US" sz="2800" b="1" kern="0" dirty="0">
              <a:latin typeface="+mj-lt"/>
              <a:ea typeface="ＭＳ Ｐゴシック" charset="-128"/>
              <a:cs typeface="ＭＳ Ｐゴシック" charset="-128"/>
            </a:endParaRPr>
          </a:p>
        </p:txBody>
      </p:sp>
      <p:pic>
        <p:nvPicPr>
          <p:cNvPr id="3074" name="Picture 2" descr="C:\Documents and Settings\ptelang\Local Settings\Temporary Internet Files\Content.IE5\CPRYO38L\dglxasset[2].aspx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058109" y="940219"/>
            <a:ext cx="1259186" cy="1394226"/>
          </a:xfrm>
          <a:prstGeom prst="rect">
            <a:avLst/>
          </a:prstGeom>
          <a:noFill/>
        </p:spPr>
      </p:pic>
      <p:pic>
        <p:nvPicPr>
          <p:cNvPr id="10" name="Picture 7" descr="C:\Documents and Settings\ptelang\Local Settings\Temporary Internet Files\Content.IE5\Z68IQAS2\MC900432537[1]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405539" y="859307"/>
            <a:ext cx="500276" cy="500276"/>
          </a:xfrm>
          <a:prstGeom prst="rect">
            <a:avLst/>
          </a:prstGeom>
          <a:noFill/>
        </p:spPr>
      </p:pic>
      <p:sp>
        <p:nvSpPr>
          <p:cNvPr id="11" name="TextBox 10"/>
          <p:cNvSpPr txBox="1"/>
          <p:nvPr/>
        </p:nvSpPr>
        <p:spPr>
          <a:xfrm>
            <a:off x="2223811" y="2379784"/>
            <a:ext cx="51617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Lack of know-how and capabilities needed to ensure continuity &amp; resiliency</a:t>
            </a:r>
          </a:p>
        </p:txBody>
      </p:sp>
      <p:pic>
        <p:nvPicPr>
          <p:cNvPr id="3075" name="Picture 3" descr="C:\Documents and Settings\ptelang\Local Settings\Temporary Internet Files\Content.IE5\SJD3AAF5\MP900400645[1]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389746" y="3839310"/>
            <a:ext cx="1042685" cy="1303674"/>
          </a:xfrm>
          <a:prstGeom prst="rect">
            <a:avLst/>
          </a:prstGeom>
          <a:noFill/>
        </p:spPr>
      </p:pic>
      <p:sp>
        <p:nvSpPr>
          <p:cNvPr id="13" name="TextBox 12"/>
          <p:cNvSpPr txBox="1"/>
          <p:nvPr/>
        </p:nvSpPr>
        <p:spPr>
          <a:xfrm>
            <a:off x="5283535" y="5316416"/>
            <a:ext cx="336809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Monetary losses due to an outage</a:t>
            </a:r>
          </a:p>
        </p:txBody>
      </p:sp>
      <p:pic>
        <p:nvPicPr>
          <p:cNvPr id="17" name="Picture 7" descr="C:\Documents and Settings\ptelang\Local Settings\Temporary Internet Files\Content.IE5\Z68IQAS2\MC900432537[1]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685678" y="4001088"/>
            <a:ext cx="500276" cy="500276"/>
          </a:xfrm>
          <a:prstGeom prst="rect">
            <a:avLst/>
          </a:prstGeom>
          <a:noFill/>
        </p:spPr>
      </p:pic>
      <p:pic>
        <p:nvPicPr>
          <p:cNvPr id="15" name="Picture 5" descr="C:\Documents and Settings\ptelang\Local Settings\Temporary Internet Files\Content.IE5\Z68IQAS2\dglxasset[2].aspx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746564" y="3667588"/>
            <a:ext cx="1336605" cy="1314135"/>
          </a:xfrm>
          <a:prstGeom prst="rect">
            <a:avLst/>
          </a:prstGeom>
          <a:noFill/>
        </p:spPr>
      </p:pic>
      <p:sp>
        <p:nvSpPr>
          <p:cNvPr id="18" name="TextBox 17"/>
          <p:cNvSpPr txBox="1"/>
          <p:nvPr/>
        </p:nvSpPr>
        <p:spPr>
          <a:xfrm>
            <a:off x="529822" y="5292974"/>
            <a:ext cx="398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Cloud provider may be  acquired by a consumer’s competitor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0" y="0"/>
            <a:ext cx="9142413" cy="365125"/>
            <a:chOff x="0" y="0"/>
            <a:chExt cx="10237" cy="307"/>
          </a:xfrm>
          <a:solidFill>
            <a:srgbClr val="0070C0"/>
          </a:solidFill>
        </p:grpSpPr>
        <p:sp>
          <p:nvSpPr>
            <p:cNvPr id="6163" name="Rectangle 5"/>
            <p:cNvSpPr>
              <a:spLocks/>
            </p:cNvSpPr>
            <p:nvPr/>
          </p:nvSpPr>
          <p:spPr bwMode="auto">
            <a:xfrm>
              <a:off x="0" y="0"/>
              <a:ext cx="10237" cy="152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algn="l" eaLnBrk="1" hangingPunct="1">
                <a:lnSpc>
                  <a:spcPct val="100000"/>
                </a:lnSpc>
              </a:pPr>
              <a:endParaRPr lang="en-US">
                <a:solidFill>
                  <a:srgbClr val="FFFFFF"/>
                </a:solidFill>
                <a:ea typeface="华文细黑" charset="-122"/>
                <a:sym typeface="Arial" charset="0"/>
              </a:endParaRPr>
            </a:p>
          </p:txBody>
        </p:sp>
        <p:sp>
          <p:nvSpPr>
            <p:cNvPr id="6164" name="Rectangle 6"/>
            <p:cNvSpPr>
              <a:spLocks/>
            </p:cNvSpPr>
            <p:nvPr/>
          </p:nvSpPr>
          <p:spPr bwMode="auto">
            <a:xfrm>
              <a:off x="0" y="0"/>
              <a:ext cx="1" cy="307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1" hangingPunct="1">
                <a:lnSpc>
                  <a:spcPct val="100000"/>
                </a:lnSpc>
              </a:pPr>
              <a:endParaRPr lang="en-US">
                <a:solidFill>
                  <a:srgbClr val="FFFFFF"/>
                </a:solidFill>
                <a:ea typeface="华文细黑" charset="-122"/>
                <a:sym typeface="Arial" charset="0"/>
              </a:endParaRPr>
            </a:p>
          </p:txBody>
        </p:sp>
      </p:grpSp>
      <p:sp>
        <p:nvSpPr>
          <p:cNvPr id="6149" name="Slide Number Placeholder 3"/>
          <p:cNvSpPr txBox="1">
            <a:spLocks noGrp="1"/>
          </p:cNvSpPr>
          <p:nvPr/>
        </p:nvSpPr>
        <p:spPr bwMode="auto">
          <a:xfrm>
            <a:off x="8709025" y="6646863"/>
            <a:ext cx="171450" cy="215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b"/>
          <a:lstStyle/>
          <a:p>
            <a:pPr eaLnBrk="1" hangingPunct="1">
              <a:lnSpc>
                <a:spcPct val="100000"/>
              </a:lnSpc>
            </a:pPr>
            <a:fld id="{F752C20E-9033-415D-8AD6-90674CC451FC}" type="slidenum">
              <a:rPr lang="en-US" sz="1000">
                <a:solidFill>
                  <a:srgbClr val="777777"/>
                </a:solidFill>
                <a:ea typeface="华文细黑" charset="-122"/>
                <a:sym typeface="Arial" charset="0"/>
              </a:rPr>
              <a:pPr eaLnBrk="1" hangingPunct="1">
                <a:lnSpc>
                  <a:spcPct val="100000"/>
                </a:lnSpc>
              </a:pPr>
              <a:t>21</a:t>
            </a:fld>
            <a:endParaRPr lang="en-US" sz="1000">
              <a:solidFill>
                <a:srgbClr val="777777"/>
              </a:solidFill>
              <a:ea typeface="华文细黑" charset="-122"/>
              <a:sym typeface="Arial" charset="0"/>
            </a:endParaRPr>
          </a:p>
        </p:txBody>
      </p:sp>
      <p:sp>
        <p:nvSpPr>
          <p:cNvPr id="29" name="Rectangle 9"/>
          <p:cNvSpPr txBox="1">
            <a:spLocks noChangeArrowheads="1"/>
          </p:cNvSpPr>
          <p:nvPr/>
        </p:nvSpPr>
        <p:spPr bwMode="auto">
          <a:xfrm>
            <a:off x="76200" y="304800"/>
            <a:ext cx="9067800" cy="5981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124" tIns="41061" rIns="82124" bIns="41061" anchor="b"/>
          <a:lstStyle/>
          <a:p>
            <a:pPr defTabSz="814388">
              <a:defRPr/>
            </a:pPr>
            <a:r>
              <a:rPr lang="en-US" sz="2800" b="1" kern="0" dirty="0" err="1" smtClean="0">
                <a:latin typeface="+mj-lt"/>
                <a:ea typeface="ＭＳ Ｐゴシック" charset="-128"/>
                <a:cs typeface="ＭＳ Ｐゴシック" charset="-128"/>
              </a:rPr>
              <a:t>R4</a:t>
            </a:r>
            <a:r>
              <a:rPr lang="en-US" sz="2800" b="1" kern="0" dirty="0" smtClean="0">
                <a:latin typeface="+mj-lt"/>
                <a:ea typeface="ＭＳ Ｐゴシック" charset="-128"/>
                <a:cs typeface="ＭＳ Ｐゴシック" charset="-128"/>
              </a:rPr>
              <a:t>: Mitigations: Business Continuity &amp; Resiliency</a:t>
            </a:r>
          </a:p>
        </p:txBody>
      </p:sp>
      <p:pic>
        <p:nvPicPr>
          <p:cNvPr id="4098" name="Picture 2" descr="C:\Documents and Settings\ptelang\Local Settings\Temporary Internet Files\Content.IE5\5ZRVH9CE\dglxasset[5].aspx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34927" y="1675975"/>
            <a:ext cx="1230768" cy="1000143"/>
          </a:xfrm>
          <a:prstGeom prst="rect">
            <a:avLst/>
          </a:prstGeom>
          <a:noFill/>
        </p:spPr>
      </p:pic>
      <p:sp>
        <p:nvSpPr>
          <p:cNvPr id="10" name="TextBox 9"/>
          <p:cNvSpPr txBox="1"/>
          <p:nvPr/>
        </p:nvSpPr>
        <p:spPr>
          <a:xfrm>
            <a:off x="326622" y="3057774"/>
            <a:ext cx="398941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Contract defines Recovery Time Objectives, and monetary penalty for downtime</a:t>
            </a:r>
          </a:p>
        </p:txBody>
      </p:sp>
      <p:pic>
        <p:nvPicPr>
          <p:cNvPr id="4099" name="Picture 3" descr="C:\Documents and Settings\ptelang\Local Settings\Temporary Internet Files\Content.IE5\MX1I7YH0\MC900434825[1]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028381" y="1617248"/>
            <a:ext cx="1379952" cy="1379952"/>
          </a:xfrm>
          <a:prstGeom prst="rect">
            <a:avLst/>
          </a:prstGeom>
          <a:noFill/>
        </p:spPr>
      </p:pic>
      <p:sp>
        <p:nvSpPr>
          <p:cNvPr id="13" name="TextBox 12"/>
          <p:cNvSpPr txBox="1"/>
          <p:nvPr/>
        </p:nvSpPr>
        <p:spPr>
          <a:xfrm>
            <a:off x="4729289" y="3108574"/>
            <a:ext cx="398941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Cloud provider’s Business Continuity program certified to standard such as BS 25999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7"/>
          <p:cNvGrpSpPr/>
          <p:nvPr/>
        </p:nvGrpSpPr>
        <p:grpSpPr>
          <a:xfrm>
            <a:off x="547187" y="1041752"/>
            <a:ext cx="2767513" cy="1223837"/>
            <a:chOff x="547187" y="919288"/>
            <a:chExt cx="2767513" cy="1223837"/>
          </a:xfrm>
        </p:grpSpPr>
        <p:pic>
          <p:nvPicPr>
            <p:cNvPr id="11310" name="Picture 101" descr="man2"/>
            <p:cNvPicPr>
              <a:picLocks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47187" y="935666"/>
              <a:ext cx="1306513" cy="11556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50072" name="Picture 120" descr="woman4"/>
            <p:cNvPicPr>
              <a:picLocks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301096" y="926307"/>
              <a:ext cx="1232554" cy="12168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50076" name="Picture 124" descr="man5"/>
            <p:cNvPicPr>
              <a:picLocks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2047208" y="919288"/>
              <a:ext cx="1267492" cy="12143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0" name="Content Placeholder 19"/>
          <p:cNvSpPr>
            <a:spLocks noGrp="1"/>
          </p:cNvSpPr>
          <p:nvPr>
            <p:ph idx="1"/>
          </p:nvPr>
        </p:nvSpPr>
        <p:spPr>
          <a:xfrm>
            <a:off x="175881" y="2109537"/>
            <a:ext cx="3786520" cy="4062663"/>
          </a:xfrm>
          <a:solidFill>
            <a:srgbClr val="00B050"/>
          </a:solidFill>
        </p:spPr>
        <p:txBody>
          <a:bodyPr/>
          <a:lstStyle/>
          <a:p>
            <a:r>
              <a:rPr lang="en-US" dirty="0" smtClean="0"/>
              <a:t>Privacy of my data</a:t>
            </a:r>
          </a:p>
          <a:p>
            <a:pPr lvl="1"/>
            <a:r>
              <a:rPr lang="en-US" dirty="0" smtClean="0"/>
              <a:t> - Address, Email,.. (Personally Identifiable Information)</a:t>
            </a:r>
          </a:p>
          <a:p>
            <a:pPr lvl="1"/>
            <a:r>
              <a:rPr lang="en-US" dirty="0" smtClean="0"/>
              <a:t>-  Health, personal financial  info</a:t>
            </a:r>
          </a:p>
          <a:p>
            <a:pPr lvl="1">
              <a:buFontTx/>
              <a:buChar char="-"/>
            </a:pPr>
            <a:r>
              <a:rPr lang="en-US" dirty="0" smtClean="0"/>
              <a:t>Personal Details (email, </a:t>
            </a:r>
            <a:r>
              <a:rPr lang="en-US" dirty="0" err="1" smtClean="0"/>
              <a:t>IMs</a:t>
            </a:r>
            <a:r>
              <a:rPr lang="en-US" dirty="0" smtClean="0"/>
              <a:t>, etc)</a:t>
            </a:r>
          </a:p>
        </p:txBody>
      </p:sp>
      <p:grpSp>
        <p:nvGrpSpPr>
          <p:cNvPr id="3" name="Group 4"/>
          <p:cNvGrpSpPr>
            <a:grpSpLocks/>
          </p:cNvGrpSpPr>
          <p:nvPr/>
        </p:nvGrpSpPr>
        <p:grpSpPr bwMode="auto">
          <a:xfrm>
            <a:off x="917773" y="6288013"/>
            <a:ext cx="1908112" cy="358298"/>
            <a:chOff x="144" y="752"/>
            <a:chExt cx="5472" cy="679"/>
          </a:xfrm>
        </p:grpSpPr>
        <p:sp>
          <p:nvSpPr>
            <p:cNvPr id="173" name="AutoShape 5"/>
            <p:cNvSpPr>
              <a:spLocks noChangeArrowheads="1"/>
            </p:cNvSpPr>
            <p:nvPr/>
          </p:nvSpPr>
          <p:spPr bwMode="auto">
            <a:xfrm>
              <a:off x="144" y="816"/>
              <a:ext cx="5472" cy="564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585858">
                    <a:alpha val="29999"/>
                  </a:srgbClr>
                </a:gs>
                <a:gs pos="100000">
                  <a:srgbClr val="292929"/>
                </a:gs>
              </a:gsLst>
              <a:lin ang="5400000" scaled="1"/>
            </a:gradFill>
            <a:ln w="28575" algn="ctr">
              <a:solidFill>
                <a:srgbClr val="969696"/>
              </a:solidFill>
              <a:round/>
              <a:headEnd/>
              <a:tailEnd/>
            </a:ln>
          </p:spPr>
          <p:txBody>
            <a:bodyPr lIns="82124" tIns="41061" rIns="82124" bIns="41061" anchor="ctr">
              <a:spAutoFit/>
            </a:bodyPr>
            <a:lstStyle/>
            <a:p>
              <a:endParaRPr lang="en-US" sz="3600"/>
            </a:p>
          </p:txBody>
        </p:sp>
        <p:sp>
          <p:nvSpPr>
            <p:cNvPr id="175" name="Text Box 9"/>
            <p:cNvSpPr txBox="1">
              <a:spLocks noChangeArrowheads="1"/>
            </p:cNvSpPr>
            <p:nvPr/>
          </p:nvSpPr>
          <p:spPr bwMode="auto">
            <a:xfrm>
              <a:off x="727" y="752"/>
              <a:ext cx="3900" cy="67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80482" tIns="40240" rIns="80482" bIns="40240" anchor="ctr">
              <a:spAutoFit/>
            </a:bodyPr>
            <a:lstStyle/>
            <a:p>
              <a:pPr defTabSz="798513" eaLnBrk="0" hangingPunct="0">
                <a:lnSpc>
                  <a:spcPct val="90000"/>
                </a:lnSpc>
              </a:pPr>
              <a:r>
                <a:rPr lang="en-US" sz="2000" dirty="0" smtClean="0">
                  <a:solidFill>
                    <a:schemeClr val="tx2"/>
                  </a:solidFill>
                </a:rPr>
                <a:t>End Users</a:t>
              </a:r>
              <a:endParaRPr lang="en-US" sz="2000" b="0" dirty="0">
                <a:solidFill>
                  <a:schemeClr val="tx2"/>
                </a:solidFill>
              </a:endParaRPr>
            </a:p>
          </p:txBody>
        </p:sp>
      </p:grpSp>
      <p:sp>
        <p:nvSpPr>
          <p:cNvPr id="10" name="Oval 9"/>
          <p:cNvSpPr>
            <a:spLocks noChangeArrowheads="1"/>
          </p:cNvSpPr>
          <p:nvPr/>
        </p:nvSpPr>
        <p:spPr bwMode="auto">
          <a:xfrm>
            <a:off x="6153866" y="1323114"/>
            <a:ext cx="775786" cy="706855"/>
          </a:xfrm>
          <a:prstGeom prst="ellipse">
            <a:avLst/>
          </a:prstGeom>
          <a:blipFill dpi="0" rotWithShape="1">
            <a:blip r:embed="rId6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  <a:effectLst>
            <a:outerShdw blurRad="63500" dist="38100" dir="2700000" algn="tl" rotWithShape="0">
              <a:srgbClr val="000000">
                <a:alpha val="39998"/>
              </a:srgbClr>
            </a:outerShdw>
          </a:effectLst>
        </p:spPr>
        <p:txBody>
          <a:bodyPr lIns="82124" tIns="41061" rIns="82124" bIns="41061" anchor="ctr"/>
          <a:lstStyle/>
          <a:p>
            <a:pPr defTabSz="814388">
              <a:defRPr/>
            </a:pPr>
            <a:endParaRPr lang="en-US" sz="1600">
              <a:ea typeface="ＭＳ Ｐゴシック" pitchFamily="34" charset="-128"/>
            </a:endParaRPr>
          </a:p>
        </p:txBody>
      </p:sp>
      <p:sp>
        <p:nvSpPr>
          <p:cNvPr id="11" name="Content Placeholder 19"/>
          <p:cNvSpPr txBox="1">
            <a:spLocks/>
          </p:cNvSpPr>
          <p:nvPr/>
        </p:nvSpPr>
        <p:spPr bwMode="auto">
          <a:xfrm>
            <a:off x="4191000" y="2067428"/>
            <a:ext cx="4724400" cy="4104772"/>
          </a:xfrm>
          <a:prstGeom prst="rect">
            <a:avLst/>
          </a:prstGeom>
          <a:solidFill>
            <a:srgbClr val="C00000"/>
          </a:solidFill>
          <a:ln w="9525">
            <a:solidFill>
              <a:srgbClr val="C00000"/>
            </a:solidFill>
            <a:miter lim="800000"/>
            <a:headEnd/>
            <a:tailEnd/>
          </a:ln>
        </p:spPr>
        <p:txBody>
          <a:bodyPr vert="horz" wrap="square" lIns="82124" tIns="41061" rIns="82124" bIns="41061" numCol="1" anchor="t" anchorCtr="0" compatLnSpc="1">
            <a:prstTxWarp prst="textNoShape">
              <a:avLst/>
            </a:prstTxWarp>
          </a:bodyPr>
          <a:lstStyle/>
          <a:p>
            <a:pPr marL="236538" lvl="0" indent="-236538" algn="l" defTabSz="814388">
              <a:lnSpc>
                <a:spcPct val="95000"/>
              </a:lnSpc>
              <a:spcBef>
                <a:spcPct val="50000"/>
              </a:spcBef>
              <a:buClr>
                <a:schemeClr val="tx2"/>
              </a:buClr>
              <a:buSzPct val="100000"/>
              <a:buFont typeface="Wingdings" charset="2"/>
              <a:buChar char="§"/>
            </a:pPr>
            <a:r>
              <a:rPr lang="en-US" sz="2000" b="1" kern="0" dirty="0" smtClean="0">
                <a:solidFill>
                  <a:schemeClr val="bg1"/>
                </a:solidFill>
                <a:latin typeface="+mn-lt"/>
                <a:ea typeface="ＭＳ Ｐゴシック" pitchFamily="34" charset="-128"/>
                <a:cs typeface="ＭＳ Ｐゴシック" charset="-128"/>
              </a:rPr>
              <a:t>Keep Revenue Up/ Cost Down</a:t>
            </a:r>
          </a:p>
          <a:p>
            <a:pPr marL="693738" lvl="1" indent="-236538" algn="l" defTabSz="814388">
              <a:lnSpc>
                <a:spcPct val="95000"/>
              </a:lnSpc>
              <a:spcBef>
                <a:spcPct val="50000"/>
              </a:spcBef>
              <a:buClr>
                <a:schemeClr val="tx2"/>
              </a:buClr>
              <a:buSzPct val="100000"/>
              <a:buFont typeface="Wingdings" charset="2"/>
              <a:buChar char="§"/>
            </a:pPr>
            <a:r>
              <a:rPr lang="en-US" sz="2000" kern="0" dirty="0" smtClean="0">
                <a:solidFill>
                  <a:schemeClr val="bg1"/>
                </a:solidFill>
                <a:latin typeface="+mn-lt"/>
                <a:ea typeface="ＭＳ Ｐゴシック" pitchFamily="34" charset="-128"/>
                <a:cs typeface="ＭＳ Ｐゴシック" charset="-128"/>
              </a:rPr>
              <a:t>Push out the liabilities to user via Privacy and Acceptable Use Policy</a:t>
            </a:r>
          </a:p>
          <a:p>
            <a:pPr marL="693738" lvl="1" indent="-236538" algn="l" defTabSz="814388">
              <a:lnSpc>
                <a:spcPct val="95000"/>
              </a:lnSpc>
              <a:spcBef>
                <a:spcPct val="50000"/>
              </a:spcBef>
              <a:buClr>
                <a:schemeClr val="tx2"/>
              </a:buClr>
              <a:buSzPct val="100000"/>
              <a:buFont typeface="Wingdings" charset="2"/>
              <a:buChar char="§"/>
            </a:pPr>
            <a:r>
              <a:rPr lang="en-US" sz="2000" kern="0" dirty="0" smtClean="0">
                <a:solidFill>
                  <a:schemeClr val="bg1"/>
                </a:solidFill>
                <a:latin typeface="+mn-lt"/>
                <a:ea typeface="ＭＳ Ｐゴシック" pitchFamily="34" charset="-128"/>
                <a:cs typeface="ＭＳ Ｐゴシック" charset="-128"/>
              </a:rPr>
              <a:t>Build Additional Services on users behavior (targeted advertisements ) e.g. Google Email, banner adv.</a:t>
            </a:r>
          </a:p>
          <a:p>
            <a:pPr marL="693738" lvl="1" indent="-236538" algn="l" defTabSz="814388">
              <a:lnSpc>
                <a:spcPct val="95000"/>
              </a:lnSpc>
              <a:spcBef>
                <a:spcPct val="50000"/>
              </a:spcBef>
              <a:buClr>
                <a:schemeClr val="tx2"/>
              </a:buClr>
              <a:buSzPct val="100000"/>
              <a:buFont typeface="Wingdings" charset="2"/>
              <a:buChar char="§"/>
            </a:pPr>
            <a:r>
              <a:rPr lang="en-US" sz="2000" kern="0" dirty="0" smtClean="0">
                <a:solidFill>
                  <a:schemeClr val="bg1"/>
                </a:solidFill>
                <a:latin typeface="+mn-lt"/>
                <a:ea typeface="ＭＳ Ｐゴシック" pitchFamily="34" charset="-128"/>
                <a:cs typeface="ＭＳ Ｐゴシック" charset="-128"/>
              </a:rPr>
              <a:t>Do minimal to achieve compliance</a:t>
            </a:r>
          </a:p>
          <a:p>
            <a:pPr marL="693738" lvl="1" indent="-236538" algn="l" defTabSz="814388">
              <a:lnSpc>
                <a:spcPct val="95000"/>
              </a:lnSpc>
              <a:spcBef>
                <a:spcPct val="50000"/>
              </a:spcBef>
              <a:buClr>
                <a:schemeClr val="tx2"/>
              </a:buClr>
              <a:buSzPct val="100000"/>
              <a:buFont typeface="Wingdings" charset="2"/>
              <a:buChar char="§"/>
            </a:pPr>
            <a:r>
              <a:rPr lang="en-US" sz="2000" kern="0" dirty="0" smtClean="0">
                <a:solidFill>
                  <a:schemeClr val="bg1"/>
                </a:solidFill>
                <a:latin typeface="+mn-lt"/>
                <a:ea typeface="ＭＳ Ｐゴシック" pitchFamily="34" charset="-128"/>
                <a:cs typeface="ＭＳ Ｐゴシック" charset="-128"/>
              </a:rPr>
              <a:t>Keep their social applications more open (increased adoption)</a:t>
            </a:r>
          </a:p>
          <a:p>
            <a:pPr marL="574675" marR="0" lvl="1" indent="-117475" algn="l" defTabSz="814388" rtl="0" eaLnBrk="0" fontAlgn="base" latinLnBrk="0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ＭＳ Ｐゴシック" pitchFamily="-112" charset="-128"/>
            </a:endParaRPr>
          </a:p>
        </p:txBody>
      </p:sp>
      <p:sp>
        <p:nvSpPr>
          <p:cNvPr id="14" name="Title 1"/>
          <p:cNvSpPr txBox="1">
            <a:spLocks/>
          </p:cNvSpPr>
          <p:nvPr/>
        </p:nvSpPr>
        <p:spPr bwMode="auto">
          <a:xfrm>
            <a:off x="0" y="526883"/>
            <a:ext cx="8905875" cy="539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2124" tIns="41061" rIns="82124" bIns="41061" numCol="1" anchor="b" anchorCtr="0" compatLnSpc="1">
            <a:prstTxWarp prst="textNoShape">
              <a:avLst/>
            </a:prstTxWarp>
          </a:bodyPr>
          <a:lstStyle/>
          <a:p>
            <a:pPr lvl="0" algn="l" defTabSz="814388"/>
            <a:r>
              <a:rPr lang="en-US" sz="2800" b="1" kern="0" dirty="0" err="1" smtClean="0">
                <a:latin typeface="+mj-lt"/>
                <a:ea typeface="ＭＳ Ｐゴシック" charset="-128"/>
                <a:cs typeface="ＭＳ Ｐゴシック" charset="-128"/>
              </a:rPr>
              <a:t>R5</a:t>
            </a:r>
            <a:r>
              <a:rPr lang="en-US" sz="2800" b="1" kern="0" dirty="0" smtClean="0">
                <a:latin typeface="+mj-lt"/>
                <a:ea typeface="ＭＳ Ｐゴシック" charset="-128"/>
                <a:cs typeface="ＭＳ Ｐゴシック" charset="-128"/>
              </a:rPr>
              <a:t>: Risk: User Privacy &amp; Secondary Usage of Data</a:t>
            </a: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ＭＳ Ｐゴシック" pitchFamily="34" charset="-128"/>
                <a:cs typeface="ＭＳ Ｐゴシック" charset="-128"/>
              </a:rPr>
              <a:t> </a:t>
            </a:r>
            <a:endParaRPr lang="en-US" sz="2800" b="1" kern="0" dirty="0" smtClean="0">
              <a:latin typeface="+mj-lt"/>
              <a:ea typeface="ＭＳ Ｐゴシック" pitchFamily="34" charset="-128"/>
              <a:cs typeface="ＭＳ Ｐゴシック" charset="-128"/>
            </a:endParaRPr>
          </a:p>
        </p:txBody>
      </p:sp>
      <p:grpSp>
        <p:nvGrpSpPr>
          <p:cNvPr id="4" name="Group 4"/>
          <p:cNvGrpSpPr>
            <a:grpSpLocks/>
          </p:cNvGrpSpPr>
          <p:nvPr/>
        </p:nvGrpSpPr>
        <p:grpSpPr bwMode="auto">
          <a:xfrm>
            <a:off x="5105328" y="6291541"/>
            <a:ext cx="1908112" cy="358298"/>
            <a:chOff x="-1662" y="755"/>
            <a:chExt cx="5472" cy="679"/>
          </a:xfrm>
        </p:grpSpPr>
        <p:sp>
          <p:nvSpPr>
            <p:cNvPr id="16" name="AutoShape 5"/>
            <p:cNvSpPr>
              <a:spLocks noChangeArrowheads="1"/>
            </p:cNvSpPr>
            <p:nvPr/>
          </p:nvSpPr>
          <p:spPr bwMode="auto">
            <a:xfrm>
              <a:off x="-1662" y="816"/>
              <a:ext cx="5472" cy="564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585858">
                    <a:alpha val="29999"/>
                  </a:srgbClr>
                </a:gs>
                <a:gs pos="100000">
                  <a:srgbClr val="292929"/>
                </a:gs>
              </a:gsLst>
              <a:lin ang="5400000" scaled="1"/>
            </a:gradFill>
            <a:ln w="28575" algn="ctr">
              <a:solidFill>
                <a:srgbClr val="969696"/>
              </a:solidFill>
              <a:round/>
              <a:headEnd/>
              <a:tailEnd/>
            </a:ln>
          </p:spPr>
          <p:txBody>
            <a:bodyPr lIns="82124" tIns="41061" rIns="82124" bIns="41061" anchor="ctr">
              <a:spAutoFit/>
            </a:bodyPr>
            <a:lstStyle/>
            <a:p>
              <a:endParaRPr lang="en-US" sz="3600"/>
            </a:p>
          </p:txBody>
        </p:sp>
        <p:sp>
          <p:nvSpPr>
            <p:cNvPr id="17" name="Text Box 9"/>
            <p:cNvSpPr txBox="1">
              <a:spLocks noChangeArrowheads="1"/>
            </p:cNvSpPr>
            <p:nvPr/>
          </p:nvSpPr>
          <p:spPr bwMode="auto">
            <a:xfrm>
              <a:off x="-351" y="755"/>
              <a:ext cx="3574" cy="67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80482" tIns="40240" rIns="80482" bIns="40240" anchor="ctr">
              <a:spAutoFit/>
            </a:bodyPr>
            <a:lstStyle/>
            <a:p>
              <a:pPr defTabSz="798513" eaLnBrk="0" hangingPunct="0">
                <a:lnSpc>
                  <a:spcPct val="90000"/>
                </a:lnSpc>
              </a:pPr>
              <a:r>
                <a:rPr lang="en-US" sz="2000" dirty="0" smtClean="0">
                  <a:solidFill>
                    <a:schemeClr val="tx2"/>
                  </a:solidFill>
                </a:rPr>
                <a:t>Providers</a:t>
              </a:r>
              <a:endParaRPr lang="en-US" sz="2000" b="0" dirty="0">
                <a:solidFill>
                  <a:schemeClr val="tx2"/>
                </a:solidFill>
              </a:endParaRPr>
            </a:p>
          </p:txBody>
        </p:sp>
      </p:grpSp>
      <p:sp>
        <p:nvSpPr>
          <p:cNvPr id="19" name="Oval 18"/>
          <p:cNvSpPr>
            <a:spLocks noChangeArrowheads="1"/>
          </p:cNvSpPr>
          <p:nvPr/>
        </p:nvSpPr>
        <p:spPr bwMode="auto">
          <a:xfrm>
            <a:off x="6991289" y="1288125"/>
            <a:ext cx="775786" cy="706855"/>
          </a:xfrm>
          <a:prstGeom prst="ellipse">
            <a:avLst/>
          </a:prstGeom>
          <a:blipFill dpi="0" rotWithShape="1">
            <a:blip r:embed="rId6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  <a:effectLst>
            <a:outerShdw blurRad="63500" dist="38100" dir="2700000" algn="tl" rotWithShape="0">
              <a:srgbClr val="000000">
                <a:alpha val="39998"/>
              </a:srgbClr>
            </a:outerShdw>
          </a:effectLst>
        </p:spPr>
        <p:txBody>
          <a:bodyPr lIns="82124" tIns="41061" rIns="82124" bIns="41061" anchor="ctr"/>
          <a:lstStyle/>
          <a:p>
            <a:pPr defTabSz="814388">
              <a:defRPr/>
            </a:pPr>
            <a:endParaRPr lang="en-US" sz="1600">
              <a:ea typeface="ＭＳ Ｐゴシック" pitchFamily="34" charset="-128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2374420" y="791841"/>
            <a:ext cx="4427815" cy="424732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lvl="0" algn="l" defTabSz="814388"/>
            <a:r>
              <a:rPr lang="en-US" kern="0" dirty="0" smtClean="0">
                <a:solidFill>
                  <a:schemeClr val="tx2"/>
                </a:solidFill>
                <a:ea typeface="ＭＳ Ｐゴシック" pitchFamily="34" charset="-128"/>
                <a:cs typeface="ＭＳ Ｐゴシック" charset="-128"/>
              </a:rPr>
              <a:t> Users vs. Providers (Priorities)</a:t>
            </a:r>
            <a:endParaRPr lang="en-US" kern="0" dirty="0">
              <a:solidFill>
                <a:schemeClr val="tx2"/>
              </a:solidFill>
              <a:ea typeface="ＭＳ Ｐゴシック" pitchFamily="34" charset="-128"/>
              <a:cs typeface="ＭＳ Ｐゴシック" charset="-128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2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2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2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2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build="p" animBg="1"/>
      <p:bldP spid="10" grpId="0" animBg="1"/>
      <p:bldP spid="11" grpId="0" animBg="1"/>
      <p:bldP spid="19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3238" y="1143000"/>
            <a:ext cx="7726362" cy="4286250"/>
          </a:xfrm>
        </p:spPr>
        <p:txBody>
          <a:bodyPr/>
          <a:lstStyle/>
          <a:p>
            <a:r>
              <a:rPr lang="en-US" sz="2400" dirty="0" smtClean="0"/>
              <a:t>User personal data mined or used (sold) without consent</a:t>
            </a:r>
          </a:p>
          <a:p>
            <a:pPr lvl="1"/>
            <a:r>
              <a:rPr lang="en-US" sz="2000" dirty="0" smtClean="0"/>
              <a:t>- Targeted Advertisements, third parties </a:t>
            </a:r>
          </a:p>
          <a:p>
            <a:r>
              <a:rPr lang="en-US" sz="2400" dirty="0" smtClean="0"/>
              <a:t>User Privacy data transferred across jurisdictional borders</a:t>
            </a:r>
          </a:p>
          <a:p>
            <a:r>
              <a:rPr lang="en-US" sz="2400" dirty="0" smtClean="0"/>
              <a:t>No opt out features for user (user can not delete data)</a:t>
            </a:r>
          </a:p>
          <a:p>
            <a:r>
              <a:rPr lang="en-US" sz="2400" dirty="0" smtClean="0"/>
              <a:t>Lack of individual control on ensuring appropriate usage, sharing  and protection of their personal information.</a:t>
            </a:r>
          </a:p>
        </p:txBody>
      </p:sp>
      <p:sp>
        <p:nvSpPr>
          <p:cNvPr id="6" name="Rectangle 9"/>
          <p:cNvSpPr txBox="1">
            <a:spLocks noChangeArrowheads="1"/>
          </p:cNvSpPr>
          <p:nvPr/>
        </p:nvSpPr>
        <p:spPr bwMode="auto">
          <a:xfrm>
            <a:off x="0" y="457200"/>
            <a:ext cx="9144000" cy="6134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124" tIns="41061" rIns="82124" bIns="41061" anchor="b"/>
          <a:lstStyle/>
          <a:p>
            <a:pPr algn="l" defTabSz="814388" eaLnBrk="1" hangingPunct="1">
              <a:defRPr/>
            </a:pPr>
            <a:r>
              <a:rPr lang="en-US" sz="2800" b="1" kern="0" dirty="0" err="1" smtClean="0">
                <a:latin typeface="+mj-lt"/>
                <a:ea typeface="ＭＳ Ｐゴシック" charset="-128"/>
                <a:cs typeface="ＭＳ Ｐゴシック" charset="-128"/>
              </a:rPr>
              <a:t>R5</a:t>
            </a:r>
            <a:r>
              <a:rPr lang="en-US" sz="2800" b="1" kern="0" dirty="0" smtClean="0">
                <a:latin typeface="+mj-lt"/>
                <a:ea typeface="ＭＳ Ｐゴシック" charset="-128"/>
                <a:cs typeface="ＭＳ Ｐゴシック" charset="-128"/>
              </a:rPr>
              <a:t>: Risk: User Privacy &amp; Secondary Usage of Data</a:t>
            </a:r>
            <a:endParaRPr lang="en-US" sz="2800" b="1" kern="0" dirty="0">
              <a:latin typeface="+mj-lt"/>
              <a:ea typeface="ＭＳ Ｐゴシック" charset="-128"/>
              <a:cs typeface="ＭＳ Ｐゴシック" charset="-128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04800"/>
            <a:ext cx="9144000" cy="838200"/>
          </a:xfrm>
        </p:spPr>
        <p:txBody>
          <a:bodyPr/>
          <a:lstStyle/>
          <a:p>
            <a:pPr eaLnBrk="1" hangingPunct="1">
              <a:defRPr/>
            </a:pPr>
            <a:r>
              <a:rPr lang="en-US" dirty="0" err="1" smtClean="0">
                <a:solidFill>
                  <a:schemeClr val="tx1"/>
                </a:solidFill>
                <a:ea typeface="ＭＳ Ｐゴシック" charset="-128"/>
              </a:rPr>
              <a:t>R5</a:t>
            </a:r>
            <a:r>
              <a:rPr lang="en-US" dirty="0" smtClean="0">
                <a:solidFill>
                  <a:schemeClr val="tx1"/>
                </a:solidFill>
                <a:ea typeface="ＭＳ Ｐゴシック" charset="-128"/>
              </a:rPr>
              <a:t>: Mitigations: User Privacy &amp; Secondary Usage of Data</a:t>
            </a:r>
            <a:endParaRPr lang="en-US" dirty="0">
              <a:solidFill>
                <a:schemeClr val="tx1"/>
              </a:solidFill>
              <a:ea typeface="ＭＳ Ｐゴシック" charset="-128"/>
            </a:endParaRPr>
          </a:p>
        </p:txBody>
      </p:sp>
      <p:pic>
        <p:nvPicPr>
          <p:cNvPr id="96258" name="Picture 2" descr="http://images.marapets.com/stuff/policy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99818" y="1032565"/>
            <a:ext cx="1153823" cy="1153823"/>
          </a:xfrm>
          <a:prstGeom prst="rect">
            <a:avLst/>
          </a:prstGeom>
          <a:noFill/>
        </p:spPr>
      </p:pic>
      <p:sp>
        <p:nvSpPr>
          <p:cNvPr id="7" name="Rectangle 6"/>
          <p:cNvSpPr/>
          <p:nvPr/>
        </p:nvSpPr>
        <p:spPr>
          <a:xfrm>
            <a:off x="4403035" y="1013093"/>
            <a:ext cx="4383157" cy="11172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sz="2000" dirty="0" smtClean="0"/>
              <a:t>Policy Enactment</a:t>
            </a:r>
          </a:p>
          <a:p>
            <a:pPr lvl="1" algn="l">
              <a:buFontTx/>
              <a:buChar char="-"/>
            </a:pPr>
            <a:r>
              <a:rPr lang="en-US" sz="1800" dirty="0" smtClean="0"/>
              <a:t>Privacy and Acceptable Usage</a:t>
            </a:r>
          </a:p>
          <a:p>
            <a:pPr lvl="1" algn="l">
              <a:buFontTx/>
              <a:buChar char="-"/>
            </a:pPr>
            <a:r>
              <a:rPr lang="en-US" sz="1800" dirty="0" smtClean="0"/>
              <a:t> Consent (Opt In / Opt Out) </a:t>
            </a:r>
          </a:p>
          <a:p>
            <a:pPr lvl="1" algn="l">
              <a:buFontTx/>
              <a:buChar char="-"/>
            </a:pPr>
            <a:r>
              <a:rPr lang="en-US" sz="1800" dirty="0" smtClean="0"/>
              <a:t> Policy on Secondary Usage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3476934"/>
            <a:ext cx="3241040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dirty="0" smtClean="0"/>
              <a:t>De-identification of personal Information</a:t>
            </a:r>
          </a:p>
        </p:txBody>
      </p:sp>
      <p:pic>
        <p:nvPicPr>
          <p:cNvPr id="96260" name="Picture 4" descr="http://www.na-mic.org/Wiki/images/d/d5/Defacing_figure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52120" y="2247775"/>
            <a:ext cx="1840971" cy="1104583"/>
          </a:xfrm>
          <a:prstGeom prst="rect">
            <a:avLst/>
          </a:prstGeom>
          <a:noFill/>
        </p:spPr>
      </p:pic>
      <p:sp>
        <p:nvSpPr>
          <p:cNvPr id="10" name="Rectangle 9"/>
          <p:cNvSpPr/>
          <p:nvPr/>
        </p:nvSpPr>
        <p:spPr>
          <a:xfrm>
            <a:off x="6551095" y="4041582"/>
            <a:ext cx="2056973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dirty="0" smtClean="0"/>
              <a:t>Encrypted storage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699591" y="5688539"/>
            <a:ext cx="4572000" cy="86793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000" dirty="0" smtClean="0"/>
              <a:t>Terms of Service with providers</a:t>
            </a:r>
          </a:p>
          <a:p>
            <a:pPr lvl="1"/>
            <a:r>
              <a:rPr lang="en-US" sz="1800" dirty="0" smtClean="0"/>
              <a:t>- Responsibility on compliance</a:t>
            </a:r>
          </a:p>
          <a:p>
            <a:pPr lvl="1"/>
            <a:r>
              <a:rPr lang="en-US" sz="1800" dirty="0" smtClean="0"/>
              <a:t>- Geographical affinity</a:t>
            </a:r>
            <a:endParaRPr lang="en-US" sz="1800" dirty="0"/>
          </a:p>
        </p:txBody>
      </p:sp>
      <p:pic>
        <p:nvPicPr>
          <p:cNvPr id="96262" name="Picture 6" descr="http://t1.gstatic.com/images?q=tbn:ANd9GcQJb4QUFDX5D4PCRG0Xy4oTiZrUe27TpGDmbCw7-NfS3BWEwGs&amp;t=1&amp;usg=__JSV6I3VCOJtotNGO0rwjNdwDI_o=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875670" y="2900020"/>
            <a:ext cx="1155147" cy="1155147"/>
          </a:xfrm>
          <a:prstGeom prst="rect">
            <a:avLst/>
          </a:prstGeom>
          <a:noFill/>
        </p:spPr>
      </p:pic>
      <p:pic>
        <p:nvPicPr>
          <p:cNvPr id="96264" name="Picture 8" descr="http://t0.gstatic.com/images?q=tbn:ANd9GcSTPl8MiYYFuyEysCsL1cTC9PVL_UchLwlwtG9Koz8WSmeVaVg&amp;t=1&amp;usg=__ppl2cbLhtoKVzBC0z80WZMxk9z0=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120887" y="4125085"/>
            <a:ext cx="1986445" cy="1487917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8" name="Rectangle 8"/>
          <p:cNvSpPr>
            <a:spLocks noGrp="1" noChangeArrowheads="1"/>
          </p:cNvSpPr>
          <p:nvPr>
            <p:ph type="title"/>
          </p:nvPr>
        </p:nvSpPr>
        <p:spPr>
          <a:xfrm>
            <a:off x="152400" y="457200"/>
            <a:ext cx="8145462" cy="657225"/>
          </a:xfrm>
        </p:spPr>
        <p:txBody>
          <a:bodyPr/>
          <a:lstStyle/>
          <a:p>
            <a:pPr eaLnBrk="1" hangingPunct="1"/>
            <a:r>
              <a:rPr lang="en-US" sz="2800" dirty="0" err="1" smtClean="0">
                <a:solidFill>
                  <a:schemeClr val="tx1"/>
                </a:solidFill>
                <a:ea typeface="ＭＳ Ｐゴシック" charset="-128"/>
              </a:rPr>
              <a:t>R6</a:t>
            </a:r>
            <a:r>
              <a:rPr lang="en-US" sz="2800" dirty="0" smtClean="0">
                <a:solidFill>
                  <a:schemeClr val="tx1"/>
                </a:solidFill>
                <a:ea typeface="ＭＳ Ｐゴシック" charset="-128"/>
              </a:rPr>
              <a:t>: Risk: Service &amp; Data Integration</a:t>
            </a:r>
            <a:br>
              <a:rPr lang="en-US" sz="2800" dirty="0" smtClean="0">
                <a:solidFill>
                  <a:schemeClr val="tx1"/>
                </a:solidFill>
                <a:ea typeface="ＭＳ Ｐゴシック" charset="-128"/>
              </a:rPr>
            </a:br>
            <a:endParaRPr lang="en-US" sz="2800" dirty="0" smtClean="0">
              <a:solidFill>
                <a:schemeClr val="tx1"/>
              </a:solidFill>
            </a:endParaRPr>
          </a:p>
        </p:txBody>
      </p:sp>
      <p:sp>
        <p:nvSpPr>
          <p:cNvPr id="5146" name="Text Box 294"/>
          <p:cNvSpPr txBox="1">
            <a:spLocks noChangeArrowheads="1"/>
          </p:cNvSpPr>
          <p:nvPr/>
        </p:nvSpPr>
        <p:spPr bwMode="auto">
          <a:xfrm>
            <a:off x="6035675" y="1420091"/>
            <a:ext cx="5683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>
              <a:buClrTx/>
              <a:buSzTx/>
              <a:buFontTx/>
              <a:buNone/>
            </a:pPr>
            <a:r>
              <a:rPr lang="en-US" sz="1400" b="1" dirty="0">
                <a:solidFill>
                  <a:schemeClr val="bg1"/>
                </a:solidFill>
              </a:rPr>
              <a:t>Key:</a:t>
            </a:r>
          </a:p>
        </p:txBody>
      </p:sp>
      <p:sp>
        <p:nvSpPr>
          <p:cNvPr id="326" name="TextBox 23"/>
          <p:cNvSpPr txBox="1">
            <a:spLocks noChangeArrowheads="1"/>
          </p:cNvSpPr>
          <p:nvPr/>
        </p:nvSpPr>
        <p:spPr bwMode="auto">
          <a:xfrm flipH="1">
            <a:off x="2788466" y="2701908"/>
            <a:ext cx="3381424" cy="1138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3300"/>
                </a:solidFill>
                <a:ea typeface="华文细黑" charset="-122"/>
                <a:sym typeface="Arial" charset="0"/>
              </a:rPr>
              <a:t>Data </a:t>
            </a:r>
            <a:r>
              <a:rPr lang="en-US" sz="1800" dirty="0" smtClean="0">
                <a:solidFill>
                  <a:srgbClr val="FF3300"/>
                </a:solidFill>
                <a:ea typeface="华文细黑" charset="-122"/>
                <a:sym typeface="Arial" charset="0"/>
              </a:rPr>
              <a:t>traverses through the internet between end users and cloud data centers. </a:t>
            </a:r>
          </a:p>
          <a:p>
            <a:pPr algn="l" eaLnBrk="1" hangingPunct="1">
              <a:lnSpc>
                <a:spcPct val="100000"/>
              </a:lnSpc>
            </a:pPr>
            <a:r>
              <a:rPr lang="en-US" sz="1400" b="1" dirty="0" smtClean="0">
                <a:solidFill>
                  <a:schemeClr val="accent6"/>
                </a:solidFill>
                <a:ea typeface="华文细黑" charset="-122"/>
                <a:sym typeface="Arial" charset="0"/>
              </a:rPr>
              <a:t>How secure the integrations are ? </a:t>
            </a:r>
            <a:endParaRPr lang="en-US" sz="1400" b="1" dirty="0">
              <a:solidFill>
                <a:schemeClr val="accent6"/>
              </a:solidFill>
              <a:ea typeface="华文细黑" charset="-122"/>
              <a:sym typeface="Arial" charset="0"/>
            </a:endParaRPr>
          </a:p>
        </p:txBody>
      </p:sp>
      <p:sp>
        <p:nvSpPr>
          <p:cNvPr id="287" name="Rectangle 44"/>
          <p:cNvSpPr>
            <a:spLocks noChangeArrowheads="1"/>
          </p:cNvSpPr>
          <p:nvPr/>
        </p:nvSpPr>
        <p:spPr bwMode="auto">
          <a:xfrm>
            <a:off x="322701" y="1667572"/>
            <a:ext cx="917623" cy="491131"/>
          </a:xfrm>
          <a:prstGeom prst="rect">
            <a:avLst/>
          </a:prstGeom>
          <a:solidFill>
            <a:srgbClr val="3366FF"/>
          </a:solidFill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b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anchor="ctr">
            <a:flatTx/>
          </a:bodyPr>
          <a:lstStyle/>
          <a:p>
            <a:pPr algn="ctr" eaLnBrk="1" hangingPunct="1">
              <a:lnSpc>
                <a:spcPct val="100000"/>
              </a:lnSpc>
              <a:defRPr/>
            </a:pPr>
            <a:r>
              <a:rPr lang="en-US" sz="1200" dirty="0" smtClean="0">
                <a:solidFill>
                  <a:schemeClr val="bg1"/>
                </a:solidFill>
                <a:cs typeface="Times New Roman" pitchFamily="18" charset="0"/>
              </a:rPr>
              <a:t>End Users</a:t>
            </a:r>
            <a:endParaRPr lang="en-US" sz="1200" dirty="0">
              <a:solidFill>
                <a:schemeClr val="bg1"/>
              </a:solidFill>
              <a:cs typeface="Times New Roman" pitchFamily="18" charset="0"/>
            </a:endParaRPr>
          </a:p>
        </p:txBody>
      </p:sp>
      <p:sp>
        <p:nvSpPr>
          <p:cNvPr id="290" name="Line 54"/>
          <p:cNvSpPr>
            <a:spLocks noChangeShapeType="1"/>
          </p:cNvSpPr>
          <p:nvPr/>
        </p:nvSpPr>
        <p:spPr bwMode="auto">
          <a:xfrm>
            <a:off x="1225163" y="1942893"/>
            <a:ext cx="717550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 type="triangle"/>
            <a:tailEnd type="triangle" w="med" len="med"/>
          </a:ln>
        </p:spPr>
        <p:txBody>
          <a:bodyPr lIns="82124" tIns="41061" rIns="82124" bIns="41061"/>
          <a:lstStyle/>
          <a:p>
            <a:endParaRPr lang="en-US"/>
          </a:p>
        </p:txBody>
      </p:sp>
      <p:sp>
        <p:nvSpPr>
          <p:cNvPr id="292" name="Rectangle 57"/>
          <p:cNvSpPr>
            <a:spLocks noChangeArrowheads="1"/>
          </p:cNvSpPr>
          <p:nvPr/>
        </p:nvSpPr>
        <p:spPr bwMode="auto">
          <a:xfrm>
            <a:off x="1926324" y="1801091"/>
            <a:ext cx="1306512" cy="374650"/>
          </a:xfrm>
          <a:prstGeom prst="rect">
            <a:avLst/>
          </a:prstGeom>
          <a:solidFill>
            <a:srgbClr val="33CCCC"/>
          </a:solidFill>
          <a:ln w="9525">
            <a:noFill/>
            <a:miter lim="800000"/>
            <a:headEnd/>
            <a:tailEnd/>
          </a:ln>
          <a:effectLst/>
          <a:scene3d>
            <a:camera prst="legacyObliqueTopRight"/>
            <a:lightRig rig="legacyFlat3" dir="b"/>
          </a:scene3d>
          <a:sp3d extrusionH="430200" prstMaterial="legacyMatte">
            <a:bevelT w="13500" h="13500" prst="angle"/>
            <a:bevelB w="13500" h="13500" prst="angle"/>
            <a:extrusionClr>
              <a:srgbClr val="33CCCC"/>
            </a:extrusionClr>
          </a:sp3d>
        </p:spPr>
        <p:txBody>
          <a:bodyPr anchor="ctr">
            <a:flatTx/>
          </a:bodyPr>
          <a:lstStyle/>
          <a:p>
            <a:pPr algn="ctr" eaLnBrk="1" hangingPunct="1">
              <a:lnSpc>
                <a:spcPct val="100000"/>
              </a:lnSpc>
              <a:defRPr/>
            </a:pPr>
            <a:r>
              <a:rPr lang="en-US" sz="1600" dirty="0" smtClean="0">
                <a:solidFill>
                  <a:schemeClr val="bg1"/>
                </a:solidFill>
                <a:cs typeface="Times New Roman" pitchFamily="18" charset="0"/>
              </a:rPr>
              <a:t>Cloud Broker</a:t>
            </a:r>
            <a:endParaRPr lang="en-US" sz="1600" dirty="0">
              <a:solidFill>
                <a:schemeClr val="bg1"/>
              </a:solidFill>
              <a:cs typeface="Times New Roman" pitchFamily="18" charset="0"/>
            </a:endParaRPr>
          </a:p>
        </p:txBody>
      </p:sp>
      <p:sp>
        <p:nvSpPr>
          <p:cNvPr id="293" name="Rectangle 61"/>
          <p:cNvSpPr>
            <a:spLocks noChangeArrowheads="1"/>
          </p:cNvSpPr>
          <p:nvPr/>
        </p:nvSpPr>
        <p:spPr bwMode="auto">
          <a:xfrm>
            <a:off x="152400" y="4159919"/>
            <a:ext cx="8915400" cy="1908372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82124" tIns="41061" rIns="82124" bIns="41061" anchorCtr="1"/>
          <a:lstStyle/>
          <a:p>
            <a:pPr algn="ctr" defTabSz="814388"/>
            <a:r>
              <a:rPr lang="en-US" sz="1400">
                <a:cs typeface="Arial" charset="0"/>
              </a:rPr>
              <a:t>Public Cloud</a:t>
            </a:r>
          </a:p>
        </p:txBody>
      </p:sp>
      <p:sp>
        <p:nvSpPr>
          <p:cNvPr id="295" name="Rectangle 44"/>
          <p:cNvSpPr>
            <a:spLocks noChangeArrowheads="1"/>
          </p:cNvSpPr>
          <p:nvPr/>
        </p:nvSpPr>
        <p:spPr bwMode="auto">
          <a:xfrm>
            <a:off x="7686392" y="1760349"/>
            <a:ext cx="1152603" cy="421741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b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anchor="ctr">
            <a:flatTx/>
          </a:bodyPr>
          <a:lstStyle/>
          <a:p>
            <a:pPr algn="ctr" eaLnBrk="1" hangingPunct="1">
              <a:lnSpc>
                <a:spcPct val="100000"/>
              </a:lnSpc>
              <a:defRPr/>
            </a:pPr>
            <a:r>
              <a:rPr lang="en-US" sz="1200" dirty="0">
                <a:solidFill>
                  <a:schemeClr val="bg1"/>
                </a:solidFill>
                <a:cs typeface="Times New Roman" pitchFamily="18" charset="0"/>
              </a:rPr>
              <a:t>Internal Databases</a:t>
            </a:r>
          </a:p>
        </p:txBody>
      </p:sp>
      <p:sp>
        <p:nvSpPr>
          <p:cNvPr id="298" name="Line 54"/>
          <p:cNvSpPr>
            <a:spLocks noChangeShapeType="1"/>
          </p:cNvSpPr>
          <p:nvPr/>
        </p:nvSpPr>
        <p:spPr bwMode="auto">
          <a:xfrm>
            <a:off x="7093527" y="1944253"/>
            <a:ext cx="572655" cy="1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 type="triangle"/>
            <a:tailEnd type="triangle" w="med" len="med"/>
          </a:ln>
        </p:spPr>
        <p:txBody>
          <a:bodyPr lIns="82124" tIns="41061" rIns="82124" bIns="41061"/>
          <a:lstStyle/>
          <a:p>
            <a:endParaRPr lang="en-US"/>
          </a:p>
        </p:txBody>
      </p:sp>
      <p:sp>
        <p:nvSpPr>
          <p:cNvPr id="300" name="Rectangle 57"/>
          <p:cNvSpPr>
            <a:spLocks noChangeArrowheads="1"/>
          </p:cNvSpPr>
          <p:nvPr/>
        </p:nvSpPr>
        <p:spPr bwMode="auto">
          <a:xfrm>
            <a:off x="5632622" y="1850132"/>
            <a:ext cx="1328737" cy="344488"/>
          </a:xfrm>
          <a:prstGeom prst="rect">
            <a:avLst/>
          </a:prstGeom>
          <a:solidFill>
            <a:srgbClr val="33CCCC"/>
          </a:solidFill>
          <a:ln w="9525">
            <a:noFill/>
            <a:miter lim="800000"/>
            <a:headEnd/>
            <a:tailEnd/>
          </a:ln>
          <a:effectLst/>
          <a:scene3d>
            <a:camera prst="legacyObliqueTopRight"/>
            <a:lightRig rig="legacyFlat3" dir="b"/>
          </a:scene3d>
          <a:sp3d extrusionH="430200" prstMaterial="legacyMatte">
            <a:bevelT w="13500" h="13500" prst="angle"/>
            <a:bevelB w="13500" h="13500" prst="angle"/>
            <a:extrusionClr>
              <a:srgbClr val="33CCCC"/>
            </a:extrusionClr>
          </a:sp3d>
        </p:spPr>
        <p:txBody>
          <a:bodyPr anchor="ctr">
            <a:flatTx/>
          </a:bodyPr>
          <a:lstStyle/>
          <a:p>
            <a:pPr algn="ctr" eaLnBrk="1" hangingPunct="1">
              <a:lnSpc>
                <a:spcPct val="100000"/>
              </a:lnSpc>
              <a:defRPr/>
            </a:pPr>
            <a:r>
              <a:rPr lang="en-US" sz="1600" dirty="0" smtClean="0">
                <a:solidFill>
                  <a:schemeClr val="bg1"/>
                </a:solidFill>
                <a:cs typeface="Times New Roman" pitchFamily="18" charset="0"/>
              </a:rPr>
              <a:t>Cloud Broker</a:t>
            </a:r>
            <a:endParaRPr lang="en-US" sz="1600" dirty="0">
              <a:solidFill>
                <a:schemeClr val="bg1"/>
              </a:solidFill>
              <a:cs typeface="Times New Roman" pitchFamily="18" charset="0"/>
            </a:endParaRPr>
          </a:p>
        </p:txBody>
      </p:sp>
      <p:sp>
        <p:nvSpPr>
          <p:cNvPr id="301" name="Rectangle 60"/>
          <p:cNvSpPr>
            <a:spLocks noChangeArrowheads="1"/>
          </p:cNvSpPr>
          <p:nvPr/>
        </p:nvSpPr>
        <p:spPr bwMode="auto">
          <a:xfrm>
            <a:off x="5257800" y="1371600"/>
            <a:ext cx="3733800" cy="1202604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82124" tIns="41061" rIns="82124" bIns="41061" anchorCtr="1"/>
          <a:lstStyle/>
          <a:p>
            <a:pPr algn="ctr" defTabSz="814388"/>
            <a:r>
              <a:rPr lang="en-US" sz="1400">
                <a:cs typeface="Arial" charset="0"/>
              </a:rPr>
              <a:t>Private Cloud / Internal Data Center</a:t>
            </a:r>
          </a:p>
        </p:txBody>
      </p:sp>
      <p:sp>
        <p:nvSpPr>
          <p:cNvPr id="302" name="Rectangle 17"/>
          <p:cNvSpPr>
            <a:spLocks noChangeArrowheads="1"/>
          </p:cNvSpPr>
          <p:nvPr/>
        </p:nvSpPr>
        <p:spPr bwMode="auto">
          <a:xfrm>
            <a:off x="2074257" y="5462737"/>
            <a:ext cx="1364857" cy="28929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b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anchor="ctr">
            <a:flatTx/>
          </a:bodyPr>
          <a:lstStyle/>
          <a:p>
            <a:pPr algn="ctr" eaLnBrk="1" hangingPunct="1">
              <a:lnSpc>
                <a:spcPct val="100000"/>
              </a:lnSpc>
              <a:defRPr/>
            </a:pPr>
            <a:r>
              <a:rPr lang="en-US" sz="1100" dirty="0" smtClean="0">
                <a:solidFill>
                  <a:schemeClr val="bg1"/>
                </a:solidFill>
                <a:cs typeface="Times New Roman" pitchFamily="18" charset="0"/>
              </a:rPr>
              <a:t>Service / App 2</a:t>
            </a:r>
            <a:endParaRPr lang="en-US" sz="1100" dirty="0">
              <a:solidFill>
                <a:schemeClr val="bg1"/>
              </a:solidFill>
              <a:cs typeface="Times New Roman" pitchFamily="18" charset="0"/>
            </a:endParaRPr>
          </a:p>
        </p:txBody>
      </p:sp>
      <p:sp>
        <p:nvSpPr>
          <p:cNvPr id="303" name="Rectangle 17"/>
          <p:cNvSpPr>
            <a:spLocks noChangeArrowheads="1"/>
          </p:cNvSpPr>
          <p:nvPr/>
        </p:nvSpPr>
        <p:spPr bwMode="auto">
          <a:xfrm>
            <a:off x="436295" y="5478921"/>
            <a:ext cx="1368228" cy="265014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b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anchor="ctr">
            <a:flatTx/>
          </a:bodyPr>
          <a:lstStyle/>
          <a:p>
            <a:pPr algn="ctr" eaLnBrk="1" hangingPunct="1">
              <a:lnSpc>
                <a:spcPct val="100000"/>
              </a:lnSpc>
              <a:defRPr/>
            </a:pPr>
            <a:r>
              <a:rPr lang="en-US" sz="1100" dirty="0" smtClean="0">
                <a:solidFill>
                  <a:schemeClr val="bg1"/>
                </a:solidFill>
                <a:cs typeface="Times New Roman" pitchFamily="18" charset="0"/>
              </a:rPr>
              <a:t>Service / App </a:t>
            </a:r>
            <a:r>
              <a:rPr lang="en-US" sz="1100" dirty="0">
                <a:solidFill>
                  <a:schemeClr val="bg1"/>
                </a:solidFill>
                <a:cs typeface="Times New Roman" pitchFamily="18" charset="0"/>
              </a:rPr>
              <a:t>1</a:t>
            </a:r>
          </a:p>
        </p:txBody>
      </p:sp>
      <p:sp>
        <p:nvSpPr>
          <p:cNvPr id="307" name="Rectangle 17"/>
          <p:cNvSpPr>
            <a:spLocks noChangeArrowheads="1"/>
          </p:cNvSpPr>
          <p:nvPr/>
        </p:nvSpPr>
        <p:spPr bwMode="auto">
          <a:xfrm>
            <a:off x="6177770" y="5446509"/>
            <a:ext cx="1215044" cy="29510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b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anchor="ctr">
            <a:flatTx/>
          </a:bodyPr>
          <a:lstStyle/>
          <a:p>
            <a:pPr algn="ctr" eaLnBrk="1" hangingPunct="1">
              <a:lnSpc>
                <a:spcPct val="100000"/>
              </a:lnSpc>
              <a:defRPr/>
            </a:pPr>
            <a:r>
              <a:rPr lang="en-US" sz="1100" dirty="0" smtClean="0">
                <a:solidFill>
                  <a:schemeClr val="bg1"/>
                </a:solidFill>
                <a:cs typeface="Times New Roman" pitchFamily="18" charset="0"/>
              </a:rPr>
              <a:t>Service / App </a:t>
            </a:r>
            <a:r>
              <a:rPr lang="en-US" sz="1100" dirty="0">
                <a:solidFill>
                  <a:schemeClr val="bg1"/>
                </a:solidFill>
                <a:cs typeface="Times New Roman" pitchFamily="18" charset="0"/>
              </a:rPr>
              <a:t>5</a:t>
            </a:r>
          </a:p>
        </p:txBody>
      </p:sp>
      <p:sp>
        <p:nvSpPr>
          <p:cNvPr id="308" name="Line 23"/>
          <p:cNvSpPr>
            <a:spLocks noChangeShapeType="1"/>
          </p:cNvSpPr>
          <p:nvPr/>
        </p:nvSpPr>
        <p:spPr bwMode="auto">
          <a:xfrm flipH="1" flipV="1">
            <a:off x="2576945" y="2563090"/>
            <a:ext cx="12346" cy="1596426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 type="triangle"/>
            <a:tailEnd type="triangle" w="med" len="med"/>
          </a:ln>
        </p:spPr>
        <p:txBody>
          <a:bodyPr lIns="82124" tIns="41061" rIns="82124" bIns="41061"/>
          <a:lstStyle/>
          <a:p>
            <a:endParaRPr lang="en-US"/>
          </a:p>
        </p:txBody>
      </p:sp>
      <p:sp>
        <p:nvSpPr>
          <p:cNvPr id="315" name="Rectangle 17"/>
          <p:cNvSpPr>
            <a:spLocks noChangeArrowheads="1"/>
          </p:cNvSpPr>
          <p:nvPr/>
        </p:nvSpPr>
        <p:spPr bwMode="auto">
          <a:xfrm>
            <a:off x="7546570" y="5449716"/>
            <a:ext cx="1256607" cy="29510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b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anchor="ctr">
            <a:flatTx/>
          </a:bodyPr>
          <a:lstStyle/>
          <a:p>
            <a:pPr algn="ctr" eaLnBrk="1" hangingPunct="1">
              <a:lnSpc>
                <a:spcPct val="100000"/>
              </a:lnSpc>
              <a:defRPr/>
            </a:pPr>
            <a:r>
              <a:rPr lang="en-US" sz="1050" dirty="0" smtClean="0">
                <a:solidFill>
                  <a:schemeClr val="bg1"/>
                </a:solidFill>
                <a:cs typeface="Times New Roman" pitchFamily="18" charset="0"/>
              </a:rPr>
              <a:t>Service / App </a:t>
            </a:r>
            <a:r>
              <a:rPr lang="en-US" sz="1050" dirty="0">
                <a:solidFill>
                  <a:schemeClr val="bg1"/>
                </a:solidFill>
                <a:cs typeface="Times New Roman" pitchFamily="18" charset="0"/>
              </a:rPr>
              <a:t>6</a:t>
            </a:r>
            <a:endParaRPr lang="en-US" sz="1400" dirty="0">
              <a:solidFill>
                <a:schemeClr val="bg1"/>
              </a:solidFill>
              <a:cs typeface="Times New Roman" pitchFamily="18" charset="0"/>
            </a:endParaRPr>
          </a:p>
        </p:txBody>
      </p:sp>
      <p:sp>
        <p:nvSpPr>
          <p:cNvPr id="317" name="Rectangle 60"/>
          <p:cNvSpPr>
            <a:spLocks noChangeArrowheads="1"/>
          </p:cNvSpPr>
          <p:nvPr/>
        </p:nvSpPr>
        <p:spPr bwMode="auto">
          <a:xfrm>
            <a:off x="120072" y="1371600"/>
            <a:ext cx="3556001" cy="1191491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82124" tIns="41061" rIns="82124" bIns="41061" anchorCtr="1"/>
          <a:lstStyle/>
          <a:p>
            <a:pPr algn="ctr" defTabSz="814388"/>
            <a:r>
              <a:rPr lang="en-US" sz="1400" dirty="0" smtClean="0">
                <a:cs typeface="Arial" charset="0"/>
              </a:rPr>
              <a:t>Branch Office</a:t>
            </a:r>
            <a:endParaRPr lang="en-US" sz="1400" dirty="0">
              <a:cs typeface="Arial" charset="0"/>
            </a:endParaRPr>
          </a:p>
        </p:txBody>
      </p:sp>
      <p:sp>
        <p:nvSpPr>
          <p:cNvPr id="318" name="Rectangle 61"/>
          <p:cNvSpPr>
            <a:spLocks noChangeArrowheads="1"/>
          </p:cNvSpPr>
          <p:nvPr/>
        </p:nvSpPr>
        <p:spPr bwMode="auto">
          <a:xfrm>
            <a:off x="304800" y="4515969"/>
            <a:ext cx="3289426" cy="1399922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none" lIns="82124" tIns="41061" rIns="82124" bIns="41061" anchorCtr="1"/>
          <a:lstStyle/>
          <a:p>
            <a:pPr algn="ctr" defTabSz="814388">
              <a:defRPr/>
            </a:pPr>
            <a:r>
              <a:rPr lang="en-US" sz="1400" dirty="0">
                <a:cs typeface="Arial" charset="0"/>
              </a:rPr>
              <a:t>Cloud Provider 1</a:t>
            </a:r>
          </a:p>
        </p:txBody>
      </p:sp>
      <p:sp>
        <p:nvSpPr>
          <p:cNvPr id="321" name="Rectangle 61"/>
          <p:cNvSpPr>
            <a:spLocks noChangeArrowheads="1"/>
          </p:cNvSpPr>
          <p:nvPr/>
        </p:nvSpPr>
        <p:spPr bwMode="auto">
          <a:xfrm>
            <a:off x="5830432" y="4459325"/>
            <a:ext cx="3084968" cy="1456566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lIns="82124" tIns="41061" rIns="82124" bIns="41061" anchorCtr="1"/>
          <a:lstStyle/>
          <a:p>
            <a:pPr algn="ctr" defTabSz="814388">
              <a:defRPr/>
            </a:pPr>
            <a:r>
              <a:rPr lang="en-US" sz="1400" dirty="0">
                <a:cs typeface="Arial" charset="0"/>
              </a:rPr>
              <a:t>Cloud Provider 2</a:t>
            </a:r>
          </a:p>
        </p:txBody>
      </p:sp>
      <p:sp>
        <p:nvSpPr>
          <p:cNvPr id="334" name="Rectangle 7"/>
          <p:cNvSpPr>
            <a:spLocks noChangeArrowheads="1"/>
          </p:cNvSpPr>
          <p:nvPr/>
        </p:nvSpPr>
        <p:spPr bwMode="auto">
          <a:xfrm>
            <a:off x="6908315" y="4888516"/>
            <a:ext cx="914400" cy="304800"/>
          </a:xfrm>
          <a:prstGeom prst="rect">
            <a:avLst/>
          </a:prstGeom>
          <a:solidFill>
            <a:srgbClr val="7030A0"/>
          </a:solidFill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b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anchor="ctr">
            <a:flatTx/>
          </a:bodyPr>
          <a:lstStyle/>
          <a:p>
            <a:pPr algn="ctr" eaLnBrk="1" hangingPunct="1">
              <a:lnSpc>
                <a:spcPct val="100000"/>
              </a:lnSpc>
              <a:defRPr/>
            </a:pPr>
            <a:r>
              <a:rPr lang="en-US" sz="1200" dirty="0" smtClean="0">
                <a:solidFill>
                  <a:schemeClr val="bg1"/>
                </a:solidFill>
                <a:cs typeface="Times New Roman" pitchFamily="18" charset="0"/>
              </a:rPr>
              <a:t>Proxy</a:t>
            </a:r>
            <a:endParaRPr lang="en-US" sz="1200" dirty="0">
              <a:solidFill>
                <a:schemeClr val="bg1"/>
              </a:solidFill>
              <a:cs typeface="Times New Roman" pitchFamily="18" charset="0"/>
            </a:endParaRPr>
          </a:p>
        </p:txBody>
      </p:sp>
      <p:sp>
        <p:nvSpPr>
          <p:cNvPr id="336" name="Rectangle 7"/>
          <p:cNvSpPr>
            <a:spLocks noChangeArrowheads="1"/>
          </p:cNvSpPr>
          <p:nvPr/>
        </p:nvSpPr>
        <p:spPr bwMode="auto">
          <a:xfrm>
            <a:off x="1512536" y="4876738"/>
            <a:ext cx="914400" cy="304800"/>
          </a:xfrm>
          <a:prstGeom prst="rect">
            <a:avLst/>
          </a:prstGeom>
          <a:solidFill>
            <a:srgbClr val="7030A0"/>
          </a:solidFill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b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anchor="ctr">
            <a:flatTx/>
          </a:bodyPr>
          <a:lstStyle/>
          <a:p>
            <a:pPr algn="ctr" eaLnBrk="1" hangingPunct="1">
              <a:lnSpc>
                <a:spcPct val="100000"/>
              </a:lnSpc>
              <a:defRPr/>
            </a:pPr>
            <a:r>
              <a:rPr lang="en-US" sz="1200" dirty="0" smtClean="0">
                <a:solidFill>
                  <a:schemeClr val="bg1"/>
                </a:solidFill>
                <a:cs typeface="Times New Roman" pitchFamily="18" charset="0"/>
              </a:rPr>
              <a:t>Proxy </a:t>
            </a:r>
            <a:endParaRPr lang="en-US" sz="1200" dirty="0">
              <a:solidFill>
                <a:schemeClr val="bg1"/>
              </a:solidFill>
              <a:cs typeface="Times New Roman" pitchFamily="18" charset="0"/>
            </a:endParaRPr>
          </a:p>
        </p:txBody>
      </p:sp>
      <p:sp>
        <p:nvSpPr>
          <p:cNvPr id="345" name="Line 23"/>
          <p:cNvSpPr>
            <a:spLocks noChangeShapeType="1"/>
          </p:cNvSpPr>
          <p:nvPr/>
        </p:nvSpPr>
        <p:spPr bwMode="auto">
          <a:xfrm flipH="1">
            <a:off x="1100514" y="5179515"/>
            <a:ext cx="801113" cy="250853"/>
          </a:xfrm>
          <a:prstGeom prst="line">
            <a:avLst/>
          </a:prstGeom>
          <a:ln>
            <a:headE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2124" tIns="41061" rIns="82124" bIns="41061"/>
          <a:lstStyle/>
          <a:p>
            <a:pPr>
              <a:defRPr/>
            </a:pPr>
            <a:endParaRPr lang="en-US"/>
          </a:p>
        </p:txBody>
      </p:sp>
      <p:sp>
        <p:nvSpPr>
          <p:cNvPr id="346" name="Line 23"/>
          <p:cNvSpPr>
            <a:spLocks noChangeShapeType="1"/>
          </p:cNvSpPr>
          <p:nvPr/>
        </p:nvSpPr>
        <p:spPr bwMode="auto">
          <a:xfrm>
            <a:off x="1990641" y="5171423"/>
            <a:ext cx="809203" cy="258945"/>
          </a:xfrm>
          <a:prstGeom prst="line">
            <a:avLst/>
          </a:prstGeom>
          <a:ln>
            <a:headE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2124" tIns="41061" rIns="82124" bIns="41061"/>
          <a:lstStyle/>
          <a:p>
            <a:pPr>
              <a:defRPr/>
            </a:pPr>
            <a:endParaRPr lang="en-US"/>
          </a:p>
        </p:txBody>
      </p:sp>
      <p:sp>
        <p:nvSpPr>
          <p:cNvPr id="350" name="Line 23"/>
          <p:cNvSpPr>
            <a:spLocks noChangeShapeType="1"/>
          </p:cNvSpPr>
          <p:nvPr/>
        </p:nvSpPr>
        <p:spPr bwMode="auto">
          <a:xfrm>
            <a:off x="7509408" y="5203792"/>
            <a:ext cx="587187" cy="180083"/>
          </a:xfrm>
          <a:prstGeom prst="line">
            <a:avLst/>
          </a:prstGeom>
          <a:ln>
            <a:headE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2124" tIns="41061" rIns="82124" bIns="41061"/>
          <a:lstStyle/>
          <a:p>
            <a:pPr>
              <a:defRPr/>
            </a:pPr>
            <a:endParaRPr lang="en-US"/>
          </a:p>
        </p:txBody>
      </p:sp>
      <p:sp>
        <p:nvSpPr>
          <p:cNvPr id="353" name="Line 23"/>
          <p:cNvSpPr>
            <a:spLocks noChangeShapeType="1"/>
          </p:cNvSpPr>
          <p:nvPr/>
        </p:nvSpPr>
        <p:spPr bwMode="auto">
          <a:xfrm flipH="1">
            <a:off x="6902505" y="5203792"/>
            <a:ext cx="461245" cy="218485"/>
          </a:xfrm>
          <a:prstGeom prst="line">
            <a:avLst/>
          </a:prstGeom>
          <a:ln>
            <a:headE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2124" tIns="41061" rIns="82124" bIns="41061"/>
          <a:lstStyle/>
          <a:p>
            <a:pPr>
              <a:defRPr/>
            </a:pPr>
            <a:endParaRPr lang="en-US"/>
          </a:p>
        </p:txBody>
      </p:sp>
      <p:sp>
        <p:nvSpPr>
          <p:cNvPr id="357" name="Rectangle 57"/>
          <p:cNvSpPr>
            <a:spLocks noChangeArrowheads="1"/>
          </p:cNvSpPr>
          <p:nvPr/>
        </p:nvSpPr>
        <p:spPr bwMode="auto">
          <a:xfrm>
            <a:off x="4014249" y="5127707"/>
            <a:ext cx="1306512" cy="374650"/>
          </a:xfrm>
          <a:prstGeom prst="rect">
            <a:avLst/>
          </a:prstGeom>
          <a:solidFill>
            <a:srgbClr val="33CCCC"/>
          </a:solidFill>
          <a:ln w="9525">
            <a:noFill/>
            <a:miter lim="800000"/>
            <a:headEnd/>
            <a:tailEnd/>
          </a:ln>
          <a:effectLst/>
          <a:scene3d>
            <a:camera prst="legacyObliqueTopRight"/>
            <a:lightRig rig="legacyFlat3" dir="b"/>
          </a:scene3d>
          <a:sp3d extrusionH="430200" prstMaterial="legacyMatte">
            <a:bevelT w="13500" h="13500" prst="angle"/>
            <a:bevelB w="13500" h="13500" prst="angle"/>
            <a:extrusionClr>
              <a:srgbClr val="33CCCC"/>
            </a:extrusionClr>
          </a:sp3d>
        </p:spPr>
        <p:txBody>
          <a:bodyPr anchor="ctr">
            <a:flatTx/>
          </a:bodyPr>
          <a:lstStyle/>
          <a:p>
            <a:pPr algn="ctr" eaLnBrk="1" hangingPunct="1">
              <a:lnSpc>
                <a:spcPct val="100000"/>
              </a:lnSpc>
              <a:defRPr/>
            </a:pPr>
            <a:r>
              <a:rPr lang="en-US" sz="1600" dirty="0" smtClean="0">
                <a:solidFill>
                  <a:schemeClr val="bg1"/>
                </a:solidFill>
                <a:cs typeface="Times New Roman" pitchFamily="18" charset="0"/>
              </a:rPr>
              <a:t>Cloud Broker</a:t>
            </a:r>
            <a:endParaRPr lang="en-US" sz="1600" dirty="0">
              <a:solidFill>
                <a:schemeClr val="bg1"/>
              </a:solidFill>
              <a:cs typeface="Times New Roman" pitchFamily="18" charset="0"/>
            </a:endParaRPr>
          </a:p>
        </p:txBody>
      </p:sp>
      <p:sp>
        <p:nvSpPr>
          <p:cNvPr id="358" name="Line 23"/>
          <p:cNvSpPr>
            <a:spLocks noChangeShapeType="1"/>
          </p:cNvSpPr>
          <p:nvPr/>
        </p:nvSpPr>
        <p:spPr bwMode="auto">
          <a:xfrm flipV="1">
            <a:off x="3576119" y="5273094"/>
            <a:ext cx="443619" cy="9053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 type="triangle"/>
            <a:tailEnd type="triangle" w="med" len="med"/>
          </a:ln>
        </p:spPr>
        <p:txBody>
          <a:bodyPr lIns="82124" tIns="41061" rIns="82124" bIns="41061"/>
          <a:lstStyle/>
          <a:p>
            <a:endParaRPr lang="en-US"/>
          </a:p>
        </p:txBody>
      </p:sp>
      <p:sp>
        <p:nvSpPr>
          <p:cNvPr id="359" name="Line 23"/>
          <p:cNvSpPr>
            <a:spLocks noChangeShapeType="1"/>
          </p:cNvSpPr>
          <p:nvPr/>
        </p:nvSpPr>
        <p:spPr bwMode="auto">
          <a:xfrm flipV="1">
            <a:off x="6344963" y="2600035"/>
            <a:ext cx="420" cy="1585133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 type="triangle"/>
            <a:tailEnd type="triangle" w="med" len="med"/>
          </a:ln>
        </p:spPr>
        <p:txBody>
          <a:bodyPr lIns="82124" tIns="41061" rIns="82124" bIns="41061"/>
          <a:lstStyle/>
          <a:p>
            <a:endParaRPr lang="en-US"/>
          </a:p>
        </p:txBody>
      </p:sp>
      <p:sp>
        <p:nvSpPr>
          <p:cNvPr id="360" name="Line 23"/>
          <p:cNvSpPr>
            <a:spLocks noChangeShapeType="1"/>
          </p:cNvSpPr>
          <p:nvPr/>
        </p:nvSpPr>
        <p:spPr bwMode="auto">
          <a:xfrm flipV="1">
            <a:off x="5441133" y="5218773"/>
            <a:ext cx="380245" cy="9053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 type="triangle"/>
            <a:tailEnd type="triangle" w="med" len="med"/>
          </a:ln>
        </p:spPr>
        <p:txBody>
          <a:bodyPr lIns="82124" tIns="41061" rIns="82124" bIns="41061"/>
          <a:lstStyle/>
          <a:p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rocess 3"/>
          <p:cNvSpPr>
            <a:spLocks noChangeArrowheads="1"/>
          </p:cNvSpPr>
          <p:nvPr/>
        </p:nvSpPr>
        <p:spPr bwMode="auto">
          <a:xfrm>
            <a:off x="152401" y="990600"/>
            <a:ext cx="8610599" cy="5181599"/>
          </a:xfrm>
          <a:prstGeom prst="flowChartProcess">
            <a:avLst/>
          </a:prstGeom>
          <a:solidFill>
            <a:schemeClr val="bg1">
              <a:alpha val="30196"/>
            </a:schemeClr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eaLnBrk="1" hangingPunct="1">
              <a:lnSpc>
                <a:spcPct val="100000"/>
              </a:lnSpc>
              <a:defRPr/>
            </a:pPr>
            <a:endParaRPr lang="en-US" dirty="0">
              <a:solidFill>
                <a:srgbClr val="FFFFFF"/>
              </a:solidFill>
              <a:latin typeface="Arial"/>
              <a:ea typeface="ＭＳ Ｐゴシック" charset="-128"/>
              <a:cs typeface="ＭＳ Ｐゴシック" charset="-128"/>
              <a:sym typeface="Arial" charset="0"/>
            </a:endParaRPr>
          </a:p>
        </p:txBody>
      </p:sp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0" y="0"/>
            <a:ext cx="9142413" cy="365125"/>
            <a:chOff x="0" y="0"/>
            <a:chExt cx="10237" cy="307"/>
          </a:xfrm>
          <a:solidFill>
            <a:srgbClr val="0070C0"/>
          </a:solidFill>
        </p:grpSpPr>
        <p:sp>
          <p:nvSpPr>
            <p:cNvPr id="8208" name="Rectangle 5"/>
            <p:cNvSpPr>
              <a:spLocks/>
            </p:cNvSpPr>
            <p:nvPr/>
          </p:nvSpPr>
          <p:spPr bwMode="auto">
            <a:xfrm>
              <a:off x="0" y="0"/>
              <a:ext cx="10237" cy="152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algn="l" eaLnBrk="1" hangingPunct="1">
                <a:lnSpc>
                  <a:spcPct val="100000"/>
                </a:lnSpc>
              </a:pPr>
              <a:endParaRPr lang="en-US">
                <a:solidFill>
                  <a:srgbClr val="FFFFFF"/>
                </a:solidFill>
                <a:ea typeface="华文细黑" charset="-122"/>
                <a:sym typeface="Arial" charset="0"/>
              </a:endParaRPr>
            </a:p>
          </p:txBody>
        </p:sp>
        <p:sp>
          <p:nvSpPr>
            <p:cNvPr id="8209" name="Rectangle 6"/>
            <p:cNvSpPr>
              <a:spLocks/>
            </p:cNvSpPr>
            <p:nvPr/>
          </p:nvSpPr>
          <p:spPr bwMode="auto">
            <a:xfrm>
              <a:off x="0" y="0"/>
              <a:ext cx="1" cy="307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1" hangingPunct="1">
                <a:lnSpc>
                  <a:spcPct val="100000"/>
                </a:lnSpc>
              </a:pPr>
              <a:endParaRPr lang="en-US">
                <a:solidFill>
                  <a:srgbClr val="FFFFFF"/>
                </a:solidFill>
                <a:ea typeface="华文细黑" charset="-122"/>
                <a:sym typeface="Arial" charset="0"/>
              </a:endParaRPr>
            </a:p>
          </p:txBody>
        </p:sp>
      </p:grpSp>
      <p:sp>
        <p:nvSpPr>
          <p:cNvPr id="8197" name="Slide Number Placeholder 3"/>
          <p:cNvSpPr txBox="1">
            <a:spLocks noGrp="1"/>
          </p:cNvSpPr>
          <p:nvPr/>
        </p:nvSpPr>
        <p:spPr bwMode="auto">
          <a:xfrm>
            <a:off x="8709025" y="6646863"/>
            <a:ext cx="171450" cy="215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b"/>
          <a:lstStyle/>
          <a:p>
            <a:pPr eaLnBrk="1" hangingPunct="1">
              <a:lnSpc>
                <a:spcPct val="100000"/>
              </a:lnSpc>
            </a:pPr>
            <a:fld id="{D97B8B4C-EE27-4F88-858F-09B8D8E70A9D}" type="slidenum">
              <a:rPr lang="en-US" sz="1000">
                <a:solidFill>
                  <a:srgbClr val="777777"/>
                </a:solidFill>
                <a:ea typeface="华文细黑" charset="-122"/>
                <a:sym typeface="Arial" charset="0"/>
              </a:rPr>
              <a:pPr eaLnBrk="1" hangingPunct="1">
                <a:lnSpc>
                  <a:spcPct val="100000"/>
                </a:lnSpc>
              </a:pPr>
              <a:t>26</a:t>
            </a:fld>
            <a:endParaRPr lang="en-US" sz="1000">
              <a:solidFill>
                <a:srgbClr val="777777"/>
              </a:solidFill>
              <a:ea typeface="华文细黑" charset="-122"/>
              <a:sym typeface="Arial" charset="0"/>
            </a:endParaRPr>
          </a:p>
        </p:txBody>
      </p:sp>
      <p:sp>
        <p:nvSpPr>
          <p:cNvPr id="29" name="Rectangle 9"/>
          <p:cNvSpPr txBox="1">
            <a:spLocks noChangeArrowheads="1"/>
          </p:cNvSpPr>
          <p:nvPr/>
        </p:nvSpPr>
        <p:spPr bwMode="auto">
          <a:xfrm>
            <a:off x="0" y="381000"/>
            <a:ext cx="91440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124" tIns="41061" rIns="82124" bIns="41061" anchor="b"/>
          <a:lstStyle/>
          <a:p>
            <a:pPr defTabSz="814388" eaLnBrk="1" hangingPunct="1">
              <a:defRPr/>
            </a:pPr>
            <a:r>
              <a:rPr lang="en-US" sz="2800" b="1" kern="0" dirty="0" err="1" smtClean="0">
                <a:latin typeface="+mj-lt"/>
                <a:ea typeface="ＭＳ Ｐゴシック" charset="-128"/>
                <a:cs typeface="ＭＳ Ｐゴシック" charset="-128"/>
              </a:rPr>
              <a:t>R6</a:t>
            </a:r>
            <a:r>
              <a:rPr lang="en-US" sz="2800" b="1" kern="0" dirty="0" smtClean="0">
                <a:latin typeface="+mj-lt"/>
                <a:ea typeface="ＭＳ Ｐゴシック" charset="-128"/>
                <a:cs typeface="ＭＳ Ｐゴシック" charset="-128"/>
              </a:rPr>
              <a:t>: Mitigations: Service &amp; Data Integration</a:t>
            </a:r>
            <a:endParaRPr lang="en-US" sz="2800" b="1" kern="0" dirty="0">
              <a:latin typeface="+mj-lt"/>
              <a:ea typeface="ＭＳ Ｐゴシック" charset="-128"/>
              <a:cs typeface="ＭＳ Ｐゴシック" charset="-128"/>
            </a:endParaRPr>
          </a:p>
        </p:txBody>
      </p:sp>
      <p:pic>
        <p:nvPicPr>
          <p:cNvPr id="61442" name="Picture 2" descr="C:\Documents and Settings\shbabu\Local Settings\Temporary Internet Files\Content.IE5\ELWF4NZ1\MP900444391[1]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0088" y="3853740"/>
            <a:ext cx="2789005" cy="1856052"/>
          </a:xfrm>
          <a:prstGeom prst="rect">
            <a:avLst/>
          </a:prstGeom>
          <a:noFill/>
        </p:spPr>
      </p:pic>
      <p:pic>
        <p:nvPicPr>
          <p:cNvPr id="61444" name="Picture 4" descr="C:\Documents and Settings\shbabu\Local Settings\Temporary Internet Files\Content.IE5\YA3KS1UC\MC900388730[1].wmf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34362" y="1828801"/>
            <a:ext cx="2224174" cy="1235034"/>
          </a:xfrm>
          <a:prstGeom prst="rect">
            <a:avLst/>
          </a:prstGeom>
          <a:noFill/>
        </p:spPr>
      </p:pic>
      <p:pic>
        <p:nvPicPr>
          <p:cNvPr id="61450" name="Picture 10" descr="C:\Documents and Settings\shbabu\Local Settings\Temporary Internet Files\Content.IE5\5BCO211N\MC910217004[1]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022266" y="1383074"/>
            <a:ext cx="1471560" cy="1704510"/>
          </a:xfrm>
          <a:prstGeom prst="rect">
            <a:avLst/>
          </a:prstGeom>
          <a:noFill/>
        </p:spPr>
      </p:pic>
      <p:sp>
        <p:nvSpPr>
          <p:cNvPr id="23" name="TextBox 22"/>
          <p:cNvSpPr txBox="1"/>
          <p:nvPr/>
        </p:nvSpPr>
        <p:spPr>
          <a:xfrm>
            <a:off x="463137" y="3235431"/>
            <a:ext cx="24166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Data in Transit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444342" y="3576141"/>
            <a:ext cx="23513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Data at Rest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2733860" y="5837257"/>
            <a:ext cx="38348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Encryption (keys, protocols etc)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ounded Rectangle 23"/>
          <p:cNvSpPr/>
          <p:nvPr/>
        </p:nvSpPr>
        <p:spPr bwMode="auto">
          <a:xfrm>
            <a:off x="5515388" y="1611057"/>
            <a:ext cx="1594884" cy="1850065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</a:endParaRPr>
          </a:p>
        </p:txBody>
      </p:sp>
      <p:pic>
        <p:nvPicPr>
          <p:cNvPr id="4" name="Picture 27" descr="user casual man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9875" y="1594440"/>
            <a:ext cx="433388" cy="592138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</p:spPr>
      </p:pic>
      <p:pic>
        <p:nvPicPr>
          <p:cNvPr id="5" name="Picture 16" descr="user business user woman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48106" y="2809211"/>
            <a:ext cx="441297" cy="598746"/>
          </a:xfrm>
          <a:prstGeom prst="rect">
            <a:avLst/>
          </a:prstGeom>
          <a:noFill/>
          <a:ln w="9525">
            <a:solidFill>
              <a:srgbClr val="00B050"/>
            </a:solidFill>
            <a:miter lim="800000"/>
            <a:headEnd/>
            <a:tailEnd/>
          </a:ln>
        </p:spPr>
      </p:pic>
      <p:pic>
        <p:nvPicPr>
          <p:cNvPr id="6" name="Picture 8" descr="XP icon user accounts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216798" y="4610984"/>
            <a:ext cx="687388" cy="514350"/>
          </a:xfrm>
          <a:prstGeom prst="rect">
            <a:avLst/>
          </a:prstGeom>
          <a:noFill/>
          <a:ln w="9525">
            <a:solidFill>
              <a:srgbClr val="FFFF00"/>
            </a:solidFill>
            <a:miter lim="800000"/>
            <a:headEnd/>
            <a:tailEnd/>
          </a:ln>
        </p:spPr>
      </p:pic>
      <p:sp>
        <p:nvSpPr>
          <p:cNvPr id="8" name="Rounded Rectangle 7"/>
          <p:cNvSpPr/>
          <p:nvPr/>
        </p:nvSpPr>
        <p:spPr bwMode="auto">
          <a:xfrm>
            <a:off x="1528194" y="1674849"/>
            <a:ext cx="1350335" cy="2456121"/>
          </a:xfrm>
          <a:prstGeom prst="roundRect">
            <a:avLst/>
          </a:prstGeom>
          <a:solidFill>
            <a:schemeClr val="accent1"/>
          </a:solidFill>
          <a:ln w="25400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</a:endParaRPr>
          </a:p>
        </p:txBody>
      </p:sp>
      <p:sp>
        <p:nvSpPr>
          <p:cNvPr id="9" name="TextBox 12"/>
          <p:cNvSpPr txBox="1">
            <a:spLocks noChangeArrowheads="1"/>
          </p:cNvSpPr>
          <p:nvPr/>
        </p:nvSpPr>
        <p:spPr bwMode="auto">
          <a:xfrm>
            <a:off x="1708804" y="1269261"/>
            <a:ext cx="1001556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600" dirty="0" smtClean="0"/>
              <a:t>Web Tier</a:t>
            </a:r>
            <a:endParaRPr lang="en-US" sz="1600" dirty="0"/>
          </a:p>
        </p:txBody>
      </p:sp>
      <p:sp>
        <p:nvSpPr>
          <p:cNvPr id="10" name="Rounded Rectangle 9"/>
          <p:cNvSpPr/>
          <p:nvPr/>
        </p:nvSpPr>
        <p:spPr bwMode="auto">
          <a:xfrm>
            <a:off x="3580277" y="1642952"/>
            <a:ext cx="1594884" cy="2530549"/>
          </a:xfrm>
          <a:prstGeom prst="roundRect">
            <a:avLst/>
          </a:prstGeom>
          <a:solidFill>
            <a:srgbClr val="FF0000"/>
          </a:solidFill>
          <a:ln w="25400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</a:endParaRPr>
          </a:p>
        </p:txBody>
      </p:sp>
      <p:sp>
        <p:nvSpPr>
          <p:cNvPr id="11" name="TextBox 12"/>
          <p:cNvSpPr txBox="1">
            <a:spLocks noChangeArrowheads="1"/>
          </p:cNvSpPr>
          <p:nvPr/>
        </p:nvSpPr>
        <p:spPr bwMode="auto">
          <a:xfrm>
            <a:off x="3761558" y="1224959"/>
            <a:ext cx="1235018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600" dirty="0" smtClean="0"/>
              <a:t>App/</a:t>
            </a:r>
            <a:r>
              <a:rPr lang="en-US" sz="1600" dirty="0" err="1" smtClean="0"/>
              <a:t>BizTier</a:t>
            </a:r>
            <a:endParaRPr lang="en-US" sz="1600" dirty="0"/>
          </a:p>
        </p:txBody>
      </p:sp>
      <p:sp>
        <p:nvSpPr>
          <p:cNvPr id="15" name="Rectangle 14"/>
          <p:cNvSpPr/>
          <p:nvPr/>
        </p:nvSpPr>
        <p:spPr bwMode="auto">
          <a:xfrm>
            <a:off x="1900328" y="2365971"/>
            <a:ext cx="797441" cy="956931"/>
          </a:xfrm>
          <a:prstGeom prst="rect">
            <a:avLst/>
          </a:prstGeom>
          <a:solidFill>
            <a:srgbClr val="FFFF00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1783373" y="2504192"/>
            <a:ext cx="797441" cy="956931"/>
          </a:xfrm>
          <a:prstGeom prst="rect">
            <a:avLst/>
          </a:prstGeom>
          <a:solidFill>
            <a:srgbClr val="92D050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1677054" y="2621147"/>
            <a:ext cx="797441" cy="95693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254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</a:endParaRPr>
          </a:p>
        </p:txBody>
      </p:sp>
      <p:sp>
        <p:nvSpPr>
          <p:cNvPr id="18" name="Rectangle 17"/>
          <p:cNvSpPr/>
          <p:nvPr/>
        </p:nvSpPr>
        <p:spPr bwMode="auto">
          <a:xfrm>
            <a:off x="4111900" y="2259645"/>
            <a:ext cx="797441" cy="95693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</a:endParaRPr>
          </a:p>
        </p:txBody>
      </p:sp>
      <p:sp>
        <p:nvSpPr>
          <p:cNvPr id="19" name="Rectangle 18"/>
          <p:cNvSpPr/>
          <p:nvPr/>
        </p:nvSpPr>
        <p:spPr bwMode="auto">
          <a:xfrm>
            <a:off x="3994945" y="2397866"/>
            <a:ext cx="797441" cy="956931"/>
          </a:xfrm>
          <a:prstGeom prst="rect">
            <a:avLst/>
          </a:prstGeom>
          <a:solidFill>
            <a:srgbClr val="FFFF00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</a:endParaRPr>
          </a:p>
        </p:txBody>
      </p:sp>
      <p:sp>
        <p:nvSpPr>
          <p:cNvPr id="20" name="Rectangle 19"/>
          <p:cNvSpPr/>
          <p:nvPr/>
        </p:nvSpPr>
        <p:spPr bwMode="auto">
          <a:xfrm>
            <a:off x="3888626" y="2514821"/>
            <a:ext cx="797441" cy="956931"/>
          </a:xfrm>
          <a:prstGeom prst="rect">
            <a:avLst/>
          </a:prstGeom>
          <a:solidFill>
            <a:srgbClr val="00B050"/>
          </a:solidFill>
          <a:ln w="254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</a:endParaRPr>
          </a:p>
        </p:txBody>
      </p:sp>
      <p:pic>
        <p:nvPicPr>
          <p:cNvPr id="21" name="Picture 7" descr="db_database_art150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033001" y="2071312"/>
            <a:ext cx="876422" cy="517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7" descr="db_database_art150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905410" y="2379656"/>
            <a:ext cx="876422" cy="517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7" descr="db_database_art150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777819" y="2666735"/>
            <a:ext cx="876422" cy="517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TextBox 12"/>
          <p:cNvSpPr txBox="1">
            <a:spLocks noChangeArrowheads="1"/>
          </p:cNvSpPr>
          <p:nvPr/>
        </p:nvSpPr>
        <p:spPr bwMode="auto">
          <a:xfrm>
            <a:off x="5581698" y="1252872"/>
            <a:ext cx="1460529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600" dirty="0" smtClean="0"/>
              <a:t>Database Tier</a:t>
            </a:r>
            <a:endParaRPr lang="en-US" sz="1600" dirty="0"/>
          </a:p>
        </p:txBody>
      </p:sp>
      <p:pic>
        <p:nvPicPr>
          <p:cNvPr id="26" name="Picture 7" descr="db_database_art150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086163" y="3921376"/>
            <a:ext cx="876422" cy="517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TextBox 12"/>
          <p:cNvSpPr txBox="1">
            <a:spLocks noChangeArrowheads="1"/>
          </p:cNvSpPr>
          <p:nvPr/>
        </p:nvSpPr>
        <p:spPr bwMode="auto">
          <a:xfrm>
            <a:off x="6033344" y="4519060"/>
            <a:ext cx="970138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600" dirty="0" smtClean="0"/>
              <a:t>Backups</a:t>
            </a:r>
            <a:endParaRPr lang="en-US" sz="1600" dirty="0"/>
          </a:p>
        </p:txBody>
      </p:sp>
      <p:cxnSp>
        <p:nvCxnSpPr>
          <p:cNvPr id="29" name="Straight Arrow Connector 28"/>
          <p:cNvCxnSpPr/>
          <p:nvPr/>
        </p:nvCxnSpPr>
        <p:spPr bwMode="auto">
          <a:xfrm rot="5400000" flipH="1" flipV="1">
            <a:off x="1017831" y="3556812"/>
            <a:ext cx="754912" cy="606056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rgbClr val="C0C0C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0" name="Straight Arrow Connector 29"/>
          <p:cNvCxnSpPr>
            <a:endCxn id="17" idx="1"/>
          </p:cNvCxnSpPr>
          <p:nvPr/>
        </p:nvCxnSpPr>
        <p:spPr bwMode="auto">
          <a:xfrm flipV="1">
            <a:off x="996566" y="3099613"/>
            <a:ext cx="680488" cy="31898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rgbClr val="C0C0C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2" name="Straight Arrow Connector 31"/>
          <p:cNvCxnSpPr/>
          <p:nvPr/>
        </p:nvCxnSpPr>
        <p:spPr bwMode="auto">
          <a:xfrm>
            <a:off x="890241" y="1930032"/>
            <a:ext cx="903767" cy="510362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rgbClr val="C0C0C0"/>
            </a:solidFill>
            <a:prstDash val="solid"/>
            <a:round/>
            <a:headEnd type="none" w="med" len="med"/>
            <a:tailEnd type="arrow"/>
          </a:ln>
          <a:effectLst/>
        </p:spPr>
      </p:cxnSp>
      <p:pic>
        <p:nvPicPr>
          <p:cNvPr id="34" name="Picture 27" descr="user casual man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56200" y="3954867"/>
            <a:ext cx="433388" cy="592138"/>
          </a:xfrm>
          <a:prstGeom prst="rect">
            <a:avLst/>
          </a:prstGeom>
          <a:solidFill>
            <a:schemeClr val="bg1">
              <a:lumMod val="95000"/>
              <a:lumOff val="5000"/>
            </a:schemeClr>
          </a:solidFill>
          <a:ln w="9525">
            <a:solidFill>
              <a:srgbClr val="FFFF00"/>
            </a:solidFill>
            <a:miter lim="800000"/>
            <a:headEnd/>
            <a:tailEnd/>
          </a:ln>
        </p:spPr>
      </p:pic>
      <p:sp>
        <p:nvSpPr>
          <p:cNvPr id="35" name="TextBox 12"/>
          <p:cNvSpPr txBox="1">
            <a:spLocks noChangeArrowheads="1"/>
          </p:cNvSpPr>
          <p:nvPr/>
        </p:nvSpPr>
        <p:spPr bwMode="auto">
          <a:xfrm rot="16200000">
            <a:off x="-1496816" y="2961058"/>
            <a:ext cx="3493191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600" dirty="0" smtClean="0"/>
              <a:t>Cloud Consumers (Tenants)</a:t>
            </a:r>
            <a:endParaRPr lang="en-US" sz="1600" dirty="0"/>
          </a:p>
        </p:txBody>
      </p:sp>
      <p:sp>
        <p:nvSpPr>
          <p:cNvPr id="36" name="TextBox 12"/>
          <p:cNvSpPr txBox="1">
            <a:spLocks noChangeArrowheads="1"/>
          </p:cNvSpPr>
          <p:nvPr/>
        </p:nvSpPr>
        <p:spPr bwMode="auto">
          <a:xfrm>
            <a:off x="1976107" y="5157013"/>
            <a:ext cx="764953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600" dirty="0" smtClean="0"/>
              <a:t>Admin</a:t>
            </a:r>
            <a:endParaRPr lang="en-US" sz="1600" dirty="0"/>
          </a:p>
        </p:txBody>
      </p:sp>
      <p:cxnSp>
        <p:nvCxnSpPr>
          <p:cNvPr id="37" name="Straight Arrow Connector 36"/>
          <p:cNvCxnSpPr/>
          <p:nvPr/>
        </p:nvCxnSpPr>
        <p:spPr bwMode="auto">
          <a:xfrm rot="16200000" flipV="1">
            <a:off x="1472273" y="3996397"/>
            <a:ext cx="898227" cy="43429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rgbClr val="C0C0C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9" name="Straight Arrow Connector 38"/>
          <p:cNvCxnSpPr/>
          <p:nvPr/>
        </p:nvCxnSpPr>
        <p:spPr bwMode="auto">
          <a:xfrm flipV="1">
            <a:off x="2314575" y="3397325"/>
            <a:ext cx="1488989" cy="1127050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rgbClr val="C0C0C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44" name="Cloud 43"/>
          <p:cNvSpPr/>
          <p:nvPr/>
        </p:nvSpPr>
        <p:spPr bwMode="auto">
          <a:xfrm>
            <a:off x="3697679" y="4382609"/>
            <a:ext cx="1041990" cy="584791"/>
          </a:xfrm>
          <a:prstGeom prst="cloud">
            <a:avLst/>
          </a:prstGeom>
          <a:solidFill>
            <a:schemeClr val="accent1"/>
          </a:solidFill>
          <a:ln w="25400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</a:endParaRPr>
          </a:p>
        </p:txBody>
      </p:sp>
      <p:pic>
        <p:nvPicPr>
          <p:cNvPr id="1031" name="Picture 7" descr="C:\Users\vibansal\AppData\Local\Microsoft\Windows\Temporary Internet Files\Content.IE5\CRUD3XCR\MP900385987[1]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761031" y="5388492"/>
            <a:ext cx="340243" cy="52966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</p:pic>
      <p:pic>
        <p:nvPicPr>
          <p:cNvPr id="54" name="Picture 7" descr="C:\Users\vibansal\AppData\Local\Microsoft\Windows\Temporary Internet Files\Content.IE5\CRUD3XCR\MP900385987[1]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303290" y="5402446"/>
            <a:ext cx="340243" cy="529667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</p:pic>
      <p:cxnSp>
        <p:nvCxnSpPr>
          <p:cNvPr id="55" name="Straight Arrow Connector 54"/>
          <p:cNvCxnSpPr>
            <a:endCxn id="1031" idx="0"/>
          </p:cNvCxnSpPr>
          <p:nvPr/>
        </p:nvCxnSpPr>
        <p:spPr bwMode="auto">
          <a:xfrm rot="5400000">
            <a:off x="3126957" y="4307846"/>
            <a:ext cx="1884843" cy="276449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rgbClr val="C0C0C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58" name="Straight Arrow Connector 57"/>
          <p:cNvCxnSpPr>
            <a:endCxn id="54" idx="0"/>
          </p:cNvCxnSpPr>
          <p:nvPr/>
        </p:nvCxnSpPr>
        <p:spPr bwMode="auto">
          <a:xfrm rot="16200000" flipH="1">
            <a:off x="3449585" y="4378619"/>
            <a:ext cx="1877534" cy="170119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rgbClr val="C0C0C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61" name="TextBox 12"/>
          <p:cNvSpPr txBox="1">
            <a:spLocks noChangeArrowheads="1"/>
          </p:cNvSpPr>
          <p:nvPr/>
        </p:nvSpPr>
        <p:spPr bwMode="auto">
          <a:xfrm>
            <a:off x="4712436" y="5557133"/>
            <a:ext cx="1764543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600" dirty="0" smtClean="0"/>
              <a:t>Reach back to Enterprise</a:t>
            </a:r>
            <a:endParaRPr lang="en-US" sz="1600" dirty="0"/>
          </a:p>
        </p:txBody>
      </p:sp>
      <p:cxnSp>
        <p:nvCxnSpPr>
          <p:cNvPr id="62" name="Straight Arrow Connector 61"/>
          <p:cNvCxnSpPr/>
          <p:nvPr/>
        </p:nvCxnSpPr>
        <p:spPr bwMode="auto">
          <a:xfrm>
            <a:off x="2655245" y="3014551"/>
            <a:ext cx="1148316" cy="244550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rgbClr val="C0C0C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64" name="Straight Arrow Connector 63"/>
          <p:cNvCxnSpPr/>
          <p:nvPr/>
        </p:nvCxnSpPr>
        <p:spPr bwMode="auto">
          <a:xfrm flipV="1">
            <a:off x="4771124" y="2610516"/>
            <a:ext cx="1382232" cy="361505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rgbClr val="C0C0C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65" name="Straight Arrow Connector 64"/>
          <p:cNvCxnSpPr>
            <a:endCxn id="23" idx="1"/>
          </p:cNvCxnSpPr>
          <p:nvPr/>
        </p:nvCxnSpPr>
        <p:spPr bwMode="auto">
          <a:xfrm flipV="1">
            <a:off x="4712437" y="2925705"/>
            <a:ext cx="1065382" cy="160396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rgbClr val="C0C0C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66" name="Straight Arrow Connector 65"/>
          <p:cNvCxnSpPr/>
          <p:nvPr/>
        </p:nvCxnSpPr>
        <p:spPr bwMode="auto">
          <a:xfrm flipV="1">
            <a:off x="4760491" y="2365967"/>
            <a:ext cx="1456661" cy="382771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rgbClr val="C0C0C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0" name="Straight Arrow Connector 69"/>
          <p:cNvCxnSpPr/>
          <p:nvPr/>
        </p:nvCxnSpPr>
        <p:spPr bwMode="auto">
          <a:xfrm flipV="1">
            <a:off x="2676510" y="2482924"/>
            <a:ext cx="1424763" cy="446566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rgbClr val="C0C0C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3" name="Straight Arrow Connector 72"/>
          <p:cNvCxnSpPr/>
          <p:nvPr/>
        </p:nvCxnSpPr>
        <p:spPr bwMode="auto">
          <a:xfrm flipV="1">
            <a:off x="2750938" y="2929491"/>
            <a:ext cx="1105786" cy="53164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rgbClr val="C0C0C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5" name="Straight Arrow Connector 74"/>
          <p:cNvCxnSpPr>
            <a:endCxn id="26" idx="0"/>
          </p:cNvCxnSpPr>
          <p:nvPr/>
        </p:nvCxnSpPr>
        <p:spPr bwMode="auto">
          <a:xfrm rot="16200000" flipH="1">
            <a:off x="6060887" y="3457889"/>
            <a:ext cx="694168" cy="232805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rgbClr val="C0C0C0"/>
            </a:solidFill>
            <a:prstDash val="solid"/>
            <a:round/>
            <a:headEnd type="none" w="med" len="med"/>
            <a:tailEnd type="arrow"/>
          </a:ln>
          <a:effectLst/>
        </p:spPr>
      </p:cxnSp>
      <p:pic>
        <p:nvPicPr>
          <p:cNvPr id="78" name="Picture 8" descr="XP icon user accounts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451032" y="4603453"/>
            <a:ext cx="687388" cy="514350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</p:spPr>
      </p:pic>
      <p:sp>
        <p:nvSpPr>
          <p:cNvPr id="79" name="TextBox 78"/>
          <p:cNvSpPr txBox="1"/>
          <p:nvPr/>
        </p:nvSpPr>
        <p:spPr>
          <a:xfrm>
            <a:off x="7230138" y="1295400"/>
            <a:ext cx="1913862" cy="4067175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800" b="1" dirty="0" smtClean="0">
                <a:solidFill>
                  <a:schemeClr val="tx1"/>
                </a:solidFill>
                <a:latin typeface="Arial Narrow" pitchFamily="34" charset="0"/>
              </a:rPr>
              <a:t>Security Risks</a:t>
            </a:r>
          </a:p>
          <a:p>
            <a:pPr marL="342900" indent="-342900" algn="l">
              <a:buAutoNum type="arabicPeriod"/>
            </a:pPr>
            <a:r>
              <a:rPr lang="en-US" sz="1600" dirty="0" smtClean="0">
                <a:solidFill>
                  <a:schemeClr val="tx1"/>
                </a:solidFill>
                <a:latin typeface="Arial Narrow" pitchFamily="34" charset="0"/>
              </a:rPr>
              <a:t>Inadequate Logical Separations</a:t>
            </a:r>
          </a:p>
          <a:p>
            <a:pPr marL="342900" indent="-342900" algn="l">
              <a:buFontTx/>
              <a:buAutoNum type="arabicPeriod"/>
            </a:pPr>
            <a:r>
              <a:rPr lang="en-US" sz="1600" dirty="0" smtClean="0">
                <a:solidFill>
                  <a:schemeClr val="tx1"/>
                </a:solidFill>
                <a:latin typeface="Arial Narrow" pitchFamily="34" charset="0"/>
              </a:rPr>
              <a:t>Co-mingled Tenant Data</a:t>
            </a:r>
          </a:p>
          <a:p>
            <a:pPr marL="342900" indent="-342900" algn="l">
              <a:buFontTx/>
              <a:buAutoNum type="arabicPeriod"/>
            </a:pPr>
            <a:r>
              <a:rPr lang="en-US" sz="1600" dirty="0" smtClean="0">
                <a:solidFill>
                  <a:schemeClr val="tx1"/>
                </a:solidFill>
                <a:latin typeface="Arial Narrow" pitchFamily="34" charset="0"/>
              </a:rPr>
              <a:t>Malicious or Ignorant Tenants</a:t>
            </a:r>
          </a:p>
          <a:p>
            <a:pPr marL="342900" indent="-342900" algn="l">
              <a:buFontTx/>
              <a:buAutoNum type="arabicPeriod"/>
            </a:pPr>
            <a:r>
              <a:rPr lang="en-US" sz="1600" dirty="0" smtClean="0">
                <a:solidFill>
                  <a:schemeClr val="tx1"/>
                </a:solidFill>
                <a:latin typeface="Arial Narrow" pitchFamily="34" charset="0"/>
              </a:rPr>
              <a:t>Shared Service- single point of failures</a:t>
            </a:r>
          </a:p>
          <a:p>
            <a:pPr marL="342900" indent="-342900" algn="l">
              <a:buFontTx/>
              <a:buAutoNum type="arabicPeriod"/>
            </a:pPr>
            <a:r>
              <a:rPr lang="en-US" sz="1600" dirty="0" smtClean="0">
                <a:solidFill>
                  <a:schemeClr val="tx1"/>
                </a:solidFill>
                <a:latin typeface="Arial Narrow" pitchFamily="34" charset="0"/>
              </a:rPr>
              <a:t>Uncoordinated Change Controls and </a:t>
            </a:r>
            <a:r>
              <a:rPr lang="en-US" sz="1600" dirty="0" err="1" smtClean="0">
                <a:solidFill>
                  <a:schemeClr val="tx1"/>
                </a:solidFill>
                <a:latin typeface="Arial Narrow" pitchFamily="34" charset="0"/>
              </a:rPr>
              <a:t>Misconfigs</a:t>
            </a:r>
            <a:endParaRPr lang="en-US" sz="1600" dirty="0" smtClean="0">
              <a:solidFill>
                <a:schemeClr val="tx1"/>
              </a:solidFill>
              <a:latin typeface="Arial Narrow" pitchFamily="34" charset="0"/>
            </a:endParaRPr>
          </a:p>
          <a:p>
            <a:pPr marL="342900" indent="-342900" algn="l">
              <a:buFontTx/>
              <a:buAutoNum type="arabicPeriod"/>
            </a:pPr>
            <a:r>
              <a:rPr lang="en-US" sz="1600" dirty="0" smtClean="0">
                <a:solidFill>
                  <a:schemeClr val="tx1"/>
                </a:solidFill>
                <a:latin typeface="Arial Narrow" pitchFamily="34" charset="0"/>
              </a:rPr>
              <a:t>Performance Risks</a:t>
            </a:r>
            <a:endParaRPr lang="en-US" sz="1600" dirty="0">
              <a:solidFill>
                <a:schemeClr val="tx1"/>
              </a:solidFill>
              <a:latin typeface="Arial Narrow" pitchFamily="34" charset="0"/>
            </a:endParaRPr>
          </a:p>
        </p:txBody>
      </p:sp>
      <p:cxnSp>
        <p:nvCxnSpPr>
          <p:cNvPr id="47" name="Straight Connector 46"/>
          <p:cNvCxnSpPr/>
          <p:nvPr/>
        </p:nvCxnSpPr>
        <p:spPr bwMode="auto">
          <a:xfrm flipV="1">
            <a:off x="3474187" y="5100637"/>
            <a:ext cx="1590675" cy="14289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C0C0C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1" name="Rectangle 9"/>
          <p:cNvSpPr txBox="1">
            <a:spLocks noChangeArrowheads="1"/>
          </p:cNvSpPr>
          <p:nvPr/>
        </p:nvSpPr>
        <p:spPr bwMode="auto">
          <a:xfrm>
            <a:off x="0" y="198120"/>
            <a:ext cx="8715375" cy="6134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124" tIns="41061" rIns="82124" bIns="41061" anchor="b"/>
          <a:lstStyle/>
          <a:p>
            <a:pPr algn="l" defTabSz="814388" eaLnBrk="1" hangingPunct="1">
              <a:defRPr/>
            </a:pPr>
            <a:r>
              <a:rPr lang="en-US" sz="2800" b="1" kern="0" dirty="0" err="1" smtClean="0">
                <a:latin typeface="Arial"/>
                <a:ea typeface="ＭＳ Ｐゴシック" charset="-128"/>
                <a:cs typeface="ＭＳ Ｐゴシック" charset="-128"/>
              </a:rPr>
              <a:t>R7</a:t>
            </a:r>
            <a:r>
              <a:rPr lang="en-US" sz="2800" b="1" kern="0" dirty="0" smtClean="0">
                <a:latin typeface="Arial"/>
                <a:ea typeface="ＭＳ Ｐゴシック" charset="-128"/>
                <a:cs typeface="ＭＳ Ｐゴシック" charset="-128"/>
              </a:rPr>
              <a:t>: Risks: Multi-tenancy and Physical Security</a:t>
            </a:r>
            <a:endParaRPr lang="en-US" sz="2800" b="1" kern="0" dirty="0">
              <a:latin typeface="Arial"/>
              <a:ea typeface="ＭＳ Ｐゴシック" charset="-128"/>
              <a:cs typeface="ＭＳ Ｐゴシック" charset="-128"/>
            </a:endParaRPr>
          </a:p>
        </p:txBody>
      </p:sp>
      <p:pic>
        <p:nvPicPr>
          <p:cNvPr id="48" name="Picture 27" descr="user casual man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3400" y="3962400"/>
            <a:ext cx="433388" cy="592138"/>
          </a:xfrm>
          <a:prstGeom prst="rect">
            <a:avLst/>
          </a:prstGeom>
          <a:solidFill>
            <a:schemeClr val="bg1">
              <a:lumMod val="95000"/>
              <a:lumOff val="5000"/>
            </a:schemeClr>
          </a:solidFill>
          <a:ln w="9525">
            <a:solidFill>
              <a:srgbClr val="FFFF00"/>
            </a:solidFill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9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50813" y="190500"/>
            <a:ext cx="8145462" cy="590550"/>
          </a:xfrm>
        </p:spPr>
        <p:txBody>
          <a:bodyPr/>
          <a:lstStyle/>
          <a:p>
            <a:r>
              <a:rPr lang="en-US" sz="2800" dirty="0" err="1" smtClean="0"/>
              <a:t>R7</a:t>
            </a:r>
            <a:r>
              <a:rPr lang="en-US" sz="2800" dirty="0" smtClean="0"/>
              <a:t>: Attacks and Incidences</a:t>
            </a:r>
            <a:endParaRPr lang="en-US" sz="2800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655639" y="1219200"/>
            <a:ext cx="6278562" cy="3876675"/>
          </a:xfrm>
        </p:spPr>
        <p:txBody>
          <a:bodyPr/>
          <a:lstStyle/>
          <a:p>
            <a:r>
              <a:rPr lang="en-US" dirty="0" smtClean="0"/>
              <a:t>MIT demonstrating cross-tenant attacks (Amazon </a:t>
            </a:r>
            <a:r>
              <a:rPr lang="en-US" dirty="0" err="1" smtClean="0"/>
              <a:t>EC2</a:t>
            </a:r>
            <a:r>
              <a:rPr lang="en-US" dirty="0" smtClean="0"/>
              <a:t>)*</a:t>
            </a:r>
          </a:p>
          <a:p>
            <a:pPr lvl="1">
              <a:buFontTx/>
              <a:buChar char="-"/>
            </a:pPr>
            <a:r>
              <a:rPr lang="en-US" dirty="0" smtClean="0"/>
              <a:t>Side channel Attacks</a:t>
            </a:r>
          </a:p>
          <a:p>
            <a:pPr lvl="1">
              <a:buFontTx/>
              <a:buChar char="-"/>
            </a:pPr>
            <a:r>
              <a:rPr lang="en-US" dirty="0" smtClean="0"/>
              <a:t>Scanning other tenants</a:t>
            </a:r>
          </a:p>
          <a:p>
            <a:pPr lvl="1">
              <a:buFontTx/>
              <a:buChar char="-"/>
            </a:pPr>
            <a:r>
              <a:rPr lang="en-US" dirty="0" err="1" smtClean="0"/>
              <a:t>DoS</a:t>
            </a:r>
            <a:endParaRPr lang="en-US" dirty="0" smtClean="0"/>
          </a:p>
          <a:p>
            <a:pPr lvl="1">
              <a:buFontTx/>
              <a:buChar char="-"/>
            </a:pPr>
            <a:endParaRPr lang="en-US" dirty="0" smtClean="0"/>
          </a:p>
          <a:p>
            <a:r>
              <a:rPr lang="en-US" dirty="0" err="1" smtClean="0"/>
              <a:t>Wordpress</a:t>
            </a:r>
            <a:r>
              <a:rPr lang="en-US" dirty="0" smtClean="0"/>
              <a:t> Outage June 2010**</a:t>
            </a:r>
          </a:p>
          <a:p>
            <a:pPr lvl="1">
              <a:buFontTx/>
              <a:buChar char="-"/>
            </a:pPr>
            <a:r>
              <a:rPr lang="en-US" dirty="0" err="1" smtClean="0"/>
              <a:t>100s</a:t>
            </a:r>
            <a:r>
              <a:rPr lang="en-US" dirty="0" smtClean="0"/>
              <a:t> of tenants (CNN,..) down in multi-tenant environment. </a:t>
            </a:r>
          </a:p>
          <a:p>
            <a:pPr lvl="2">
              <a:buFontTx/>
              <a:buChar char="-"/>
            </a:pPr>
            <a:r>
              <a:rPr lang="en-US" dirty="0" smtClean="0"/>
              <a:t>Uncoordinated Change in database</a:t>
            </a:r>
            <a:endParaRPr lang="en-US" dirty="0"/>
          </a:p>
        </p:txBody>
      </p:sp>
      <p:pic>
        <p:nvPicPr>
          <p:cNvPr id="16386" name="Picture 2" descr="http://www.antilopnewmedia.com/images/wordpress_bleu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919357" y="4251620"/>
            <a:ext cx="1310980" cy="1310980"/>
          </a:xfrm>
          <a:prstGeom prst="rect">
            <a:avLst/>
          </a:prstGeom>
          <a:noFill/>
        </p:spPr>
      </p:pic>
      <p:pic>
        <p:nvPicPr>
          <p:cNvPr id="16392" name="Picture 8" descr="http://t0.gstatic.com/images?q=tbn:iW-EzdWTnm5HXM:http://http://www.37cloud.com/wp-content/themes/Lumin/timthumb.php?src=http://www.37cloud.com/wp-content/uploads/logo_aws.jpg&amp;h=328&amp;w=595&amp;zc=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629400" y="1828800"/>
            <a:ext cx="1456880" cy="798587"/>
          </a:xfrm>
          <a:prstGeom prst="rect">
            <a:avLst/>
          </a:prstGeom>
          <a:noFill/>
        </p:spPr>
      </p:pic>
      <p:sp>
        <p:nvSpPr>
          <p:cNvPr id="6" name="Rectangle 5"/>
          <p:cNvSpPr/>
          <p:nvPr/>
        </p:nvSpPr>
        <p:spPr>
          <a:xfrm>
            <a:off x="467139" y="6042991"/>
            <a:ext cx="7563680" cy="2354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2713" indent="-112713" algn="l" defTabSz="1020763">
              <a:spcBef>
                <a:spcPct val="50000"/>
              </a:spcBef>
              <a:buSzPct val="100000"/>
              <a:defRPr/>
            </a:pPr>
            <a:r>
              <a:rPr lang="en-US" sz="1000" dirty="0" smtClean="0"/>
              <a:t>* </a:t>
            </a:r>
            <a:r>
              <a:rPr lang="en-US" sz="1000" dirty="0" smtClean="0">
                <a:hlinkClick r:id="rId5"/>
              </a:rPr>
              <a:t>http://</a:t>
            </a:r>
            <a:r>
              <a:rPr lang="en-US" sz="1000" dirty="0" err="1" smtClean="0">
                <a:hlinkClick r:id="rId5"/>
              </a:rPr>
              <a:t>chenxiwang.wordpress.com</a:t>
            </a:r>
            <a:r>
              <a:rPr lang="en-US" sz="1000" dirty="0" smtClean="0">
                <a:hlinkClick r:id="rId5"/>
              </a:rPr>
              <a:t>/2009/11/02/</a:t>
            </a:r>
            <a:r>
              <a:rPr lang="en-US" sz="1000" dirty="0" err="1" smtClean="0">
                <a:hlinkClick r:id="rId5"/>
              </a:rPr>
              <a:t>mit’s</a:t>
            </a:r>
            <a:r>
              <a:rPr lang="en-US" sz="1000" dirty="0" smtClean="0">
                <a:hlinkClick r:id="rId5"/>
              </a:rPr>
              <a:t>-attack-on-</a:t>
            </a:r>
            <a:r>
              <a:rPr lang="en-US" sz="1000" dirty="0" err="1" smtClean="0">
                <a:hlinkClick r:id="rId5"/>
              </a:rPr>
              <a:t>amazon</a:t>
            </a:r>
            <a:r>
              <a:rPr lang="en-US" sz="1000" dirty="0" smtClean="0">
                <a:hlinkClick r:id="rId5"/>
              </a:rPr>
              <a:t>-</a:t>
            </a:r>
            <a:r>
              <a:rPr lang="en-US" sz="1000" dirty="0" err="1" smtClean="0">
                <a:hlinkClick r:id="rId5"/>
              </a:rPr>
              <a:t>ec2</a:t>
            </a:r>
            <a:r>
              <a:rPr lang="en-US" sz="1000" dirty="0" smtClean="0">
                <a:hlinkClick r:id="rId5"/>
              </a:rPr>
              <a:t>-an-academic-exercise/</a:t>
            </a:r>
            <a:r>
              <a:rPr lang="en-US" sz="1000" dirty="0" smtClean="0"/>
              <a:t> </a:t>
            </a:r>
            <a:endParaRPr lang="en-US" sz="1000" dirty="0"/>
          </a:p>
        </p:txBody>
      </p:sp>
      <p:sp>
        <p:nvSpPr>
          <p:cNvPr id="7" name="Rectangle 6"/>
          <p:cNvSpPr/>
          <p:nvPr/>
        </p:nvSpPr>
        <p:spPr>
          <a:xfrm>
            <a:off x="467139" y="6400800"/>
            <a:ext cx="7563680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2713" indent="-112713" algn="l" defTabSz="1020763">
              <a:spcBef>
                <a:spcPct val="50000"/>
              </a:spcBef>
              <a:buSzPct val="100000"/>
              <a:defRPr/>
            </a:pPr>
            <a:r>
              <a:rPr lang="en-US" sz="1000" dirty="0" smtClean="0"/>
              <a:t>** </a:t>
            </a:r>
            <a:r>
              <a:rPr lang="en-US" sz="1000" dirty="0" smtClean="0">
                <a:hlinkClick r:id="rId6"/>
              </a:rPr>
              <a:t>http://smoothspan.wordpress.com/2010/06/11/wordpress-and-the-dark-side-of-multitenancy/</a:t>
            </a:r>
            <a:r>
              <a:rPr lang="en-US" sz="1000" dirty="0" smtClean="0"/>
              <a:t> </a:t>
            </a:r>
            <a:endParaRPr lang="en-US" sz="10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25" y="304800"/>
            <a:ext cx="8839200" cy="838200"/>
          </a:xfrm>
        </p:spPr>
        <p:txBody>
          <a:bodyPr/>
          <a:lstStyle/>
          <a:p>
            <a:pPr eaLnBrk="1" hangingPunct="1">
              <a:defRPr/>
            </a:pPr>
            <a:r>
              <a:rPr lang="en-US" sz="2800" dirty="0" err="1" smtClean="0">
                <a:solidFill>
                  <a:schemeClr val="tx1"/>
                </a:solidFill>
                <a:ea typeface="ＭＳ Ｐゴシック" charset="-128"/>
              </a:rPr>
              <a:t>R7</a:t>
            </a:r>
            <a:r>
              <a:rPr lang="en-US" sz="2800" dirty="0" smtClean="0">
                <a:solidFill>
                  <a:schemeClr val="tx1"/>
                </a:solidFill>
                <a:ea typeface="ＭＳ Ｐゴシック" charset="-128"/>
              </a:rPr>
              <a:t>: Mitigations: Multi-tenancy and Physical </a:t>
            </a:r>
            <a:r>
              <a:rPr lang="en-US" sz="2800" dirty="0" smtClean="0">
                <a:solidFill>
                  <a:srgbClr val="FFFFFF"/>
                </a:solidFill>
                <a:ea typeface="ＭＳ Ｐゴシック" charset="-128"/>
              </a:rPr>
              <a:t>Security</a:t>
            </a:r>
            <a:endParaRPr lang="en-US" sz="2800" dirty="0">
              <a:solidFill>
                <a:srgbClr val="FFFFFF"/>
              </a:solidFill>
              <a:ea typeface="ＭＳ Ｐゴシック" charset="-128"/>
            </a:endParaRPr>
          </a:p>
        </p:txBody>
      </p:sp>
      <p:sp>
        <p:nvSpPr>
          <p:cNvPr id="4" name="Content Placeholder 4"/>
          <p:cNvSpPr>
            <a:spLocks noGrp="1"/>
          </p:cNvSpPr>
          <p:nvPr>
            <p:ph idx="1"/>
          </p:nvPr>
        </p:nvSpPr>
        <p:spPr>
          <a:xfrm>
            <a:off x="5105400" y="1066800"/>
            <a:ext cx="3276600" cy="685800"/>
          </a:xfrm>
        </p:spPr>
        <p:txBody>
          <a:bodyPr/>
          <a:lstStyle/>
          <a:p>
            <a:pPr>
              <a:buNone/>
            </a:pPr>
            <a:r>
              <a:rPr lang="en-US" sz="2000" b="1" dirty="0" smtClean="0">
                <a:latin typeface="Times New Roman" pitchFamily="18" charset="0"/>
                <a:cs typeface="Times New Roman" pitchFamily="18" charset="0"/>
              </a:rPr>
              <a:t>Architecting for </a:t>
            </a:r>
          </a:p>
          <a:p>
            <a:pPr>
              <a:buNone/>
            </a:pPr>
            <a:r>
              <a:rPr lang="en-US" sz="2000" b="1" dirty="0" smtClean="0">
                <a:latin typeface="Times New Roman" pitchFamily="18" charset="0"/>
                <a:cs typeface="Times New Roman" pitchFamily="18" charset="0"/>
              </a:rPr>
              <a:t>Multi-Tenancy</a:t>
            </a:r>
            <a:endParaRPr lang="en-US" sz="2000" dirty="0" smtClean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5" name="Picture 4" descr="The Plan | Flickr - Photo Sharing!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408628" y="1033009"/>
            <a:ext cx="1513845" cy="1011858"/>
          </a:xfrm>
          <a:prstGeom prst="rect">
            <a:avLst/>
          </a:prstGeom>
        </p:spPr>
      </p:pic>
      <p:pic>
        <p:nvPicPr>
          <p:cNvPr id="6" name="Picture 1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005212" y="4699001"/>
            <a:ext cx="926090" cy="1560444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>
            <a:outerShdw dist="25398" dir="2700000" algn="ctr" rotWithShape="0">
              <a:srgbClr val="808080">
                <a:alpha val="74997"/>
              </a:srgbClr>
            </a:outerShdw>
            <a:reflection stA="50000" endPos="34000" dist="12700" dir="5400000" sy="-100000" algn="bl" rotWithShape="0"/>
          </a:effectLst>
        </p:spPr>
      </p:pic>
      <p:sp>
        <p:nvSpPr>
          <p:cNvPr id="83974" name="AutoShape 6" descr="data:image/jpg;base64,/9j/4AAQSkZJRgABAQAAAQABAAD/2wCEAAkGBhIQEBQREhAPDxASEA8QEA8QEBANDQ4QFBAVFBcQEhQXGyYeFxkkGRYUHy8gIycpLCwsFR4xNTAqNyYrLDUBCQoKDgwOFQ8PGikkHB0sKSowLi0sKSksKSw1LyksKSwsLCwsKTAsKSksLikpLSkpKSwpKSwpLDUsNCksNSwpNv/AABEIAHQAkAMBIgACEQEDEQH/xAAbAAACAwEBAQAAAAAAAAAAAAAABQIDBAEGB//EADUQAAEDAgQDBAkEAwEAAAAAAAEAAgMEEQUSITFBUWEGInGREzJCUnKBobHRFCNiwRVT4Qf/xAAZAQEAAwEBAAAAAAAAAAAAAAAAAQMEAgX/xAAiEQEAAgICAgIDAQAAAAAAAAAAAQIDERIhBDFRYRMiJAX/2gAMAwEAAhEDEQA/APuKEIQCEIQC4SglYa2tDQg1OnAUP1QScOkk27o8ypfoJPePkgdMmBVgK8+JpIz3hccx+Ezpq0OG6DahUGpCj+rCDShUsqAVaCg6hCEAhCEAhC4XIOous8lUAsr8RA4oNlRLYJLTsMry47A2H5Uq+vzMOU3NjbxW2gpsjQ3kBfxQaY4wBYKSmGrtkFEkYO4S6XD3NN47WO4JsB1TYhV2QKzRSndwHhquf42T3z9E3CECVzZI/wCQ8imNBWB4V8sYIsUqLfRSA8Dp+CgeoVMc4IVocg6hCEHHOsldbiGXQankFqxCfI0nkEpw6LOcx46/LgEEo6aSTUnKOQ381qjwhg318dVua1SyoMMtAzSzQCCDcabFa4Ah0akwWRG1qVVFTnJvfIDlDRu87a89UydIALkgDmV5+lqWh7LkZfSON+HtLB5mTjxpv3K/FXe5+GuVuXvOicwe+w3LfGy10lRc5XEEkXa4bPH5Whk7HbOa7pcFJZT6J5YNmOa5nQHW33Crv/Pq9Z3Ca/v1Ps+yrtlxpuFJemoQc1YK2nziwsDcEE9CmJVD2IFLhKzgHDoVZBietjcHkdEyAWaqoWuGyDXDPdXLz8ExidlOreB5dCnkL7hAm7VSWhPi0fIuAP3UsKkFlPtJS+khe0blpt0PA+dks7P1oewHjxHIjQjzuuocWl6T0iPSLMJFLMutK+S/MgFU5l3Mmk8mDGonyZWs4Bzrc7aLzcckjXNaWlrmu7znbEcV6x7v3W/A77qU8bXDvNDhbjvp1XgeX435ck2ie3oYcvGsRrotikad2g9disNZVNEjrEkAAHMSbEcFLAamGsjdJGJIsshjLXEO1Gtx0V9ZgLSC4vN7a2FswHArJlw5Yrx16X1yU3s8o60PAGxyg25jmDxC1XSTDWgPFv8AWf60TfMve8S85McTLBliK21Cy6FXmXcy1aV7TyqDmLt13Mo0nZTikWi0YRNmYPJU4q/QowD1PmVCTGpizCy8ZVwOpZjI0F0TzeRo1LT77Rx6j5r3JSPtC3LG53JpPkLqYRMbcpqkOAcDcEAg8weK1ByUYQ79to5NA+iY5loiOmObalfmXcyozLoemjk5I79xvwO+4VeIyvEMhjsZMjsgOxdZFRGSQ5pGYAix9VwPBUmq4OBYdRrttwK8PyqXpkm0x1L0sFq2rEb7eX/8xqXejmYW90SB+fgXkWLflZeyqX9x3wlIey2EupI3sL2vzSmRpbyIAseqa1Encd4FZfIyxabTC+lOoGGP74+A/wBJtmSHBiS6/ANtfryTnMvS/wA3c+PEz9snlTrJK7Mu5lSHLpksvQmGfa8FQlmsFklrAOKUYjjIbpe5OwGpPgFXKyEsUq8xyjclO8KgysA6JDg9A57vSPGvAe6F6qJlgodppdjdPnic3m0jzCYquZlwg8LgFbYZXaOb3HDk5uhXoWvBSHHcFeyQzQ+t7bDo2QDrwPVZqPtAL5XXY8bsf3Xf9+SvrbbFkpMTt6m67dKWYsDxU/8AKDmrNyp3JndB1WGHEGu4hamygqOp9p5aRNGw+zY/xJb9kfoAfafblfRWZ1CSqA4qi+DDb3WFtc949TLRG0NFgAAOCsBSKpxxjDq623gNdzyCuZiw5ruOo1CNz7k4zWS6vr8oPE8ufRY6rGmgbhZsOjdUPzkEMHq30zdfBRP2spEyrLaib3Ym9O+/8JjhvZ4NOY3c7i52pKfU9CAFqZGAq9tMREKqenDQtCEKEhCEIM89MHJHiPZ1kgs5gd4i9vBekUS1B4R/Y5o9V0regkdb6qcXZFvtGR3xPdb6L2xhCBCFO5c8Y+Hg6/Anxd+ABpHrM2bIOvI9Vki7R5DlkvG7i1/d8jsV9CmpQRsldTgbXbtB+V11W8w4viizy7u0zDoHAnk3vHyCIzPOdAY2+871vk38r0cOAMbs0DwACZU+HhvBTN3NcMR7IqXs80MIIzX9Yu1LvFYpOyDQe6ZGDk17g3yXt2xALhhC42u1DyFJ2UaDc5nnm8l330XpaKhDBstYiAU7KEgIQhAIQhAIQhAIQhAIQhALmVCEBlXUIQCEIQCEIQCEIQCEIQf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83976" name="Picture 8" descr="http://2.bp.blogspot.com/_5jnkf0TZmIk/THOMODyUxCI/AAAAAAAAADk/oZT4zf5EwQc/s320/Cloud+lock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33063" y="5604236"/>
            <a:ext cx="1325749" cy="1075082"/>
          </a:xfrm>
          <a:prstGeom prst="rect">
            <a:avLst/>
          </a:prstGeom>
          <a:noFill/>
        </p:spPr>
      </p:pic>
      <p:sp>
        <p:nvSpPr>
          <p:cNvPr id="83978" name="AutoShape 10" descr="data:image/jpg;base64,/9j/4AAQSkZJRgABAQAAAQABAAD/2wCEAAkGBhASERUUEg8QFA8QEBQQEBAUFBAQFBUPFBAVFBQVFRUXHCYeFxkjGRQUHzAgIycpLCwsFR4xNTAqNSYrLCkBCQoKDgwOFw8PGikkHBwpLCwpKSopLCkqKSwsLCksKSksKSksLyksKSksLCkpKSwpKSkpKSwsLCwsLCkvLCkpKf/AABEIALkBEQMBIgACEQEDEQH/xAAcAAABBQEBAQAAAAAAAAAAAAAEAAECAwUGBwj/xAA9EAACAgECAwYDBQYFBAMAAAABAgADEQQSBSExBhMiQVFhMnGBBxRCkaEjUmJysdEVM1OCwRZDktNUk6L/xAAaAQEBAQEBAQEAAAAAAAAAAAAAAQIDBAUG/8QAKBEBAAIBBAEEAgIDAQAAAAAAAAECEQMSITEEEyJBUTJh0fBSofEV/9oADAMBAAIRAxEAPwD2RpLElFObtlQmlUZwBz6y1VxJYigLEUfEWIAGr0TFtwY9MbfL5xqNASB3h3YPL5Q+PiUypq06r0AEskb3KqSASQOg85mW8YQACw7e88IOeYbHTEg0LdWi4BIyeg9Y9eoVuYInO38Ktt27PCUblaxIbb8vOO1NVId2sstcYDgZxn0wIVvnWV5xvGfTMRv9ATANDq6yVwi4ceFl5/n6TWAgD7nP4QItr+ohEYyAa2wqMnmB1+UsUgjPkRBr3NvgX4fxt7eghapgY9OUKxdf2cWwY3t8W7qYTpeE1pjC8wMTSIldjgDJIA9TGRHbGY4ld2oOP2e1jnHXkPnMLWPZflQ+1lYoUGcEeufKBtLqkbO1gSP6zn+Ja/UEchgq/iQZyRnlgy7ScDFaEO+xd3Ig88e5hI4tSHKINzAAk5HP8+phT6AXA5flXtzgnJBhiapGOAwJ+cydUDcco7MjAoyDw7T58/WR4d2fcKA7nwtlcYyFHQEwjcxIkSYEiRCKL7AoJJ5AZnBcb4tuYkn6ei+k3u1/FNi7fbJ/4E8y1uvJySeZnj1r5nbD6/gaPG+TcU1+TOd1epzLdVqDMq+yYrD6V78IXWwV2j2NKHaeitXz9S6e6KU95FOm15vVh9nAx4Po9OUGCc8+R9s8oTOj504ieDRYj4jwhoo8UqGAkbHAGScCVX6oKD7dT5D5wZNO1vNs7PyJ+nkJFQt4g7nbSo93b4R/eC26Mo6s1Ztc8zaQML7AeU3K6gowBgRFh0yPlC5YOn1N7NYAGJRvCeQUg9FP94e2hU5Z8LuGGAOBnz+cr1PFQrtUFKtt3K2MgjzI8uUGFTWkHHe1WDGSNu1cc2B9cyqOtdaQqpXy6AgcgAPMzN0XGtRZZZikhF5DPXdjp9fWalSbUVGYuy45jIJx0zLBSx9EB64+I/MyIj97wo3DxkfAOZzGFLP8fJf3B/yYRXQq9B9fP841tyqCSQABk/KQOqADAGAIjGpuVhlSCD5jnJYgNKNVpFsXawyMg/UdIRiNiFZC8Kqqdn3Ed4NpUnkT6/OVaTiVKqMBgnNe8I8848XmPrDuJ8IrvAD7sKdwwSOeMSjT8ApQFdpKk9GJP5+v1hWPdp73Z03iwAAhTgA5ORn0+kM0/ZqtSrHmVyce565PnNoVAdAM9PpEYMqa6FUYUAD2ksSRkYREiRMmYPZq0BClhuPQecDzntlYWYn+Ij8uk4LVPPXe1fCw/MV5VhzYHnvzyyP+Z5rxrsvqUyUqexAcbkUt/SeO+javu+H2PH8qk12dTDlr3gFzyzW6jaSG5EHBB6g/KZd2rJ6TdKTJq+RWvynbaBBLLczU4b2Y1N58KEA/ibkJ1/Cfs3rXBubcf3RyE77q0eL09bX6jEft5zFPZf8Ao7R/6CRTPrx9Nf8AnX/ye5XalExuYDJwM+Z9oAOPIzMqDcU64IBPrtB64lf3a21B31araj5DKxI/mQ9QfnHt4fVXuuYF2Cc+QJwPQAcz7zs8LR0mqWxQynKn/jkZfOd1HHChrCVlan5blCvzPRRg9faafDdVYxYOvJcYswVDZ/hPMEQkwPger1QUc84JwAObMfQCT4hq1qQu3QYAA6licAD3JIEr0Okb47MG1h9EH7q/385EgqNGT4nA5c1r8h7n1MNilL6tB55PoviP6Qdh+J9+AppAOG8ak4JX2mfTw21mszhUJ3IxzuDkcyDnIA9Jrd5Y3RQo9W5n/wAR/eSGlH4iWPv0/IQucA2pyUwzWFBhsgbW5dSfI/KFrSx+I4H7q8h+cu5AeggrcRQg92Q74JVAwXdj0J5QZEKgHQYlN+uRDtY+IgsFAJO0dTgeUpTiFdmazlbNp3VE7bMY6j1HuIIvD2JU7j3SgnNm4XVkeQcdR88wLP8AGjtDmsd0QxLBgSAOmR5k+gjHQBmWysFWUhtzZO+thzU+cqovqDstK7rX/aFrMqpA5bgSOYHL4ZDT6i+wsSSCrd2yIVBrcfiw3xqRg/Iwom9qa7WYbu9VNzKm4jb5EqOWfeC6XtKGXftXbnDopO9STgeE/F9IZTo3sCtaAtik815MVz4TkHw+45iFaXQ1152r8TFmJ5ksepJMC3MUeMZBEyJk4xkVXiLEmZGBAiRMmZEwOf4pxK9WKBAobIV8+W3m2egPtM7Q6G27ZY6Dd8JY8s1j9SZ0fFOJUUVmy+xK616s5AH09T7CeSdrftuJzXoEwOh1Djn80Ty+Z/KdY1MRxCbMu94vxfR8PQvqbhzO5K+rE46Ignkfa37YdTqc16YHT0HlkH9qw92Hw/IfnOZ7nUay0szvZY3xO5LfmTOo4T2YopwWAez1PQH2E89tWI7ezT8S959vX25XhvZbU6g7iCqnmXbOT8vWdtwfsdp6eZG9/wB5ufP2EPGsA5CIa2cLak2fU0vEppc9z9tFSqjAAiNsAGo947XzDtNsDe9jwDv4pGd72viGh71Nu4rzBBHqPIjzHtA9Nw6xWyXVU2nvFUsQxxyYA/B9IXrr7F5qECKrM7HJPIZACj685hVnUallsq1KpmldyBGtrDEEsDnwnOR55GJ9F+baul+65XaUZzkoxxlj5sDjmfcQW7WajDixAAM4Fb9cHICkAtkjHUDrL6+AqawjFlXkTWpyisP9MkZUfLH0molSjOAAT1PqcefrCMajQWvuDV4qd0sQM7bkCquAAOjBgT1mqNK3+rZ/+f64hEi7gDJIAHUkgAfMwmVX3NfPc38xJ/TpLkQDoAB7coDqeM1oCcOyIneM6gFQhzjBJG48jyGYcGz+WYJyeCajiS1th1dUwP2xA7vJ8iQfD8zge8LjWVhgQwBUjBB5gg9QRCM7XEF0KXMrupVB8dLkcyrDpnGfMHlAm0laoEuYoSO8NNZawIF5ko23cg+WPaGavSXgkUsi1ivFajagWzPU+A7hjyGOnvygi6mygB0QWMTXaOaZqJKll5nYceLBz6Q0B4lx19zLXVZ8KMmoRDYCjAMc8uS45buePSHaS28svJjW4JfeUbZy5FHX4wTjkR+XSF6HQCsY32MQoXLNnkOmFGFH0EKkMgk0ZYo1oXvambayEgFTkcwfIjGR6wsAenzkojCIxGPGkUo0jdcqDLMFUdSSAPzMBu4uBu2VtYExuKFT4icbQPNpYrMmR8pr1CMTtZTtO1sEHDDyPpM3V11X5w9u4nYMd4BXYvMEqPhPTmf+Zd/hxdFL/s7wBuesgHI6gHHMH3HnNbYjsyOJkWkgMDH6mcP27+1HT8P8CqL9Scju1YBU5f8Acby+XX5Tm07G61UUszBVUZZmIUAepJ6TzPtd9tenp3Jo1F9o5d6cipT7eb/oPeeVdqe3et15Pf2kV58NCeGsfT8R9zmc81mFhuMNHjvaPU6x+81NzO34VPJVHoqjkIuA8IbUNtHJF5u3t6D3l/ZXsw2rYlmK0p8TDqT6Cei6bS6fTJsprUerdST6k+ZnPUvFeI7d/G0p1JiZjgFp9GlSBK0wB6evqT5ym2uz90w1tb6fnKX1k8sUz2+5FtkYiGdY9g/AYq9UfTnCbdaIIbQTmdPTcb6q9NQYQtsz98n38mGN+YH95Hmd95ijDO59IERwAIo09z4R5RquIV1hi7gBF3EdTtAzyUcz0Mx7OPahLrFbR2NQrhRYgbIXC5cg/GOZ+DJG3pKtZwOu17K9lqi3GoFhINZfp8QxYhBwdoYe2OcApuP942yt66yQPFb4vE2dqqFO0ty6Fs9OUQr+96cGys99W3NAxrK3ocHaT5eYzkYIkV4fpae7rfe9hxZtHevvsUDdaa1yOuDkjqfWDt2tWxrK6iQ2w91bgYyFyxIsKr4TyK53ZByAIBzcBB+Oxu52MrVhrPEG55dix5jyIx+XKV18TpRV7hRm9gFts7xEb+I2MMv7DOTnlBeFa3UutdiLayuQti2FGrZM4axX5Mp68tpBxjGPFND/AKfrIdWJ2WsS1aFq0K5zzXJGfUrjMCfDuNpYSrMgsFtlSqpLEhGI3Y6qOR68uXWacrqoVc7VUZ64AGTjGT6yyGSxFiKKQKKNFmAoxgmp4pUjhC2bCNwrUFm2ZwWIHwr7nAkNXZvXK6lUTozLsJycbQGJIHUeWTkS7ZMjSwzjPP0mfouO0WtsV8WZOK2BRiFJBZQfiXwnmMjlMnTcGss8VhItS3Fu4MotZABXYjjBUcgcDIyTymnw/gqIgDrWz7t5fYAd2cg56kjpknJm5rWI75SJmQOvpJZUBuuIZmtXeEIJGa2GSAqg9CvTEK03CDlXsclgpDAbfFnoHYAb8fITU7sZzgbsYzjnjOcZ9IicTM3nGIaiqunTogwqhRnOAMcz1Pzi1GoRFLOyqijLMxCgAeZJ6Tnu1/2gaPh6ZtfdawzXQuC7fTyX3PKfP3bX7R9ZxFiLG2acHKadCdg9C5/G3z5TlmZ6b4jt6H26+2JbK7qdAzDag3avp1tRCKx16MfF+U8ffWq1WDk2d81hY8yVZFByfXK/rJ8CU2W91/8AIR6R/MRmv6b1SaGj7Bax0Z+727VJCN8TEeQHkfnMTatJ90rXdb8Yc8z5jczyEn3UuoXBHzH9Z3c8zL0nhNIooVB5KM+7EZJ/OV26qE6wYAI6cj+kyLH5zwdzl93RxWvC19RKXvlTvKXebiGrXSe6IW8oO7SvvZuHnvYbXfy+UT6iAJdzky8kwkW4E97FBu8MUmDc+qsxsxiY89T5bK1naBBULKttqF9jWK3grxnLWMoJUDGOnnzwOczLeJaqy9q1dUL079NtdWRgCN1gYVtvGCPCdvoM5zNfU8EraxbFZ6nHJjUQneLjkr8vEB+Y9YZRo60JKVopPIlVVSR74EoyEpvupra2ilrlcqwZTWTUWKFl5k1kr4tvP0+Who+C0V79qKRY24gqmBhdoCqBgADlDYswhxHkYhCJRRo2ZBLMZmAGSRgdSemIBpON0WsVSwbwWGxgUY7SQSobG5cqeYyOUwdat9veI6CwVWF6mQmwbw/gTw8qyq4yLFYZOek6VpMzieGZl1ddqsAVYFSMggggj2Ij5mXpOHWhkbvWCqDvQs9jOWHRiTtGD5qPlgTUzMWiInhqA+r0NVuO8rRtpyu5VbafUZEor4NUN5OXNqhH3beaAYAwoA8zz6y/U6+qvG+xVJ6AnxH+Vep+gg3+Lk/BRc3uy9yPp3mGP0UxumF2jq0AAAHIDAHsOQjswEztbxG2uprGp5IpYorhnIHXGQB05zmOPfaDRTWlne7N9e4VbRZqHYjwhB/l7Ac7mJwMY5Gc5tEO1dKbRn4+3X6nXonNnRBz5uQvIDJwD6CeT9u/trVM1aDDscg6xhlB5HuVPJ/5unznGcb7dX667nSLmIVV0yBu7bb8Jv2YN2Dz2jamfWE8O+zTVap+91tmzdj9mgXdtHRQB4UAHLA6TjbViv58R/tdmeKc/v4/v94cHqNRfqbSzGy26w5LHLux/rOp4H9l+otw157pDz2/E5/4E9R4P2U02lXFdary5uebH5seZk9T2g01Z2hjZZ5V1gu2fkJ5L+ZaeNOMO1PFiObcs7gfYrTaYfs6xu83Pib8z0m3YEUjcQC3P5kdfr5yinS8T1H+Xp109Z/HccNj2Qc5o6T7OFJDarU23MDnaP2aZ+XUzh6Grqcy7+pSnDyPt/2fp7026ZgWc5tpXmd37ygevmIB2W+zvW64+BAla/FZZlQPkMZJ9p9D6Hsvo6TmvT1q3rjJ/MzSxPp6NbUrttOcPFqTW1sxDxnj/BH057pm3FEXxgYDeEc8TlrhzntXbTgve1hwMtWDkeqH+08l4roSpmJjbZ7tG+aspmlFjS1xKWE01Id2lJaXukoZJqHKTboRmC4l9TZ5RMMJ5EUW2KQfVUfMjmPPQ8J8xSMcShwY8jHgPmC63itNJUW2BO8JVc5xkDJyei/M4EhxTh/eoF3lcNux+FiAcK481z5cukydL2dclBcFNYDmxTYWVrHPPYoVcLyHhJx5YJ5zda17mWZmfhq61bHxs1K1qwKghUZ2fnjDMSOWOgGeXUTG0vBmtC2kYu7wterhqyb0wFZLAu5UyMgDlh/pNleC0Cs1ivFRO4ICwVTnPgH4OfPAx5yzXcUqpHjcAnmqDmx+Sjnj36DzIli+3pNuewfD+z1SIN6VtcG3m1VCtuySMMADyBxnlnny5zW5f3nPanU6rUYFe6irIbvdyhjg5xuIIx0yEDZH4xL7NOlaBtTebAMAG0hKy3lipfjb0Dbj6TEzNpa2xAs8WDcqUNx/eUhagfe08j/t3H2kDTa/x2kD/Toyo/3XHxH/AG7YFru0dQoa2kpcUda9m4VAMWA2tuxswD+KZHEeKprqP2X3lNRTtt+792r5zyAetiFtTzzkjmDN10rT3xDM3iOmxqeJ6XSuqYCPbz5YTI8y99hAJ9slvaaeh4hRbnura32nDbWDEH+LHMH5zC4fwXWllN+owgTDord5mwjk1eUXuCP4SfbEJb7tpHJVbLdXco8IJu1Fir0ySfCg/eO1R6yWikRiOyJtJu13atNFVnY1t7KWrpUEkqvxO2Oij9TyE8h4f9m+o1LtZq7iEZySqtuZxnkXc+3kOntPTOL9kdTq82vq2092NtdVQrsrRASQGZl3M+ScsMY6D1PCcd7I8ZqXYLrLqQSfCzAnPr5/TM8OvF5/CcPTp7flt6Onh2hHd17O8P8A26wbbWPyXLEzVpp4hf8A5WkWhD/3NSdrY9RUuW/PE8/4Z2h1+iG1aFQeeKwpPzYDLfWbel+1i4crE/SeWvj0zm8zMvROpPVXZU/Z8rnOr1V15/cX9hV/4qdx+pnQ8O4Pp9ONtNNdY/hUAn5nqfrOE0v2oo3WalHb6pvMT11ileocLb57l2UYmc3V2tqP4hCF7QofxCdd0MbZbRMiTMscYT1khxNfWMwYke3Ocd2k7G78tUOvMp5/T+06T7+PWL72PWSYi3bVbWrOYeK8S4EyEgggjyIIMxrdKR5T369an5OisPcA/wBZj8Z7O6Z6LAlFQsNbbCFAO7HLExtw9Ea+e4eIPXBnIl+rLKSOfI4ImfZqmHpETLrMFYT6Syjl1gja8+glR4ifSajLlMw1d8Uyv8RPpGl2s5h9gZimfZxukE5LYVtrOEcoG9C2McvP0gvEdRZvUrYxqZOS1FO8z++AQd6gEcgeXoZ6IpM9vHMtUaqvdt7xN3TbuXOfTHXyl2Zy2h4Pae8Uhe6LFl72sgtYeZsABDKc+/PPLbOh0NDIiqzl2UYLnqfcy3rEdSkTMicxRsxEzm0lKtTqUrUu7BUXmWJwBF3megz79BMehTqNS7Of2WjcV1V8wDeUVmsPrgMFHpljBhbdqNRdju8015+JgDawx5IQe7H83i5dFlFtNGlra5wzkHx2YN9hb1PUL8z09Zp6/QrbW1ZZ1DDGa2KMPkRMSjg2rRkWu4pVWw3FjUy2V+Y7lawFY+u73OTOlYrPcs2mfgUnHKLVVRqBVbYMrgo7EDmQrsCjHHpnH0mLXw4X3Bqn+9aOw4s32k2afUINosQvzU4PTr7YxOiu4fp0YW2sfA29WttcojeqB22occuUrTigOfu2nawsctYAKai3TJsYePkBzUN0mo1Ir+LOybdhND2MrSyt2td2pzsYrWjNn/VdRm36/XM1dbxemo7WYm0/DSgNlp9PAvMD3OB7yg6HUWf5t/dr51afKE+xubxH/aEhei0FVI21oqgnLY6sfVmPNj7kkzla827bisR0C26u7qRpqz5DZbqCPduddf03n3EL0PDK6QQi4LHLuSWd29XdubH5mFZimWjiOwBkcxZkQHq+EVP8SKfpOd4j2EofognXZjGZmsS3EzDyviH2cqPhmDqeyFqdCZ7Y9IMDv4cp8pjY3F/t4m2j1CesdOI3r1zPVtXwBD5CYms7LL6SNRMS42vtFYOuYbT2pb1hOq7MY8plX8CI8oVs1dqPeGVdpPece2gYesiEces1gy72vj49YRXxoes89TUMPWEV65hGFS7adng7G6gZ3c7EHXP7yj+onnuoWejDip9ZlcSTT2ZL1jd+8PCf06xh0i/xLgLItPpHsOFXJ/QfM+U6G7R6ZT8JPzYwa7iaqMIAB6DlNQxOFH/TT/6lf6xSH+KGKMpw+lOH9n3V3Yu6KQFVVZWJAGMvlcHyxyJ9/Ka+i4fXUioo5JnGeZyTknP1l+ZBrh853tebPJFYhdIs4EzNfxlK9oZvFYcIqkZJ/mPIQG/jK2pZWrtp71GfGPEAOeR+8PcTlNoh6KaF7YnHH22NXxFawCxCgnaM8yW9Ao6mZf8AjzM5FSpYU+Ktmaq0cvJGXEwxwu7UKpCNzIzly9Drn413HejfKdBpuzSKyM9ju1P+WW25HsWAyw9jMZtbp6Z0tHSj3TmeeP8An8/wL4VxlLwcBldDtsrYYZW9DJ28N8ZsrsauxgA5GGVwOm5DyJ9xg+8sp0FaOzqgD2Y3t5nHSXzpGfl4rzXd7Ogvcaj/AF6//pP/ALJE6Gxvi1NuPRBXUPzClv1hsWYYB08HoU7u7DOOe+wtc+fZnJI+kNzGzGzAlmNmRzFAlFI5iBhUsxSOYsyCWY2ZEmLMCRMgYsxiYVB0g70AwomQMYGbdoAfKZ2p4UPSdAwlDpMzVqLTDk7+CD0mXqeCj0nb21CZ+ooEy3E5cNfwzHlM+7SkTtNVphMbW6SGnKXnEx9deROj1tQE5/XIJpHP6m8wQtD9TTAXSEyjmKLEUI+uar1cZDhh/CQR+k5q3jhsYpbXZ3XeeFqt3QNgLZ6Qnh/Z6xX3ErWCpFiVFtrsfxYPw/Sa/DeHd0u3e7jJILHJAJ6Zjm36d4nS0s45+vjDDt7Ll3IVdtTPmwEqysvltQDwH6za0fAqqyp8TMgwhdi5Uei56Q/MfMsUiHK/k6loxk4jkyOYxm3nSzHzIRQJZizGzFmA8UbMbMglmLdIxZgPHzI5izCnizI5jZgTzG3SOYxMglmRJjZjZlD5kSYsyOYCJkGkiZAmBXYIHckNaD2iZlqGVqa5h6+udHekzNTpszLrDjOIUzndbQZ3ms0WZga3h01CS4jU1mZ9tc6rV8P9pk6jQSssfZFND7kYowj6pzGzI5jgzTmfMcGRzHzAlmLMjmLMCWYsyMWYEo0bMWYD5j5kMxZkEsxZkcxswJZizI5izKJZjZkcxZkD5jRiZHMCRMbMbMiTAfMYmNmMTAcmRJkSZEtIpEyp5JmkGMiwptEDurhriUssjpDJv08zNRop0FlcEuqhpymq4dnymRquF+07S3T+0A1Gjlyzhxv+Ge0U6n7j7RS5TD1eLMaKbcksxZjRjAlmLMaKQPmLMaKAosxRoD5izGigKKKNAcxZjRpA+Y2YpGEPmNmMYhKpEyOYjGMgRMbdEZAyKdmkC8RkDCkTImOY0Kg0qaXNKmhqFTCDusJeUtIoSyuDWUw55Q0oE+7iKXxSK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980" name="AutoShape 12" descr="data:image/jpg;base64,/9j/4AAQSkZJRgABAQAAAQABAAD/2wCEAAkGBhASERUUEg8QFA8QEBQQEBAUFBAQFBUPFBAVFBQVFRUXHCYeFxkjGRQUHzAgIycpLCwsFR4xNTAqNSYrLCkBCQoKDgwOFw8PGikkHBwpLCwpKSopLCkqKSwsLCksKSksKSksLyksKSksLCkpKSwpKSkpKSwsLCwsLCkvLCkpKf/AABEIALkBEQMBIgACEQEDEQH/xAAcAAABBQEBAQAAAAAAAAAAAAAEAAECAwUGBwj/xAA9EAACAgECAwYDBQYFBAMAAAABAgADEQQSBSExBhMiQVFhMnGBBxRCkaEjUmJysdEVM1OCwRZDktNUk6L/xAAaAQEBAQEBAQEAAAAAAAAAAAAAAQIDBAUG/8QAKBEBAAIBBAEEAgIDAQAAAAAAAAECEQMSITEEEyJBUTJh0fBSofEV/9oADAMBAAIRAxEAPwD2RpLElFObtlQmlUZwBz6y1VxJYigLEUfEWIAGr0TFtwY9MbfL5xqNASB3h3YPL5Q+PiUypq06r0AEskb3KqSASQOg85mW8YQACw7e88IOeYbHTEg0LdWi4BIyeg9Y9eoVuYInO38Ktt27PCUblaxIbb8vOO1NVId2sstcYDgZxn0wIVvnWV5xvGfTMRv9ATANDq6yVwi4ceFl5/n6TWAgD7nP4QItr+ohEYyAa2wqMnmB1+UsUgjPkRBr3NvgX4fxt7eghapgY9OUKxdf2cWwY3t8W7qYTpeE1pjC8wMTSIldjgDJIA9TGRHbGY4ld2oOP2e1jnHXkPnMLWPZflQ+1lYoUGcEeufKBtLqkbO1gSP6zn+Ja/UEchgq/iQZyRnlgy7ScDFaEO+xd3Ig88e5hI4tSHKINzAAk5HP8+phT6AXA5flXtzgnJBhiapGOAwJ+cydUDcco7MjAoyDw7T58/WR4d2fcKA7nwtlcYyFHQEwjcxIkSYEiRCKL7AoJJ5AZnBcb4tuYkn6ei+k3u1/FNi7fbJ/4E8y1uvJySeZnj1r5nbD6/gaPG+TcU1+TOd1epzLdVqDMq+yYrD6V78IXWwV2j2NKHaeitXz9S6e6KU95FOm15vVh9nAx4Po9OUGCc8+R9s8oTOj504ieDRYj4jwhoo8UqGAkbHAGScCVX6oKD7dT5D5wZNO1vNs7PyJ+nkJFQt4g7nbSo93b4R/eC26Mo6s1Ztc8zaQML7AeU3K6gowBgRFh0yPlC5YOn1N7NYAGJRvCeQUg9FP94e2hU5Z8LuGGAOBnz+cr1PFQrtUFKtt3K2MgjzI8uUGFTWkHHe1WDGSNu1cc2B9cyqOtdaQqpXy6AgcgAPMzN0XGtRZZZikhF5DPXdjp9fWalSbUVGYuy45jIJx0zLBSx9EB64+I/MyIj97wo3DxkfAOZzGFLP8fJf3B/yYRXQq9B9fP841tyqCSQABk/KQOqADAGAIjGpuVhlSCD5jnJYgNKNVpFsXawyMg/UdIRiNiFZC8Kqqdn3Ed4NpUnkT6/OVaTiVKqMBgnNe8I8848XmPrDuJ8IrvAD7sKdwwSOeMSjT8ApQFdpKk9GJP5+v1hWPdp73Z03iwAAhTgA5ORn0+kM0/ZqtSrHmVyce565PnNoVAdAM9PpEYMqa6FUYUAD2ksSRkYREiRMmYPZq0BClhuPQecDzntlYWYn+Ij8uk4LVPPXe1fCw/MV5VhzYHnvzyyP+Z5rxrsvqUyUqexAcbkUt/SeO+javu+H2PH8qk12dTDlr3gFzyzW6jaSG5EHBB6g/KZd2rJ6TdKTJq+RWvynbaBBLLczU4b2Y1N58KEA/ibkJ1/Cfs3rXBubcf3RyE77q0eL09bX6jEft5zFPZf8Ao7R/6CRTPrx9Nf8AnX/ye5XalExuYDJwM+Z9oAOPIzMqDcU64IBPrtB64lf3a21B31araj5DKxI/mQ9QfnHt4fVXuuYF2Cc+QJwPQAcz7zs8LR0mqWxQynKn/jkZfOd1HHChrCVlan5blCvzPRRg9faafDdVYxYOvJcYswVDZ/hPMEQkwPger1QUc84JwAObMfQCT4hq1qQu3QYAA6licAD3JIEr0Okb47MG1h9EH7q/385EgqNGT4nA5c1r8h7n1MNilL6tB55PoviP6Qdh+J9+AppAOG8ak4JX2mfTw21mszhUJ3IxzuDkcyDnIA9Jrd5Y3RQo9W5n/wAR/eSGlH4iWPv0/IQucA2pyUwzWFBhsgbW5dSfI/KFrSx+I4H7q8h+cu5AeggrcRQg92Q74JVAwXdj0J5QZEKgHQYlN+uRDtY+IgsFAJO0dTgeUpTiFdmazlbNp3VE7bMY6j1HuIIvD2JU7j3SgnNm4XVkeQcdR88wLP8AGjtDmsd0QxLBgSAOmR5k+gjHQBmWysFWUhtzZO+thzU+cqovqDstK7rX/aFrMqpA5bgSOYHL4ZDT6i+wsSSCrd2yIVBrcfiw3xqRg/Iwom9qa7WYbu9VNzKm4jb5EqOWfeC6XtKGXftXbnDopO9STgeE/F9IZTo3sCtaAtik815MVz4TkHw+45iFaXQ1152r8TFmJ5ksepJMC3MUeMZBEyJk4xkVXiLEmZGBAiRMmZEwOf4pxK9WKBAobIV8+W3m2egPtM7Q6G27ZY6Dd8JY8s1j9SZ0fFOJUUVmy+xK616s5AH09T7CeSdrftuJzXoEwOh1Djn80Ty+Z/KdY1MRxCbMu94vxfR8PQvqbhzO5K+rE46Ignkfa37YdTqc16YHT0HlkH9qw92Hw/IfnOZ7nUay0szvZY3xO5LfmTOo4T2YopwWAez1PQH2E89tWI7ezT8S959vX25XhvZbU6g7iCqnmXbOT8vWdtwfsdp6eZG9/wB5ufP2EPGsA5CIa2cLak2fU0vEppc9z9tFSqjAAiNsAGo947XzDtNsDe9jwDv4pGd72viGh71Nu4rzBBHqPIjzHtA9Nw6xWyXVU2nvFUsQxxyYA/B9IXrr7F5qECKrM7HJPIZACj685hVnUallsq1KpmldyBGtrDEEsDnwnOR55GJ9F+baul+65XaUZzkoxxlj5sDjmfcQW7WajDixAAM4Fb9cHICkAtkjHUDrL6+AqawjFlXkTWpyisP9MkZUfLH0molSjOAAT1PqcefrCMajQWvuDV4qd0sQM7bkCquAAOjBgT1mqNK3+rZ/+f64hEi7gDJIAHUkgAfMwmVX3NfPc38xJ/TpLkQDoAB7coDqeM1oCcOyIneM6gFQhzjBJG48jyGYcGz+WYJyeCajiS1th1dUwP2xA7vJ8iQfD8zge8LjWVhgQwBUjBB5gg9QRCM7XEF0KXMrupVB8dLkcyrDpnGfMHlAm0laoEuYoSO8NNZawIF5ko23cg+WPaGavSXgkUsi1ivFajagWzPU+A7hjyGOnvygi6mygB0QWMTXaOaZqJKll5nYceLBz6Q0B4lx19zLXVZ8KMmoRDYCjAMc8uS45buePSHaS28svJjW4JfeUbZy5FHX4wTjkR+XSF6HQCsY32MQoXLNnkOmFGFH0EKkMgk0ZYo1oXvambayEgFTkcwfIjGR6wsAenzkojCIxGPGkUo0jdcqDLMFUdSSAPzMBu4uBu2VtYExuKFT4icbQPNpYrMmR8pr1CMTtZTtO1sEHDDyPpM3V11X5w9u4nYMd4BXYvMEqPhPTmf+Zd/hxdFL/s7wBuesgHI6gHHMH3HnNbYjsyOJkWkgMDH6mcP27+1HT8P8CqL9Scju1YBU5f8Acby+XX5Tm07G61UUszBVUZZmIUAepJ6TzPtd9tenp3Jo1F9o5d6cipT7eb/oPeeVdqe3et15Pf2kV58NCeGsfT8R9zmc81mFhuMNHjvaPU6x+81NzO34VPJVHoqjkIuA8IbUNtHJF5u3t6D3l/ZXsw2rYlmK0p8TDqT6Cei6bS6fTJsprUerdST6k+ZnPUvFeI7d/G0p1JiZjgFp9GlSBK0wB6evqT5ym2uz90w1tb6fnKX1k8sUz2+5FtkYiGdY9g/AYq9UfTnCbdaIIbQTmdPTcb6q9NQYQtsz98n38mGN+YH95Hmd95ijDO59IERwAIo09z4R5RquIV1hi7gBF3EdTtAzyUcz0Mx7OPahLrFbR2NQrhRYgbIXC5cg/GOZ+DJG3pKtZwOu17K9lqi3GoFhINZfp8QxYhBwdoYe2OcApuP942yt66yQPFb4vE2dqqFO0ty6Fs9OUQr+96cGys99W3NAxrK3ocHaT5eYzkYIkV4fpae7rfe9hxZtHevvsUDdaa1yOuDkjqfWDt2tWxrK6iQ2w91bgYyFyxIsKr4TyK53ZByAIBzcBB+Oxu52MrVhrPEG55dix5jyIx+XKV18TpRV7hRm9gFts7xEb+I2MMv7DOTnlBeFa3UutdiLayuQti2FGrZM4axX5Mp68tpBxjGPFND/AKfrIdWJ2WsS1aFq0K5zzXJGfUrjMCfDuNpYSrMgsFtlSqpLEhGI3Y6qOR68uXWacrqoVc7VUZ64AGTjGT6yyGSxFiKKQKKNFmAoxgmp4pUjhC2bCNwrUFm2ZwWIHwr7nAkNXZvXK6lUTozLsJycbQGJIHUeWTkS7ZMjSwzjPP0mfouO0WtsV8WZOK2BRiFJBZQfiXwnmMjlMnTcGss8VhItS3Fu4MotZABXYjjBUcgcDIyTymnw/gqIgDrWz7t5fYAd2cg56kjpknJm5rWI75SJmQOvpJZUBuuIZmtXeEIJGa2GSAqg9CvTEK03CDlXsclgpDAbfFnoHYAb8fITU7sZzgbsYzjnjOcZ9IicTM3nGIaiqunTogwqhRnOAMcz1Pzi1GoRFLOyqijLMxCgAeZJ6Tnu1/2gaPh6ZtfdawzXQuC7fTyX3PKfP3bX7R9ZxFiLG2acHKadCdg9C5/G3z5TlmZ6b4jt6H26+2JbK7qdAzDag3avp1tRCKx16MfF+U8ffWq1WDk2d81hY8yVZFByfXK/rJ8CU2W91/8AIR6R/MRmv6b1SaGj7Bax0Z+727VJCN8TEeQHkfnMTatJ90rXdb8Yc8z5jczyEn3UuoXBHzH9Z3c8zL0nhNIooVB5KM+7EZJ/OV26qE6wYAI6cj+kyLH5zwdzl93RxWvC19RKXvlTvKXebiGrXSe6IW8oO7SvvZuHnvYbXfy+UT6iAJdzky8kwkW4E97FBu8MUmDc+qsxsxiY89T5bK1naBBULKttqF9jWK3grxnLWMoJUDGOnnzwOczLeJaqy9q1dUL079NtdWRgCN1gYVtvGCPCdvoM5zNfU8EraxbFZ6nHJjUQneLjkr8vEB+Y9YZRo60JKVopPIlVVSR74EoyEpvupra2ilrlcqwZTWTUWKFl5k1kr4tvP0+Who+C0V79qKRY24gqmBhdoCqBgADlDYswhxHkYhCJRRo2ZBLMZmAGSRgdSemIBpON0WsVSwbwWGxgUY7SQSobG5cqeYyOUwdat9veI6CwVWF6mQmwbw/gTw8qyq4yLFYZOek6VpMzieGZl1ddqsAVYFSMggggj2Ij5mXpOHWhkbvWCqDvQs9jOWHRiTtGD5qPlgTUzMWiInhqA+r0NVuO8rRtpyu5VbafUZEor4NUN5OXNqhH3beaAYAwoA8zz6y/U6+qvG+xVJ6AnxH+Vep+gg3+Lk/BRc3uy9yPp3mGP0UxumF2jq0AAAHIDAHsOQjswEztbxG2uprGp5IpYorhnIHXGQB05zmOPfaDRTWlne7N9e4VbRZqHYjwhB/l7Ac7mJwMY5Gc5tEO1dKbRn4+3X6nXonNnRBz5uQvIDJwD6CeT9u/trVM1aDDscg6xhlB5HuVPJ/5unznGcb7dX667nSLmIVV0yBu7bb8Jv2YN2Dz2jamfWE8O+zTVap+91tmzdj9mgXdtHRQB4UAHLA6TjbViv58R/tdmeKc/v4/v94cHqNRfqbSzGy26w5LHLux/rOp4H9l+otw157pDz2/E5/4E9R4P2U02lXFdary5uebH5seZk9T2g01Z2hjZZ5V1gu2fkJ5L+ZaeNOMO1PFiObcs7gfYrTaYfs6xu83Pib8z0m3YEUjcQC3P5kdfr5yinS8T1H+Xp109Z/HccNj2Qc5o6T7OFJDarU23MDnaP2aZ+XUzh6Grqcy7+pSnDyPt/2fp7026ZgWc5tpXmd37ygevmIB2W+zvW64+BAla/FZZlQPkMZJ9p9D6Hsvo6TmvT1q3rjJ/MzSxPp6NbUrttOcPFqTW1sxDxnj/BH057pm3FEXxgYDeEc8TlrhzntXbTgve1hwMtWDkeqH+08l4roSpmJjbZ7tG+aspmlFjS1xKWE01Id2lJaXukoZJqHKTboRmC4l9TZ5RMMJ5EUW2KQfVUfMjmPPQ8J8xSMcShwY8jHgPmC63itNJUW2BO8JVc5xkDJyei/M4EhxTh/eoF3lcNux+FiAcK481z5cukydL2dclBcFNYDmxTYWVrHPPYoVcLyHhJx5YJ5zda17mWZmfhq61bHxs1K1qwKghUZ2fnjDMSOWOgGeXUTG0vBmtC2kYu7wterhqyb0wFZLAu5UyMgDlh/pNleC0Cs1ivFRO4ICwVTnPgH4OfPAx5yzXcUqpHjcAnmqDmx+Sjnj36DzIli+3pNuewfD+z1SIN6VtcG3m1VCtuySMMADyBxnlnny5zW5f3nPanU6rUYFe6irIbvdyhjg5xuIIx0yEDZH4xL7NOlaBtTebAMAG0hKy3lipfjb0Dbj6TEzNpa2xAs8WDcqUNx/eUhagfe08j/t3H2kDTa/x2kD/Toyo/3XHxH/AG7YFru0dQoa2kpcUda9m4VAMWA2tuxswD+KZHEeKprqP2X3lNRTtt+792r5zyAetiFtTzzkjmDN10rT3xDM3iOmxqeJ6XSuqYCPbz5YTI8y99hAJ9slvaaeh4hRbnura32nDbWDEH+LHMH5zC4fwXWllN+owgTDord5mwjk1eUXuCP4SfbEJb7tpHJVbLdXco8IJu1Fir0ySfCg/eO1R6yWikRiOyJtJu13atNFVnY1t7KWrpUEkqvxO2Oij9TyE8h4f9m+o1LtZq7iEZySqtuZxnkXc+3kOntPTOL9kdTq82vq2092NtdVQrsrRASQGZl3M+ScsMY6D1PCcd7I8ZqXYLrLqQSfCzAnPr5/TM8OvF5/CcPTp7flt6Onh2hHd17O8P8A26wbbWPyXLEzVpp4hf8A5WkWhD/3NSdrY9RUuW/PE8/4Z2h1+iG1aFQeeKwpPzYDLfWbel+1i4crE/SeWvj0zm8zMvROpPVXZU/Z8rnOr1V15/cX9hV/4qdx+pnQ8O4Pp9ONtNNdY/hUAn5nqfrOE0v2oo3WalHb6pvMT11ileocLb57l2UYmc3V2tqP4hCF7QofxCdd0MbZbRMiTMscYT1khxNfWMwYke3Ocd2k7G78tUOvMp5/T+06T7+PWL72PWSYi3bVbWrOYeK8S4EyEgggjyIIMxrdKR5T369an5OisPcA/wBZj8Z7O6Z6LAlFQsNbbCFAO7HLExtw9Ea+e4eIPXBnIl+rLKSOfI4ImfZqmHpETLrMFYT6Syjl1gja8+glR4ifSajLlMw1d8Uyv8RPpGl2s5h9gZimfZxukE5LYVtrOEcoG9C2McvP0gvEdRZvUrYxqZOS1FO8z++AQd6gEcgeXoZ6IpM9vHMtUaqvdt7xN3TbuXOfTHXyl2Zy2h4Pae8Uhe6LFl72sgtYeZsABDKc+/PPLbOh0NDIiqzl2UYLnqfcy3rEdSkTMicxRsxEzm0lKtTqUrUu7BUXmWJwBF3megz79BMehTqNS7Of2WjcV1V8wDeUVmsPrgMFHpljBhbdqNRdju8015+JgDawx5IQe7H83i5dFlFtNGlra5wzkHx2YN9hb1PUL8z09Zp6/QrbW1ZZ1DDGa2KMPkRMSjg2rRkWu4pVWw3FjUy2V+Y7lawFY+u73OTOlYrPcs2mfgUnHKLVVRqBVbYMrgo7EDmQrsCjHHpnH0mLXw4X3Bqn+9aOw4s32k2afUINosQvzU4PTr7YxOiu4fp0YW2sfA29WttcojeqB22occuUrTigOfu2nawsctYAKai3TJsYePkBzUN0mo1Ir+LOybdhND2MrSyt2td2pzsYrWjNn/VdRm36/XM1dbxemo7WYm0/DSgNlp9PAvMD3OB7yg6HUWf5t/dr51afKE+xubxH/aEhei0FVI21oqgnLY6sfVmPNj7kkzla827bisR0C26u7qRpqz5DZbqCPduddf03n3EL0PDK6QQi4LHLuSWd29XdubH5mFZimWjiOwBkcxZkQHq+EVP8SKfpOd4j2EofognXZjGZmsS3EzDyviH2cqPhmDqeyFqdCZ7Y9IMDv4cp8pjY3F/t4m2j1CesdOI3r1zPVtXwBD5CYms7LL6SNRMS42vtFYOuYbT2pb1hOq7MY8plX8CI8oVs1dqPeGVdpPece2gYesiEces1gy72vj49YRXxoes89TUMPWEV65hGFS7adng7G6gZ3c7EHXP7yj+onnuoWejDip9ZlcSTT2ZL1jd+8PCf06xh0i/xLgLItPpHsOFXJ/QfM+U6G7R6ZT8JPzYwa7iaqMIAB6DlNQxOFH/TT/6lf6xSH+KGKMpw+lOH9n3V3Yu6KQFVVZWJAGMvlcHyxyJ9/Ka+i4fXUioo5JnGeZyTknP1l+ZBrh853tebPJFYhdIs4EzNfxlK9oZvFYcIqkZJ/mPIQG/jK2pZWrtp71GfGPEAOeR+8PcTlNoh6KaF7YnHH22NXxFawCxCgnaM8yW9Ao6mZf8AjzM5FSpYU+Ktmaq0cvJGXEwxwu7UKpCNzIzly9Drn413HejfKdBpuzSKyM9ju1P+WW25HsWAyw9jMZtbp6Z0tHSj3TmeeP8An8/wL4VxlLwcBldDtsrYYZW9DJ28N8ZsrsauxgA5GGVwOm5DyJ9xg+8sp0FaOzqgD2Y3t5nHSXzpGfl4rzXd7Ogvcaj/AF6//pP/ALJE6Gxvi1NuPRBXUPzClv1hsWYYB08HoU7u7DOOe+wtc+fZnJI+kNzGzGzAlmNmRzFAlFI5iBhUsxSOYsyCWY2ZEmLMCRMgYsxiYVB0g70AwomQMYGbdoAfKZ2p4UPSdAwlDpMzVqLTDk7+CD0mXqeCj0nb21CZ+ooEy3E5cNfwzHlM+7SkTtNVphMbW6SGnKXnEx9deROj1tQE5/XIJpHP6m8wQtD9TTAXSEyjmKLEUI+uar1cZDhh/CQR+k5q3jhsYpbXZ3XeeFqt3QNgLZ6Qnh/Z6xX3ErWCpFiVFtrsfxYPw/Sa/DeHd0u3e7jJILHJAJ6Zjm36d4nS0s45+vjDDt7Ll3IVdtTPmwEqysvltQDwH6za0fAqqyp8TMgwhdi5Uei56Q/MfMsUiHK/k6loxk4jkyOYxm3nSzHzIRQJZizGzFmA8UbMbMglmLdIxZgPHzI5izCnizI5jZgTzG3SOYxMglmRJjZjZlD5kSYsyOYCJkGkiZAmBXYIHckNaD2iZlqGVqa5h6+udHekzNTpszLrDjOIUzndbQZ3ms0WZga3h01CS4jU1mZ9tc6rV8P9pk6jQSssfZFND7kYowj6pzGzI5jgzTmfMcGRzHzAlmLMjmLMCWYsyMWYEo0bMWYD5j5kMxZkEsxZkcxswJZizI5izKJZjZkcxZkD5jRiZHMCRMbMbMiTAfMYmNmMTAcmRJkSZEtIpEyp5JmkGMiwptEDurhriUssjpDJv08zNRop0FlcEuqhpymq4dnymRquF+07S3T+0A1Gjlyzhxv+Ge0U6n7j7RS5TD1eLMaKbcksxZjRjAlmLMaKQPmLMaKAosxRoD5izGigKKKNAcxZjRpA+Y2YpGEPmNmMYhKpEyOYjGMgRMbdEZAyKdmkC8RkDCkTImOY0Kg0qaXNKmhqFTCDusJeUtIoSyuDWUw55Q0oE+7iKXxSK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982" name="AutoShape 14" descr="data:image/jpg;base64,/9j/4AAQSkZJRgABAQAAAQABAAD/2wCEAAkGBhASERUUEg8QFA8QEBQQEBAUFBAQFBUPFBAVFBQVFRUXHCYeFxkjGRQUHzAgIycpLCwsFR4xNTAqNSYrLCkBCQoKDgwOFw8PGikkHBwpLCwpKSopLCkqKSwsLCksKSksKSksLyksKSksLCkpKSwpKSkpKSwsLCwsLCkvLCkpKf/AABEIALkBEQMBIgACEQEDEQH/xAAcAAABBQEBAQAAAAAAAAAAAAAEAAECAwUGBwj/xAA9EAACAgECAwYDBQYFBAMAAAABAgADEQQSBSExBhMiQVFhMnGBBxRCkaEjUmJysdEVM1OCwRZDktNUk6L/xAAaAQEBAQEBAQEAAAAAAAAAAAAAAQIDBAUG/8QAKBEBAAIBBAEEAgIDAQAAAAAAAAECEQMSITEEEyJBUTJh0fBSofEV/9oADAMBAAIRAxEAPwD2RpLElFObtlQmlUZwBz6y1VxJYigLEUfEWIAGr0TFtwY9MbfL5xqNASB3h3YPL5Q+PiUypq06r0AEskb3KqSASQOg85mW8YQACw7e88IOeYbHTEg0LdWi4BIyeg9Y9eoVuYInO38Ktt27PCUblaxIbb8vOO1NVId2sstcYDgZxn0wIVvnWV5xvGfTMRv9ATANDq6yVwi4ceFl5/n6TWAgD7nP4QItr+ohEYyAa2wqMnmB1+UsUgjPkRBr3NvgX4fxt7eghapgY9OUKxdf2cWwY3t8W7qYTpeE1pjC8wMTSIldjgDJIA9TGRHbGY4ld2oOP2e1jnHXkPnMLWPZflQ+1lYoUGcEeufKBtLqkbO1gSP6zn+Ja/UEchgq/iQZyRnlgy7ScDFaEO+xd3Ig88e5hI4tSHKINzAAk5HP8+phT6AXA5flXtzgnJBhiapGOAwJ+cydUDcco7MjAoyDw7T58/WR4d2fcKA7nwtlcYyFHQEwjcxIkSYEiRCKL7AoJJ5AZnBcb4tuYkn6ei+k3u1/FNi7fbJ/4E8y1uvJySeZnj1r5nbD6/gaPG+TcU1+TOd1epzLdVqDMq+yYrD6V78IXWwV2j2NKHaeitXz9S6e6KU95FOm15vVh9nAx4Po9OUGCc8+R9s8oTOj504ieDRYj4jwhoo8UqGAkbHAGScCVX6oKD7dT5D5wZNO1vNs7PyJ+nkJFQt4g7nbSo93b4R/eC26Mo6s1Ztc8zaQML7AeU3K6gowBgRFh0yPlC5YOn1N7NYAGJRvCeQUg9FP94e2hU5Z8LuGGAOBnz+cr1PFQrtUFKtt3K2MgjzI8uUGFTWkHHe1WDGSNu1cc2B9cyqOtdaQqpXy6AgcgAPMzN0XGtRZZZikhF5DPXdjp9fWalSbUVGYuy45jIJx0zLBSx9EB64+I/MyIj97wo3DxkfAOZzGFLP8fJf3B/yYRXQq9B9fP841tyqCSQABk/KQOqADAGAIjGpuVhlSCD5jnJYgNKNVpFsXawyMg/UdIRiNiFZC8Kqqdn3Ed4NpUnkT6/OVaTiVKqMBgnNe8I8848XmPrDuJ8IrvAD7sKdwwSOeMSjT8ApQFdpKk9GJP5+v1hWPdp73Z03iwAAhTgA5ORn0+kM0/ZqtSrHmVyce565PnNoVAdAM9PpEYMqa6FUYUAD2ksSRkYREiRMmYPZq0BClhuPQecDzntlYWYn+Ij8uk4LVPPXe1fCw/MV5VhzYHnvzyyP+Z5rxrsvqUyUqexAcbkUt/SeO+javu+H2PH8qk12dTDlr3gFzyzW6jaSG5EHBB6g/KZd2rJ6TdKTJq+RWvynbaBBLLczU4b2Y1N58KEA/ibkJ1/Cfs3rXBubcf3RyE77q0eL09bX6jEft5zFPZf8Ao7R/6CRTPrx9Nf8AnX/ye5XalExuYDJwM+Z9oAOPIzMqDcU64IBPrtB64lf3a21B31araj5DKxI/mQ9QfnHt4fVXuuYF2Cc+QJwPQAcz7zs8LR0mqWxQynKn/jkZfOd1HHChrCVlan5blCvzPRRg9faafDdVYxYOvJcYswVDZ/hPMEQkwPger1QUc84JwAObMfQCT4hq1qQu3QYAA6licAD3JIEr0Okb47MG1h9EH7q/385EgqNGT4nA5c1r8h7n1MNilL6tB55PoviP6Qdh+J9+AppAOG8ak4JX2mfTw21mszhUJ3IxzuDkcyDnIA9Jrd5Y3RQo9W5n/wAR/eSGlH4iWPv0/IQucA2pyUwzWFBhsgbW5dSfI/KFrSx+I4H7q8h+cu5AeggrcRQg92Q74JVAwXdj0J5QZEKgHQYlN+uRDtY+IgsFAJO0dTgeUpTiFdmazlbNp3VE7bMY6j1HuIIvD2JU7j3SgnNm4XVkeQcdR88wLP8AGjtDmsd0QxLBgSAOmR5k+gjHQBmWysFWUhtzZO+thzU+cqovqDstK7rX/aFrMqpA5bgSOYHL4ZDT6i+wsSSCrd2yIVBrcfiw3xqRg/Iwom9qa7WYbu9VNzKm4jb5EqOWfeC6XtKGXftXbnDopO9STgeE/F9IZTo3sCtaAtik815MVz4TkHw+45iFaXQ1152r8TFmJ5ksepJMC3MUeMZBEyJk4xkVXiLEmZGBAiRMmZEwOf4pxK9WKBAobIV8+W3m2egPtM7Q6G27ZY6Dd8JY8s1j9SZ0fFOJUUVmy+xK616s5AH09T7CeSdrftuJzXoEwOh1Djn80Ty+Z/KdY1MRxCbMu94vxfR8PQvqbhzO5K+rE46Ignkfa37YdTqc16YHT0HlkH9qw92Hw/IfnOZ7nUay0szvZY3xO5LfmTOo4T2YopwWAez1PQH2E89tWI7ezT8S959vX25XhvZbU6g7iCqnmXbOT8vWdtwfsdp6eZG9/wB5ufP2EPGsA5CIa2cLak2fU0vEppc9z9tFSqjAAiNsAGo947XzDtNsDe9jwDv4pGd72viGh71Nu4rzBBHqPIjzHtA9Nw6xWyXVU2nvFUsQxxyYA/B9IXrr7F5qECKrM7HJPIZACj685hVnUallsq1KpmldyBGtrDEEsDnwnOR55GJ9F+baul+65XaUZzkoxxlj5sDjmfcQW7WajDixAAM4Fb9cHICkAtkjHUDrL6+AqawjFlXkTWpyisP9MkZUfLH0molSjOAAT1PqcefrCMajQWvuDV4qd0sQM7bkCquAAOjBgT1mqNK3+rZ/+f64hEi7gDJIAHUkgAfMwmVX3NfPc38xJ/TpLkQDoAB7coDqeM1oCcOyIneM6gFQhzjBJG48jyGYcGz+WYJyeCajiS1th1dUwP2xA7vJ8iQfD8zge8LjWVhgQwBUjBB5gg9QRCM7XEF0KXMrupVB8dLkcyrDpnGfMHlAm0laoEuYoSO8NNZawIF5ko23cg+WPaGavSXgkUsi1ivFajagWzPU+A7hjyGOnvygi6mygB0QWMTXaOaZqJKll5nYceLBz6Q0B4lx19zLXVZ8KMmoRDYCjAMc8uS45buePSHaS28svJjW4JfeUbZy5FHX4wTjkR+XSF6HQCsY32MQoXLNnkOmFGFH0EKkMgk0ZYo1oXvambayEgFTkcwfIjGR6wsAenzkojCIxGPGkUo0jdcqDLMFUdSSAPzMBu4uBu2VtYExuKFT4icbQPNpYrMmR8pr1CMTtZTtO1sEHDDyPpM3V11X5w9u4nYMd4BXYvMEqPhPTmf+Zd/hxdFL/s7wBuesgHI6gHHMH3HnNbYjsyOJkWkgMDH6mcP27+1HT8P8CqL9Scju1YBU5f8Acby+XX5Tm07G61UUszBVUZZmIUAepJ6TzPtd9tenp3Jo1F9o5d6cipT7eb/oPeeVdqe3et15Pf2kV58NCeGsfT8R9zmc81mFhuMNHjvaPU6x+81NzO34VPJVHoqjkIuA8IbUNtHJF5u3t6D3l/ZXsw2rYlmK0p8TDqT6Cei6bS6fTJsprUerdST6k+ZnPUvFeI7d/G0p1JiZjgFp9GlSBK0wB6evqT5ym2uz90w1tb6fnKX1k8sUz2+5FtkYiGdY9g/AYq9UfTnCbdaIIbQTmdPTcb6q9NQYQtsz98n38mGN+YH95Hmd95ijDO59IERwAIo09z4R5RquIV1hi7gBF3EdTtAzyUcz0Mx7OPahLrFbR2NQrhRYgbIXC5cg/GOZ+DJG3pKtZwOu17K9lqi3GoFhINZfp8QxYhBwdoYe2OcApuP942yt66yQPFb4vE2dqqFO0ty6Fs9OUQr+96cGys99W3NAxrK3ocHaT5eYzkYIkV4fpae7rfe9hxZtHevvsUDdaa1yOuDkjqfWDt2tWxrK6iQ2w91bgYyFyxIsKr4TyK53ZByAIBzcBB+Oxu52MrVhrPEG55dix5jyIx+XKV18TpRV7hRm9gFts7xEb+I2MMv7DOTnlBeFa3UutdiLayuQti2FGrZM4axX5Mp68tpBxjGPFND/AKfrIdWJ2WsS1aFq0K5zzXJGfUrjMCfDuNpYSrMgsFtlSqpLEhGI3Y6qOR68uXWacrqoVc7VUZ64AGTjGT6yyGSxFiKKQKKNFmAoxgmp4pUjhC2bCNwrUFm2ZwWIHwr7nAkNXZvXK6lUTozLsJycbQGJIHUeWTkS7ZMjSwzjPP0mfouO0WtsV8WZOK2BRiFJBZQfiXwnmMjlMnTcGss8VhItS3Fu4MotZABXYjjBUcgcDIyTymnw/gqIgDrWz7t5fYAd2cg56kjpknJm5rWI75SJmQOvpJZUBuuIZmtXeEIJGa2GSAqg9CvTEK03CDlXsclgpDAbfFnoHYAb8fITU7sZzgbsYzjnjOcZ9IicTM3nGIaiqunTogwqhRnOAMcz1Pzi1GoRFLOyqijLMxCgAeZJ6Tnu1/2gaPh6ZtfdawzXQuC7fTyX3PKfP3bX7R9ZxFiLG2acHKadCdg9C5/G3z5TlmZ6b4jt6H26+2JbK7qdAzDag3avp1tRCKx16MfF+U8ffWq1WDk2d81hY8yVZFByfXK/rJ8CU2W91/8AIR6R/MRmv6b1SaGj7Bax0Z+727VJCN8TEeQHkfnMTatJ90rXdb8Yc8z5jczyEn3UuoXBHzH9Z3c8zL0nhNIooVB5KM+7EZJ/OV26qE6wYAI6cj+kyLH5zwdzl93RxWvC19RKXvlTvKXebiGrXSe6IW8oO7SvvZuHnvYbXfy+UT6iAJdzky8kwkW4E97FBu8MUmDc+qsxsxiY89T5bK1naBBULKttqF9jWK3grxnLWMoJUDGOnnzwOczLeJaqy9q1dUL079NtdWRgCN1gYVtvGCPCdvoM5zNfU8EraxbFZ6nHJjUQneLjkr8vEB+Y9YZRo60JKVopPIlVVSR74EoyEpvupra2ilrlcqwZTWTUWKFl5k1kr4tvP0+Who+C0V79qKRY24gqmBhdoCqBgADlDYswhxHkYhCJRRo2ZBLMZmAGSRgdSemIBpON0WsVSwbwWGxgUY7SQSobG5cqeYyOUwdat9veI6CwVWF6mQmwbw/gTw8qyq4yLFYZOek6VpMzieGZl1ddqsAVYFSMggggj2Ij5mXpOHWhkbvWCqDvQs9jOWHRiTtGD5qPlgTUzMWiInhqA+r0NVuO8rRtpyu5VbafUZEor4NUN5OXNqhH3beaAYAwoA8zz6y/U6+qvG+xVJ6AnxH+Vep+gg3+Lk/BRc3uy9yPp3mGP0UxumF2jq0AAAHIDAHsOQjswEztbxG2uprGp5IpYorhnIHXGQB05zmOPfaDRTWlne7N9e4VbRZqHYjwhB/l7Ac7mJwMY5Gc5tEO1dKbRn4+3X6nXonNnRBz5uQvIDJwD6CeT9u/trVM1aDDscg6xhlB5HuVPJ/5unznGcb7dX667nSLmIVV0yBu7bb8Jv2YN2Dz2jamfWE8O+zTVap+91tmzdj9mgXdtHRQB4UAHLA6TjbViv58R/tdmeKc/v4/v94cHqNRfqbSzGy26w5LHLux/rOp4H9l+otw157pDz2/E5/4E9R4P2U02lXFdary5uebH5seZk9T2g01Z2hjZZ5V1gu2fkJ5L+ZaeNOMO1PFiObcs7gfYrTaYfs6xu83Pib8z0m3YEUjcQC3P5kdfr5yinS8T1H+Xp109Z/HccNj2Qc5o6T7OFJDarU23MDnaP2aZ+XUzh6Grqcy7+pSnDyPt/2fp7026ZgWc5tpXmd37ygevmIB2W+zvW64+BAla/FZZlQPkMZJ9p9D6Hsvo6TmvT1q3rjJ/MzSxPp6NbUrttOcPFqTW1sxDxnj/BH057pm3FEXxgYDeEc8TlrhzntXbTgve1hwMtWDkeqH+08l4roSpmJjbZ7tG+aspmlFjS1xKWE01Id2lJaXukoZJqHKTboRmC4l9TZ5RMMJ5EUW2KQfVUfMjmPPQ8J8xSMcShwY8jHgPmC63itNJUW2BO8JVc5xkDJyei/M4EhxTh/eoF3lcNux+FiAcK481z5cukydL2dclBcFNYDmxTYWVrHPPYoVcLyHhJx5YJ5zda17mWZmfhq61bHxs1K1qwKghUZ2fnjDMSOWOgGeXUTG0vBmtC2kYu7wterhqyb0wFZLAu5UyMgDlh/pNleC0Cs1ivFRO4ICwVTnPgH4OfPAx5yzXcUqpHjcAnmqDmx+Sjnj36DzIli+3pNuewfD+z1SIN6VtcG3m1VCtuySMMADyBxnlnny5zW5f3nPanU6rUYFe6irIbvdyhjg5xuIIx0yEDZH4xL7NOlaBtTebAMAG0hKy3lipfjb0Dbj6TEzNpa2xAs8WDcqUNx/eUhagfe08j/t3H2kDTa/x2kD/Toyo/3XHxH/AG7YFru0dQoa2kpcUda9m4VAMWA2tuxswD+KZHEeKprqP2X3lNRTtt+792r5zyAetiFtTzzkjmDN10rT3xDM3iOmxqeJ6XSuqYCPbz5YTI8y99hAJ9slvaaeh4hRbnura32nDbWDEH+LHMH5zC4fwXWllN+owgTDord5mwjk1eUXuCP4SfbEJb7tpHJVbLdXco8IJu1Fir0ySfCg/eO1R6yWikRiOyJtJu13atNFVnY1t7KWrpUEkqvxO2Oij9TyE8h4f9m+o1LtZq7iEZySqtuZxnkXc+3kOntPTOL9kdTq82vq2092NtdVQrsrRASQGZl3M+ScsMY6D1PCcd7I8ZqXYLrLqQSfCzAnPr5/TM8OvF5/CcPTp7flt6Onh2hHd17O8P8A26wbbWPyXLEzVpp4hf8A5WkWhD/3NSdrY9RUuW/PE8/4Z2h1+iG1aFQeeKwpPzYDLfWbel+1i4crE/SeWvj0zm8zMvROpPVXZU/Z8rnOr1V15/cX9hV/4qdx+pnQ8O4Pp9ONtNNdY/hUAn5nqfrOE0v2oo3WalHb6pvMT11ileocLb57l2UYmc3V2tqP4hCF7QofxCdd0MbZbRMiTMscYT1khxNfWMwYke3Ocd2k7G78tUOvMp5/T+06T7+PWL72PWSYi3bVbWrOYeK8S4EyEgggjyIIMxrdKR5T369an5OisPcA/wBZj8Z7O6Z6LAlFQsNbbCFAO7HLExtw9Ea+e4eIPXBnIl+rLKSOfI4ImfZqmHpETLrMFYT6Syjl1gja8+glR4ifSajLlMw1d8Uyv8RPpGl2s5h9gZimfZxukE5LYVtrOEcoG9C2McvP0gvEdRZvUrYxqZOS1FO8z++AQd6gEcgeXoZ6IpM9vHMtUaqvdt7xN3TbuXOfTHXyl2Zy2h4Pae8Uhe6LFl72sgtYeZsABDKc+/PPLbOh0NDIiqzl2UYLnqfcy3rEdSkTMicxRsxEzm0lKtTqUrUu7BUXmWJwBF3megz79BMehTqNS7Of2WjcV1V8wDeUVmsPrgMFHpljBhbdqNRdju8015+JgDawx5IQe7H83i5dFlFtNGlra5wzkHx2YN9hb1PUL8z09Zp6/QrbW1ZZ1DDGa2KMPkRMSjg2rRkWu4pVWw3FjUy2V+Y7lawFY+u73OTOlYrPcs2mfgUnHKLVVRqBVbYMrgo7EDmQrsCjHHpnH0mLXw4X3Bqn+9aOw4s32k2afUINosQvzU4PTr7YxOiu4fp0YW2sfA29WttcojeqB22occuUrTigOfu2nawsctYAKai3TJsYePkBzUN0mo1Ir+LOybdhND2MrSyt2td2pzsYrWjNn/VdRm36/XM1dbxemo7WYm0/DSgNlp9PAvMD3OB7yg6HUWf5t/dr51afKE+xubxH/aEhei0FVI21oqgnLY6sfVmPNj7kkzla827bisR0C26u7qRpqz5DZbqCPduddf03n3EL0PDK6QQi4LHLuSWd29XdubH5mFZimWjiOwBkcxZkQHq+EVP8SKfpOd4j2EofognXZjGZmsS3EzDyviH2cqPhmDqeyFqdCZ7Y9IMDv4cp8pjY3F/t4m2j1CesdOI3r1zPVtXwBD5CYms7LL6SNRMS42vtFYOuYbT2pb1hOq7MY8plX8CI8oVs1dqPeGVdpPece2gYesiEces1gy72vj49YRXxoes89TUMPWEV65hGFS7adng7G6gZ3c7EHXP7yj+onnuoWejDip9ZlcSTT2ZL1jd+8PCf06xh0i/xLgLItPpHsOFXJ/QfM+U6G7R6ZT8JPzYwa7iaqMIAB6DlNQxOFH/TT/6lf6xSH+KGKMpw+lOH9n3V3Yu6KQFVVZWJAGMvlcHyxyJ9/Ka+i4fXUioo5JnGeZyTknP1l+ZBrh853tebPJFYhdIs4EzNfxlK9oZvFYcIqkZJ/mPIQG/jK2pZWrtp71GfGPEAOeR+8PcTlNoh6KaF7YnHH22NXxFawCxCgnaM8yW9Ao6mZf8AjzM5FSpYU+Ktmaq0cvJGXEwxwu7UKpCNzIzly9Drn413HejfKdBpuzSKyM9ju1P+WW25HsWAyw9jMZtbp6Z0tHSj3TmeeP8An8/wL4VxlLwcBldDtsrYYZW9DJ28N8ZsrsauxgA5GGVwOm5DyJ9xg+8sp0FaOzqgD2Y3t5nHSXzpGfl4rzXd7Ogvcaj/AF6//pP/ALJE6Gxvi1NuPRBXUPzClv1hsWYYB08HoU7u7DOOe+wtc+fZnJI+kNzGzGzAlmNmRzFAlFI5iBhUsxSOYsyCWY2ZEmLMCRMgYsxiYVB0g70AwomQMYGbdoAfKZ2p4UPSdAwlDpMzVqLTDk7+CD0mXqeCj0nb21CZ+ooEy3E5cNfwzHlM+7SkTtNVphMbW6SGnKXnEx9deROj1tQE5/XIJpHP6m8wQtD9TTAXSEyjmKLEUI+uar1cZDhh/CQR+k5q3jhsYpbXZ3XeeFqt3QNgLZ6Qnh/Z6xX3ErWCpFiVFtrsfxYPw/Sa/DeHd0u3e7jJILHJAJ6Zjm36d4nS0s45+vjDDt7Ll3IVdtTPmwEqysvltQDwH6za0fAqqyp8TMgwhdi5Uei56Q/MfMsUiHK/k6loxk4jkyOYxm3nSzHzIRQJZizGzFmA8UbMbMglmLdIxZgPHzI5izCnizI5jZgTzG3SOYxMglmRJjZjZlD5kSYsyOYCJkGkiZAmBXYIHckNaD2iZlqGVqa5h6+udHekzNTpszLrDjOIUzndbQZ3ms0WZga3h01CS4jU1mZ9tc6rV8P9pk6jQSssfZFND7kYowj6pzGzI5jgzTmfMcGRzHzAlmLMjmLMCWYsyMWYEo0bMWYD5j5kMxZkEsxZkcxswJZizI5izKJZjZkcxZkD5jRiZHMCRMbMbMiTAfMYmNmMTAcmRJkSZEtIpEyp5JmkGMiwptEDurhriUssjpDJv08zNRop0FlcEuqhpymq4dnymRquF+07S3T+0A1Gjlyzhxv+Ge0U6n7j7RS5TD1eLMaKbcksxZjRjAlmLMaKQPmLMaKAosxRoD5izGigKKKNAcxZjRpA+Y2YpGEPmNmMYhKpEyOYjGMgRMbdEZAyKdmkC8RkDCkTImOY0Kg0qaXNKmhqFTCDusJeUtIoSyuDWUw55Q0oE+7iKXxSK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984" name="AutoShape 16" descr="data:image/jpg;base64,/9j/4AAQSkZJRgABAQAAAQABAAD/2wCEAAkGBhASERUUEg8QFA8QEBQQEBAUFBAQFBUPFBAVFBQVFRUXHCYeFxkjGRQUHzAgIycpLCwsFR4xNTAqNSYrLCkBCQoKDgwOFw8PGikkHBwpLCwpKSopLCkqKSwsLCksKSksKSksLyksKSksLCkpKSwpKSkpKSwsLCwsLCkvLCkpKf/AABEIALkBEQMBIgACEQEDEQH/xAAcAAABBQEBAQAAAAAAAAAAAAAEAAECAwUGBwj/xAA9EAACAgECAwYDBQYFBAMAAAABAgADEQQSBSExBhMiQVFhMnGBBxRCkaEjUmJysdEVM1OCwRZDktNUk6L/xAAaAQEBAQEBAQEAAAAAAAAAAAAAAQIDBAUG/8QAKBEBAAIBBAEEAgIDAQAAAAAAAAECEQMSITEEEyJBUTJh0fBSofEV/9oADAMBAAIRAxEAPwD2RpLElFObtlQmlUZwBz6y1VxJYigLEUfEWIAGr0TFtwY9MbfL5xqNASB3h3YPL5Q+PiUypq06r0AEskb3KqSASQOg85mW8YQACw7e88IOeYbHTEg0LdWi4BIyeg9Y9eoVuYInO38Ktt27PCUblaxIbb8vOO1NVId2sstcYDgZxn0wIVvnWV5xvGfTMRv9ATANDq6yVwi4ceFl5/n6TWAgD7nP4QItr+ohEYyAa2wqMnmB1+UsUgjPkRBr3NvgX4fxt7eghapgY9OUKxdf2cWwY3t8W7qYTpeE1pjC8wMTSIldjgDJIA9TGRHbGY4ld2oOP2e1jnHXkPnMLWPZflQ+1lYoUGcEeufKBtLqkbO1gSP6zn+Ja/UEchgq/iQZyRnlgy7ScDFaEO+xd3Ig88e5hI4tSHKINzAAk5HP8+phT6AXA5flXtzgnJBhiapGOAwJ+cydUDcco7MjAoyDw7T58/WR4d2fcKA7nwtlcYyFHQEwjcxIkSYEiRCKL7AoJJ5AZnBcb4tuYkn6ei+k3u1/FNi7fbJ/4E8y1uvJySeZnj1r5nbD6/gaPG+TcU1+TOd1epzLdVqDMq+yYrD6V78IXWwV2j2NKHaeitXz9S6e6KU95FOm15vVh9nAx4Po9OUGCc8+R9s8oTOj504ieDRYj4jwhoo8UqGAkbHAGScCVX6oKD7dT5D5wZNO1vNs7PyJ+nkJFQt4g7nbSo93b4R/eC26Mo6s1Ztc8zaQML7AeU3K6gowBgRFh0yPlC5YOn1N7NYAGJRvCeQUg9FP94e2hU5Z8LuGGAOBnz+cr1PFQrtUFKtt3K2MgjzI8uUGFTWkHHe1WDGSNu1cc2B9cyqOtdaQqpXy6AgcgAPMzN0XGtRZZZikhF5DPXdjp9fWalSbUVGYuy45jIJx0zLBSx9EB64+I/MyIj97wo3DxkfAOZzGFLP8fJf3B/yYRXQq9B9fP841tyqCSQABk/KQOqADAGAIjGpuVhlSCD5jnJYgNKNVpFsXawyMg/UdIRiNiFZC8Kqqdn3Ed4NpUnkT6/OVaTiVKqMBgnNe8I8848XmPrDuJ8IrvAD7sKdwwSOeMSjT8ApQFdpKk9GJP5+v1hWPdp73Z03iwAAhTgA5ORn0+kM0/ZqtSrHmVyce565PnNoVAdAM9PpEYMqa6FUYUAD2ksSRkYREiRMmYPZq0BClhuPQecDzntlYWYn+Ij8uk4LVPPXe1fCw/MV5VhzYHnvzyyP+Z5rxrsvqUyUqexAcbkUt/SeO+javu+H2PH8qk12dTDlr3gFzyzW6jaSG5EHBB6g/KZd2rJ6TdKTJq+RWvynbaBBLLczU4b2Y1N58KEA/ibkJ1/Cfs3rXBubcf3RyE77q0eL09bX6jEft5zFPZf8Ao7R/6CRTPrx9Nf8AnX/ye5XalExuYDJwM+Z9oAOPIzMqDcU64IBPrtB64lf3a21B31araj5DKxI/mQ9QfnHt4fVXuuYF2Cc+QJwPQAcz7zs8LR0mqWxQynKn/jkZfOd1HHChrCVlan5blCvzPRRg9faafDdVYxYOvJcYswVDZ/hPMEQkwPger1QUc84JwAObMfQCT4hq1qQu3QYAA6licAD3JIEr0Okb47MG1h9EH7q/385EgqNGT4nA5c1r8h7n1MNilL6tB55PoviP6Qdh+J9+AppAOG8ak4JX2mfTw21mszhUJ3IxzuDkcyDnIA9Jrd5Y3RQo9W5n/wAR/eSGlH4iWPv0/IQucA2pyUwzWFBhsgbW5dSfI/KFrSx+I4H7q8h+cu5AeggrcRQg92Q74JVAwXdj0J5QZEKgHQYlN+uRDtY+IgsFAJO0dTgeUpTiFdmazlbNp3VE7bMY6j1HuIIvD2JU7j3SgnNm4XVkeQcdR88wLP8AGjtDmsd0QxLBgSAOmR5k+gjHQBmWysFWUhtzZO+thzU+cqovqDstK7rX/aFrMqpA5bgSOYHL4ZDT6i+wsSSCrd2yIVBrcfiw3xqRg/Iwom9qa7WYbu9VNzKm4jb5EqOWfeC6XtKGXftXbnDopO9STgeE/F9IZTo3sCtaAtik815MVz4TkHw+45iFaXQ1152r8TFmJ5ksepJMC3MUeMZBEyJk4xkVXiLEmZGBAiRMmZEwOf4pxK9WKBAobIV8+W3m2egPtM7Q6G27ZY6Dd8JY8s1j9SZ0fFOJUUVmy+xK616s5AH09T7CeSdrftuJzXoEwOh1Djn80Ty+Z/KdY1MRxCbMu94vxfR8PQvqbhzO5K+rE46Ignkfa37YdTqc16YHT0HlkH9qw92Hw/IfnOZ7nUay0szvZY3xO5LfmTOo4T2YopwWAez1PQH2E89tWI7ezT8S959vX25XhvZbU6g7iCqnmXbOT8vWdtwfsdp6eZG9/wB5ufP2EPGsA5CIa2cLak2fU0vEppc9z9tFSqjAAiNsAGo947XzDtNsDe9jwDv4pGd72viGh71Nu4rzBBHqPIjzHtA9Nw6xWyXVU2nvFUsQxxyYA/B9IXrr7F5qECKrM7HJPIZACj685hVnUallsq1KpmldyBGtrDEEsDnwnOR55GJ9F+baul+65XaUZzkoxxlj5sDjmfcQW7WajDixAAM4Fb9cHICkAtkjHUDrL6+AqawjFlXkTWpyisP9MkZUfLH0molSjOAAT1PqcefrCMajQWvuDV4qd0sQM7bkCquAAOjBgT1mqNK3+rZ/+f64hEi7gDJIAHUkgAfMwmVX3NfPc38xJ/TpLkQDoAB7coDqeM1oCcOyIneM6gFQhzjBJG48jyGYcGz+WYJyeCajiS1th1dUwP2xA7vJ8iQfD8zge8LjWVhgQwBUjBB5gg9QRCM7XEF0KXMrupVB8dLkcyrDpnGfMHlAm0laoEuYoSO8NNZawIF5ko23cg+WPaGavSXgkUsi1ivFajagWzPU+A7hjyGOnvygi6mygB0QWMTXaOaZqJKll5nYceLBz6Q0B4lx19zLXVZ8KMmoRDYCjAMc8uS45buePSHaS28svJjW4JfeUbZy5FHX4wTjkR+XSF6HQCsY32MQoXLNnkOmFGFH0EKkMgk0ZYo1oXvambayEgFTkcwfIjGR6wsAenzkojCIxGPGkUo0jdcqDLMFUdSSAPzMBu4uBu2VtYExuKFT4icbQPNpYrMmR8pr1CMTtZTtO1sEHDDyPpM3V11X5w9u4nYMd4BXYvMEqPhPTmf+Zd/hxdFL/s7wBuesgHI6gHHMH3HnNbYjsyOJkWkgMDH6mcP27+1HT8P8CqL9Scju1YBU5f8Acby+XX5Tm07G61UUszBVUZZmIUAepJ6TzPtd9tenp3Jo1F9o5d6cipT7eb/oPeeVdqe3et15Pf2kV58NCeGsfT8R9zmc81mFhuMNHjvaPU6x+81NzO34VPJVHoqjkIuA8IbUNtHJF5u3t6D3l/ZXsw2rYlmK0p8TDqT6Cei6bS6fTJsprUerdST6k+ZnPUvFeI7d/G0p1JiZjgFp9GlSBK0wB6evqT5ym2uz90w1tb6fnKX1k8sUz2+5FtkYiGdY9g/AYq9UfTnCbdaIIbQTmdPTcb6q9NQYQtsz98n38mGN+YH95Hmd95ijDO59IERwAIo09z4R5RquIV1hi7gBF3EdTtAzyUcz0Mx7OPahLrFbR2NQrhRYgbIXC5cg/GOZ+DJG3pKtZwOu17K9lqi3GoFhINZfp8QxYhBwdoYe2OcApuP942yt66yQPFb4vE2dqqFO0ty6Fs9OUQr+96cGys99W3NAxrK3ocHaT5eYzkYIkV4fpae7rfe9hxZtHevvsUDdaa1yOuDkjqfWDt2tWxrK6iQ2w91bgYyFyxIsKr4TyK53ZByAIBzcBB+Oxu52MrVhrPEG55dix5jyIx+XKV18TpRV7hRm9gFts7xEb+I2MMv7DOTnlBeFa3UutdiLayuQti2FGrZM4axX5Mp68tpBxjGPFND/AKfrIdWJ2WsS1aFq0K5zzXJGfUrjMCfDuNpYSrMgsFtlSqpLEhGI3Y6qOR68uXWacrqoVc7VUZ64AGTjGT6yyGSxFiKKQKKNFmAoxgmp4pUjhC2bCNwrUFm2ZwWIHwr7nAkNXZvXK6lUTozLsJycbQGJIHUeWTkS7ZMjSwzjPP0mfouO0WtsV8WZOK2BRiFJBZQfiXwnmMjlMnTcGss8VhItS3Fu4MotZABXYjjBUcgcDIyTymnw/gqIgDrWz7t5fYAd2cg56kjpknJm5rWI75SJmQOvpJZUBuuIZmtXeEIJGa2GSAqg9CvTEK03CDlXsclgpDAbfFnoHYAb8fITU7sZzgbsYzjnjOcZ9IicTM3nGIaiqunTogwqhRnOAMcz1Pzi1GoRFLOyqijLMxCgAeZJ6Tnu1/2gaPh6ZtfdawzXQuC7fTyX3PKfP3bX7R9ZxFiLG2acHKadCdg9C5/G3z5TlmZ6b4jt6H26+2JbK7qdAzDag3avp1tRCKx16MfF+U8ffWq1WDk2d81hY8yVZFByfXK/rJ8CU2W91/8AIR6R/MRmv6b1SaGj7Bax0Z+727VJCN8TEeQHkfnMTatJ90rXdb8Yc8z5jczyEn3UuoXBHzH9Z3c8zL0nhNIooVB5KM+7EZJ/OV26qE6wYAI6cj+kyLH5zwdzl93RxWvC19RKXvlTvKXebiGrXSe6IW8oO7SvvZuHnvYbXfy+UT6iAJdzky8kwkW4E97FBu8MUmDc+qsxsxiY89T5bK1naBBULKttqF9jWK3grxnLWMoJUDGOnnzwOczLeJaqy9q1dUL079NtdWRgCN1gYVtvGCPCdvoM5zNfU8EraxbFZ6nHJjUQneLjkr8vEB+Y9YZRo60JKVopPIlVVSR74EoyEpvupra2ilrlcqwZTWTUWKFl5k1kr4tvP0+Who+C0V79qKRY24gqmBhdoCqBgADlDYswhxHkYhCJRRo2ZBLMZmAGSRgdSemIBpON0WsVSwbwWGxgUY7SQSobG5cqeYyOUwdat9veI6CwVWF6mQmwbw/gTw8qyq4yLFYZOek6VpMzieGZl1ddqsAVYFSMggggj2Ij5mXpOHWhkbvWCqDvQs9jOWHRiTtGD5qPlgTUzMWiInhqA+r0NVuO8rRtpyu5VbafUZEor4NUN5OXNqhH3beaAYAwoA8zz6y/U6+qvG+xVJ6AnxH+Vep+gg3+Lk/BRc3uy9yPp3mGP0UxumF2jq0AAAHIDAHsOQjswEztbxG2uprGp5IpYorhnIHXGQB05zmOPfaDRTWlne7N9e4VbRZqHYjwhB/l7Ac7mJwMY5Gc5tEO1dKbRn4+3X6nXonNnRBz5uQvIDJwD6CeT9u/trVM1aDDscg6xhlB5HuVPJ/5unznGcb7dX667nSLmIVV0yBu7bb8Jv2YN2Dz2jamfWE8O+zTVap+91tmzdj9mgXdtHRQB4UAHLA6TjbViv58R/tdmeKc/v4/v94cHqNRfqbSzGy26w5LHLux/rOp4H9l+otw157pDz2/E5/4E9R4P2U02lXFdary5uebH5seZk9T2g01Z2hjZZ5V1gu2fkJ5L+ZaeNOMO1PFiObcs7gfYrTaYfs6xu83Pib8z0m3YEUjcQC3P5kdfr5yinS8T1H+Xp109Z/HccNj2Qc5o6T7OFJDarU23MDnaP2aZ+XUzh6Grqcy7+pSnDyPt/2fp7026ZgWc5tpXmd37ygevmIB2W+zvW64+BAla/FZZlQPkMZJ9p9D6Hsvo6TmvT1q3rjJ/MzSxPp6NbUrttOcPFqTW1sxDxnj/BH057pm3FEXxgYDeEc8TlrhzntXbTgve1hwMtWDkeqH+08l4roSpmJjbZ7tG+aspmlFjS1xKWE01Id2lJaXukoZJqHKTboRmC4l9TZ5RMMJ5EUW2KQfVUfMjmPPQ8J8xSMcShwY8jHgPmC63itNJUW2BO8JVc5xkDJyei/M4EhxTh/eoF3lcNux+FiAcK481z5cukydL2dclBcFNYDmxTYWVrHPPYoVcLyHhJx5YJ5zda17mWZmfhq61bHxs1K1qwKghUZ2fnjDMSOWOgGeXUTG0vBmtC2kYu7wterhqyb0wFZLAu5UyMgDlh/pNleC0Cs1ivFRO4ICwVTnPgH4OfPAx5yzXcUqpHjcAnmqDmx+Sjnj36DzIli+3pNuewfD+z1SIN6VtcG3m1VCtuySMMADyBxnlnny5zW5f3nPanU6rUYFe6irIbvdyhjg5xuIIx0yEDZH4xL7NOlaBtTebAMAG0hKy3lipfjb0Dbj6TEzNpa2xAs8WDcqUNx/eUhagfe08j/t3H2kDTa/x2kD/Toyo/3XHxH/AG7YFru0dQoa2kpcUda9m4VAMWA2tuxswD+KZHEeKprqP2X3lNRTtt+792r5zyAetiFtTzzkjmDN10rT3xDM3iOmxqeJ6XSuqYCPbz5YTI8y99hAJ9slvaaeh4hRbnura32nDbWDEH+LHMH5zC4fwXWllN+owgTDord5mwjk1eUXuCP4SfbEJb7tpHJVbLdXco8IJu1Fir0ySfCg/eO1R6yWikRiOyJtJu13atNFVnY1t7KWrpUEkqvxO2Oij9TyE8h4f9m+o1LtZq7iEZySqtuZxnkXc+3kOntPTOL9kdTq82vq2092NtdVQrsrRASQGZl3M+ScsMY6D1PCcd7I8ZqXYLrLqQSfCzAnPr5/TM8OvF5/CcPTp7flt6Onh2hHd17O8P8A26wbbWPyXLEzVpp4hf8A5WkWhD/3NSdrY9RUuW/PE8/4Z2h1+iG1aFQeeKwpPzYDLfWbel+1i4crE/SeWvj0zm8zMvROpPVXZU/Z8rnOr1V15/cX9hV/4qdx+pnQ8O4Pp9ONtNNdY/hUAn5nqfrOE0v2oo3WalHb6pvMT11ileocLb57l2UYmc3V2tqP4hCF7QofxCdd0MbZbRMiTMscYT1khxNfWMwYke3Ocd2k7G78tUOvMp5/T+06T7+PWL72PWSYi3bVbWrOYeK8S4EyEgggjyIIMxrdKR5T369an5OisPcA/wBZj8Z7O6Z6LAlFQsNbbCFAO7HLExtw9Ea+e4eIPXBnIl+rLKSOfI4ImfZqmHpETLrMFYT6Syjl1gja8+glR4ifSajLlMw1d8Uyv8RPpGl2s5h9gZimfZxukE5LYVtrOEcoG9C2McvP0gvEdRZvUrYxqZOS1FO8z++AQd6gEcgeXoZ6IpM9vHMtUaqvdt7xN3TbuXOfTHXyl2Zy2h4Pae8Uhe6LFl72sgtYeZsABDKc+/PPLbOh0NDIiqzl2UYLnqfcy3rEdSkTMicxRsxEzm0lKtTqUrUu7BUXmWJwBF3megz79BMehTqNS7Of2WjcV1V8wDeUVmsPrgMFHpljBhbdqNRdju8015+JgDawx5IQe7H83i5dFlFtNGlra5wzkHx2YN9hb1PUL8z09Zp6/QrbW1ZZ1DDGa2KMPkRMSjg2rRkWu4pVWw3FjUy2V+Y7lawFY+u73OTOlYrPcs2mfgUnHKLVVRqBVbYMrgo7EDmQrsCjHHpnH0mLXw4X3Bqn+9aOw4s32k2afUINosQvzU4PTr7YxOiu4fp0YW2sfA29WttcojeqB22occuUrTigOfu2nawsctYAKai3TJsYePkBzUN0mo1Ir+LOybdhND2MrSyt2td2pzsYrWjNn/VdRm36/XM1dbxemo7WYm0/DSgNlp9PAvMD3OB7yg6HUWf5t/dr51afKE+xubxH/aEhei0FVI21oqgnLY6sfVmPNj7kkzla827bisR0C26u7qRpqz5DZbqCPduddf03n3EL0PDK6QQi4LHLuSWd29XdubH5mFZimWjiOwBkcxZkQHq+EVP8SKfpOd4j2EofognXZjGZmsS3EzDyviH2cqPhmDqeyFqdCZ7Y9IMDv4cp8pjY3F/t4m2j1CesdOI3r1zPVtXwBD5CYms7LL6SNRMS42vtFYOuYbT2pb1hOq7MY8plX8CI8oVs1dqPeGVdpPece2gYesiEces1gy72vj49YRXxoes89TUMPWEV65hGFS7adng7G6gZ3c7EHXP7yj+onnuoWejDip9ZlcSTT2ZL1jd+8PCf06xh0i/xLgLItPpHsOFXJ/QfM+U6G7R6ZT8JPzYwa7iaqMIAB6DlNQxOFH/TT/6lf6xSH+KGKMpw+lOH9n3V3Yu6KQFVVZWJAGMvlcHyxyJ9/Ka+i4fXUioo5JnGeZyTknP1l+ZBrh853tebPJFYhdIs4EzNfxlK9oZvFYcIqkZJ/mPIQG/jK2pZWrtp71GfGPEAOeR+8PcTlNoh6KaF7YnHH22NXxFawCxCgnaM8yW9Ao6mZf8AjzM5FSpYU+Ktmaq0cvJGXEwxwu7UKpCNzIzly9Drn413HejfKdBpuzSKyM9ju1P+WW25HsWAyw9jMZtbp6Z0tHSj3TmeeP8An8/wL4VxlLwcBldDtsrYYZW9DJ28N8ZsrsauxgA5GGVwOm5DyJ9xg+8sp0FaOzqgD2Y3t5nHSXzpGfl4rzXd7Ogvcaj/AF6//pP/ALJE6Gxvi1NuPRBXUPzClv1hsWYYB08HoU7u7DOOe+wtc+fZnJI+kNzGzGzAlmNmRzFAlFI5iBhUsxSOYsyCWY2ZEmLMCRMgYsxiYVB0g70AwomQMYGbdoAfKZ2p4UPSdAwlDpMzVqLTDk7+CD0mXqeCj0nb21CZ+ooEy3E5cNfwzHlM+7SkTtNVphMbW6SGnKXnEx9deROj1tQE5/XIJpHP6m8wQtD9TTAXSEyjmKLEUI+uar1cZDhh/CQR+k5q3jhsYpbXZ3XeeFqt3QNgLZ6Qnh/Z6xX3ErWCpFiVFtrsfxYPw/Sa/DeHd0u3e7jJILHJAJ6Zjm36d4nS0s45+vjDDt7Ll3IVdtTPmwEqysvltQDwH6za0fAqqyp8TMgwhdi5Uei56Q/MfMsUiHK/k6loxk4jkyOYxm3nSzHzIRQJZizGzFmA8UbMbMglmLdIxZgPHzI5izCnizI5jZgTzG3SOYxMglmRJjZjZlD5kSYsyOYCJkGkiZAmBXYIHckNaD2iZlqGVqa5h6+udHekzNTpszLrDjOIUzndbQZ3ms0WZga3h01CS4jU1mZ9tc6rV8P9pk6jQSssfZFND7kYowj6pzGzI5jgzTmfMcGRzHzAlmLMjmLMCWYsyMWYEo0bMWYD5j5kMxZkEsxZkcxswJZizI5izKJZjZkcxZkD5jRiZHMCRMbMbMiTAfMYmNmMTAcmRJkSZEtIpEyp5JmkGMiwptEDurhriUssjpDJv08zNRop0FlcEuqhpymq4dnymRquF+07S3T+0A1Gjlyzhxv+Ge0U6n7j7RS5TD1eLMaKbcksxZjRjAlmLMaKQPmLMaKAosxRoD5izGigKKKNAcxZjRpA+Y2YpGEPmNmMYhKpEyOYjGMgRMbdEZAyKdmkC8RkDCkTImOY0Kg0qaXNKmhqFTCDusJeUtIoSyuDWUw55Q0oE+7iKXxSK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83986" name="Picture 18" descr="http://www.swamisamarthpharmatech.com/wp-content/uploads/2010/05/audit-trail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966725" y="4063406"/>
            <a:ext cx="1450776" cy="985010"/>
          </a:xfrm>
          <a:prstGeom prst="rect">
            <a:avLst/>
          </a:prstGeom>
          <a:noFill/>
        </p:spPr>
      </p:pic>
      <p:pic>
        <p:nvPicPr>
          <p:cNvPr id="83988" name="Picture 20" descr="http://blog.mkf.org/wp-content/uploads/2010/09/change-management1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630683" y="2979752"/>
            <a:ext cx="1334053" cy="1000540"/>
          </a:xfrm>
          <a:prstGeom prst="rect">
            <a:avLst/>
          </a:prstGeom>
          <a:noFill/>
        </p:spPr>
      </p:pic>
      <p:pic>
        <p:nvPicPr>
          <p:cNvPr id="83990" name="Picture 22" descr="http://t2.gstatic.com/images?q=tbn:1kJWeUuEnjlUhM:https://www.dietpower.com/images/big/DP_Upgrade_Key.jpg&amp;t=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1382" y="2036528"/>
            <a:ext cx="1038639" cy="1038639"/>
          </a:xfrm>
          <a:prstGeom prst="rect">
            <a:avLst/>
          </a:prstGeom>
          <a:noFill/>
        </p:spPr>
      </p:pic>
      <p:sp>
        <p:nvSpPr>
          <p:cNvPr id="17" name="Rectangle 16"/>
          <p:cNvSpPr/>
          <p:nvPr/>
        </p:nvSpPr>
        <p:spPr>
          <a:xfrm>
            <a:off x="1740450" y="5735472"/>
            <a:ext cx="24240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 smtClean="0"/>
              <a:t>Virtual Private Cloud (</a:t>
            </a:r>
            <a:r>
              <a:rPr lang="en-US" sz="2000" b="1" dirty="0" err="1" smtClean="0"/>
              <a:t>VPC</a:t>
            </a:r>
            <a:r>
              <a:rPr lang="en-US" sz="2000" b="1" dirty="0" smtClean="0"/>
              <a:t>)</a:t>
            </a:r>
            <a:r>
              <a:rPr lang="en-US" sz="2000" dirty="0" smtClean="0"/>
              <a:t> 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336260" y="2157239"/>
            <a:ext cx="417001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 smtClean="0"/>
              <a:t>Data Encryption (per tenant key management)</a:t>
            </a:r>
            <a:endParaRPr lang="en-US" sz="2000" dirty="0" smtClean="0"/>
          </a:p>
        </p:txBody>
      </p:sp>
      <p:sp>
        <p:nvSpPr>
          <p:cNvPr id="19" name="Rectangle 18"/>
          <p:cNvSpPr/>
          <p:nvPr/>
        </p:nvSpPr>
        <p:spPr>
          <a:xfrm>
            <a:off x="3766930" y="3162195"/>
            <a:ext cx="382921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 smtClean="0"/>
              <a:t>Controlled and coordinated Change Management</a:t>
            </a:r>
            <a:r>
              <a:rPr lang="en-US" sz="2000" dirty="0" smtClean="0"/>
              <a:t> </a:t>
            </a:r>
          </a:p>
        </p:txBody>
      </p:sp>
      <p:sp>
        <p:nvSpPr>
          <p:cNvPr id="20" name="Rectangle 19"/>
          <p:cNvSpPr/>
          <p:nvPr/>
        </p:nvSpPr>
        <p:spPr>
          <a:xfrm>
            <a:off x="0" y="4086755"/>
            <a:ext cx="30480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 smtClean="0"/>
              <a:t>Transparency/Audit-ability of Administrative Access</a:t>
            </a:r>
            <a:endParaRPr lang="en-US" sz="2000" dirty="0" smtClean="0"/>
          </a:p>
        </p:txBody>
      </p:sp>
      <p:sp>
        <p:nvSpPr>
          <p:cNvPr id="21" name="Rectangle 20"/>
          <p:cNvSpPr/>
          <p:nvPr/>
        </p:nvSpPr>
        <p:spPr>
          <a:xfrm>
            <a:off x="5383917" y="5128154"/>
            <a:ext cx="25298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 smtClean="0"/>
              <a:t>Regular Third Party Assessment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1060" name="Rectangle 36"/>
          <p:cNvSpPr>
            <a:spLocks noGrp="1" noChangeArrowheads="1"/>
          </p:cNvSpPr>
          <p:nvPr>
            <p:ph type="title"/>
          </p:nvPr>
        </p:nvSpPr>
        <p:spPr>
          <a:xfrm>
            <a:off x="793750" y="76200"/>
            <a:ext cx="7802563" cy="838200"/>
          </a:xfrm>
        </p:spPr>
        <p:txBody>
          <a:bodyPr/>
          <a:lstStyle/>
          <a:p>
            <a:r>
              <a:rPr lang="en-US" dirty="0" smtClean="0"/>
              <a:t>Cloud Top 10 Project: Motivation</a:t>
            </a:r>
            <a:endParaRPr lang="en-US" dirty="0"/>
          </a:p>
        </p:txBody>
      </p:sp>
      <p:pic>
        <p:nvPicPr>
          <p:cNvPr id="1027" name="Picture 3" descr="C:\Documents and Settings\ptelang\Local Settings\Temporary Internet Files\Content.IE5\CPQ7WT6F\MC900439824[1]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00979" y="1535073"/>
            <a:ext cx="1771421" cy="1771421"/>
          </a:xfrm>
          <a:prstGeom prst="rect">
            <a:avLst/>
          </a:prstGeom>
          <a:noFill/>
        </p:spPr>
      </p:pic>
      <p:sp>
        <p:nvSpPr>
          <p:cNvPr id="6" name="TextBox 5"/>
          <p:cNvSpPr txBox="1"/>
          <p:nvPr/>
        </p:nvSpPr>
        <p:spPr>
          <a:xfrm>
            <a:off x="4806147" y="3331406"/>
            <a:ext cx="402162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Serve as a quick list of top risks with cloud adoption</a:t>
            </a:r>
            <a:endParaRPr lang="en-US" sz="2400" dirty="0"/>
          </a:p>
        </p:txBody>
      </p:sp>
      <p:pic>
        <p:nvPicPr>
          <p:cNvPr id="1030" name="Picture 6" descr="C:\Documents and Settings\ptelang\Local Settings\Temporary Internet Files\Content.IE5\JQK7VH0L\dglxasset[1].aspx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18157" y="974750"/>
            <a:ext cx="1707185" cy="1182319"/>
          </a:xfrm>
          <a:prstGeom prst="rect">
            <a:avLst/>
          </a:prstGeom>
          <a:noFill/>
        </p:spPr>
      </p:pic>
      <p:sp>
        <p:nvSpPr>
          <p:cNvPr id="10" name="TextBox 9"/>
          <p:cNvSpPr txBox="1"/>
          <p:nvPr/>
        </p:nvSpPr>
        <p:spPr>
          <a:xfrm>
            <a:off x="660867" y="2397957"/>
            <a:ext cx="4021623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Develop and maintain Top 10 security “Risks” with Cloud models similar to </a:t>
            </a:r>
          </a:p>
          <a:p>
            <a:r>
              <a:rPr lang="en-US" sz="2000" dirty="0" smtClean="0"/>
              <a:t>“OWASP  Top 10 Web Application Security Risks”</a:t>
            </a:r>
            <a:endParaRPr lang="en-US" sz="2000" dirty="0"/>
          </a:p>
        </p:txBody>
      </p:sp>
      <p:pic>
        <p:nvPicPr>
          <p:cNvPr id="1031" name="Picture 7" descr="C:\Documents and Settings\ptelang\Local Settings\Temporary Internet Files\Content.IE5\QN87B4HS\dglxasset[2].aspx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916021" y="3980383"/>
            <a:ext cx="1456457" cy="1345997"/>
          </a:xfrm>
          <a:prstGeom prst="rect">
            <a:avLst/>
          </a:prstGeom>
          <a:noFill/>
        </p:spPr>
      </p:pic>
      <p:sp>
        <p:nvSpPr>
          <p:cNvPr id="12" name="Rectangle 11"/>
          <p:cNvSpPr/>
          <p:nvPr/>
        </p:nvSpPr>
        <p:spPr>
          <a:xfrm>
            <a:off x="1474470" y="5519315"/>
            <a:ext cx="584073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2400" dirty="0" smtClean="0"/>
              <a:t>Provide guidelines on mitigating the risks</a:t>
            </a:r>
            <a:endParaRPr lang="en-US" sz="24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8" name="Rectangle 8"/>
          <p:cNvSpPr>
            <a:spLocks noGrp="1" noChangeArrowheads="1"/>
          </p:cNvSpPr>
          <p:nvPr>
            <p:ph type="title"/>
          </p:nvPr>
        </p:nvSpPr>
        <p:spPr>
          <a:xfrm>
            <a:off x="0" y="304800"/>
            <a:ext cx="9144000" cy="428625"/>
          </a:xfrm>
        </p:spPr>
        <p:txBody>
          <a:bodyPr/>
          <a:lstStyle/>
          <a:p>
            <a:pPr eaLnBrk="1" hangingPunct="1"/>
            <a:r>
              <a:rPr lang="en-US" sz="2800" dirty="0" err="1" smtClean="0">
                <a:solidFill>
                  <a:schemeClr val="tx1"/>
                </a:solidFill>
                <a:ea typeface="ＭＳ Ｐゴシック" charset="-128"/>
              </a:rPr>
              <a:t>R8</a:t>
            </a:r>
            <a:r>
              <a:rPr lang="en-US" sz="2800" dirty="0" smtClean="0">
                <a:solidFill>
                  <a:schemeClr val="tx1"/>
                </a:solidFill>
                <a:ea typeface="ＭＳ Ｐゴシック" charset="-128"/>
              </a:rPr>
              <a:t>: Risk: Incidence Analysis &amp; Forensic Support</a:t>
            </a:r>
            <a:endParaRPr lang="en-US" sz="2800" dirty="0" smtClean="0">
              <a:solidFill>
                <a:schemeClr val="tx1"/>
              </a:solidFill>
            </a:endParaRPr>
          </a:p>
        </p:txBody>
      </p:sp>
      <p:sp>
        <p:nvSpPr>
          <p:cNvPr id="5146" name="Text Box 294"/>
          <p:cNvSpPr txBox="1">
            <a:spLocks noChangeArrowheads="1"/>
          </p:cNvSpPr>
          <p:nvPr/>
        </p:nvSpPr>
        <p:spPr bwMode="auto">
          <a:xfrm>
            <a:off x="6035675" y="2334491"/>
            <a:ext cx="5683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>
              <a:buClrTx/>
              <a:buSzTx/>
              <a:buFontTx/>
              <a:buNone/>
            </a:pPr>
            <a:r>
              <a:rPr lang="en-US" sz="1400" b="1" dirty="0">
                <a:solidFill>
                  <a:schemeClr val="bg1"/>
                </a:solidFill>
              </a:rPr>
              <a:t>Key:</a:t>
            </a:r>
          </a:p>
        </p:txBody>
      </p:sp>
      <p:sp>
        <p:nvSpPr>
          <p:cNvPr id="287" name="Rectangle 44"/>
          <p:cNvSpPr>
            <a:spLocks noChangeArrowheads="1"/>
          </p:cNvSpPr>
          <p:nvPr/>
        </p:nvSpPr>
        <p:spPr bwMode="auto">
          <a:xfrm>
            <a:off x="322701" y="2581972"/>
            <a:ext cx="917623" cy="491131"/>
          </a:xfrm>
          <a:prstGeom prst="rect">
            <a:avLst/>
          </a:prstGeom>
          <a:solidFill>
            <a:srgbClr val="3366FF"/>
          </a:solidFill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b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anchor="ctr">
            <a:flatTx/>
          </a:bodyPr>
          <a:lstStyle/>
          <a:p>
            <a:pPr algn="ctr" eaLnBrk="1" hangingPunct="1">
              <a:lnSpc>
                <a:spcPct val="100000"/>
              </a:lnSpc>
              <a:defRPr/>
            </a:pPr>
            <a:r>
              <a:rPr lang="en-US" sz="1200" dirty="0" smtClean="0">
                <a:solidFill>
                  <a:schemeClr val="bg1"/>
                </a:solidFill>
                <a:cs typeface="Times New Roman" pitchFamily="18" charset="0"/>
              </a:rPr>
              <a:t>End Users</a:t>
            </a:r>
            <a:endParaRPr lang="en-US" sz="1200" dirty="0">
              <a:solidFill>
                <a:schemeClr val="bg1"/>
              </a:solidFill>
              <a:cs typeface="Times New Roman" pitchFamily="18" charset="0"/>
            </a:endParaRPr>
          </a:p>
        </p:txBody>
      </p:sp>
      <p:sp>
        <p:nvSpPr>
          <p:cNvPr id="290" name="Line 54"/>
          <p:cNvSpPr>
            <a:spLocks noChangeShapeType="1"/>
          </p:cNvSpPr>
          <p:nvPr/>
        </p:nvSpPr>
        <p:spPr bwMode="auto">
          <a:xfrm>
            <a:off x="1225163" y="2857293"/>
            <a:ext cx="717550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 type="triangle"/>
            <a:tailEnd type="triangle" w="med" len="med"/>
          </a:ln>
        </p:spPr>
        <p:txBody>
          <a:bodyPr lIns="82124" tIns="41061" rIns="82124" bIns="41061"/>
          <a:lstStyle/>
          <a:p>
            <a:endParaRPr lang="en-US"/>
          </a:p>
        </p:txBody>
      </p:sp>
      <p:sp>
        <p:nvSpPr>
          <p:cNvPr id="292" name="Rectangle 57"/>
          <p:cNvSpPr>
            <a:spLocks noChangeArrowheads="1"/>
          </p:cNvSpPr>
          <p:nvPr/>
        </p:nvSpPr>
        <p:spPr bwMode="auto">
          <a:xfrm>
            <a:off x="1926324" y="2715491"/>
            <a:ext cx="1306512" cy="374650"/>
          </a:xfrm>
          <a:prstGeom prst="rect">
            <a:avLst/>
          </a:prstGeom>
          <a:solidFill>
            <a:srgbClr val="33CCCC"/>
          </a:solidFill>
          <a:ln w="9525">
            <a:noFill/>
            <a:miter lim="800000"/>
            <a:headEnd/>
            <a:tailEnd/>
          </a:ln>
          <a:effectLst/>
          <a:scene3d>
            <a:camera prst="legacyObliqueTopRight"/>
            <a:lightRig rig="legacyFlat3" dir="b"/>
          </a:scene3d>
          <a:sp3d extrusionH="430200" prstMaterial="legacyMatte">
            <a:bevelT w="13500" h="13500" prst="angle"/>
            <a:bevelB w="13500" h="13500" prst="angle"/>
            <a:extrusionClr>
              <a:srgbClr val="33CCCC"/>
            </a:extrusionClr>
          </a:sp3d>
        </p:spPr>
        <p:txBody>
          <a:bodyPr anchor="ctr">
            <a:flatTx/>
          </a:bodyPr>
          <a:lstStyle/>
          <a:p>
            <a:pPr algn="ctr" eaLnBrk="1" hangingPunct="1">
              <a:lnSpc>
                <a:spcPct val="100000"/>
              </a:lnSpc>
              <a:defRPr/>
            </a:pPr>
            <a:r>
              <a:rPr lang="en-US" sz="1600" dirty="0" smtClean="0">
                <a:solidFill>
                  <a:schemeClr val="bg1"/>
                </a:solidFill>
                <a:cs typeface="Times New Roman" pitchFamily="18" charset="0"/>
              </a:rPr>
              <a:t>Cloud Broker</a:t>
            </a:r>
            <a:endParaRPr lang="en-US" sz="1600" dirty="0">
              <a:solidFill>
                <a:schemeClr val="bg1"/>
              </a:solidFill>
              <a:cs typeface="Times New Roman" pitchFamily="18" charset="0"/>
            </a:endParaRPr>
          </a:p>
        </p:txBody>
      </p:sp>
      <p:sp>
        <p:nvSpPr>
          <p:cNvPr id="293" name="Rectangle 61"/>
          <p:cNvSpPr>
            <a:spLocks noChangeArrowheads="1"/>
          </p:cNvSpPr>
          <p:nvPr/>
        </p:nvSpPr>
        <p:spPr bwMode="auto">
          <a:xfrm>
            <a:off x="152400" y="4372383"/>
            <a:ext cx="8915400" cy="1908372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82124" tIns="41061" rIns="82124" bIns="41061" anchorCtr="1"/>
          <a:lstStyle/>
          <a:p>
            <a:pPr algn="ctr" defTabSz="814388"/>
            <a:r>
              <a:rPr lang="en-US" sz="1400" dirty="0">
                <a:cs typeface="Arial" charset="0"/>
              </a:rPr>
              <a:t>Public Cloud</a:t>
            </a:r>
          </a:p>
        </p:txBody>
      </p:sp>
      <p:sp>
        <p:nvSpPr>
          <p:cNvPr id="295" name="Rectangle 44"/>
          <p:cNvSpPr>
            <a:spLocks noChangeArrowheads="1"/>
          </p:cNvSpPr>
          <p:nvPr/>
        </p:nvSpPr>
        <p:spPr bwMode="auto">
          <a:xfrm>
            <a:off x="7686392" y="2674749"/>
            <a:ext cx="1152603" cy="421741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b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anchor="ctr">
            <a:flatTx/>
          </a:bodyPr>
          <a:lstStyle/>
          <a:p>
            <a:pPr algn="ctr" eaLnBrk="1" hangingPunct="1">
              <a:lnSpc>
                <a:spcPct val="100000"/>
              </a:lnSpc>
              <a:defRPr/>
            </a:pPr>
            <a:r>
              <a:rPr lang="en-US" sz="1200" dirty="0">
                <a:solidFill>
                  <a:schemeClr val="bg1"/>
                </a:solidFill>
                <a:cs typeface="Times New Roman" pitchFamily="18" charset="0"/>
              </a:rPr>
              <a:t>Internal </a:t>
            </a:r>
            <a:endParaRPr lang="en-US" sz="1200" dirty="0" smtClean="0">
              <a:solidFill>
                <a:schemeClr val="bg1"/>
              </a:solidFill>
              <a:cs typeface="Times New Roman" pitchFamily="18" charset="0"/>
            </a:endParaRPr>
          </a:p>
          <a:p>
            <a:pPr algn="ctr" eaLnBrk="1" hangingPunct="1">
              <a:lnSpc>
                <a:spcPct val="100000"/>
              </a:lnSpc>
              <a:defRPr/>
            </a:pPr>
            <a:r>
              <a:rPr lang="en-US" sz="1200" dirty="0" smtClean="0">
                <a:solidFill>
                  <a:schemeClr val="bg1"/>
                </a:solidFill>
                <a:cs typeface="Times New Roman" pitchFamily="18" charset="0"/>
              </a:rPr>
              <a:t>Databases</a:t>
            </a:r>
            <a:endParaRPr lang="en-US" sz="1200" dirty="0">
              <a:solidFill>
                <a:schemeClr val="bg1"/>
              </a:solidFill>
              <a:cs typeface="Times New Roman" pitchFamily="18" charset="0"/>
            </a:endParaRPr>
          </a:p>
        </p:txBody>
      </p:sp>
      <p:sp>
        <p:nvSpPr>
          <p:cNvPr id="298" name="Line 54"/>
          <p:cNvSpPr>
            <a:spLocks noChangeShapeType="1"/>
          </p:cNvSpPr>
          <p:nvPr/>
        </p:nvSpPr>
        <p:spPr bwMode="auto">
          <a:xfrm>
            <a:off x="7116024" y="2837714"/>
            <a:ext cx="579422" cy="18106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 type="triangle"/>
            <a:tailEnd type="triangle" w="med" len="med"/>
          </a:ln>
        </p:spPr>
        <p:txBody>
          <a:bodyPr lIns="82124" tIns="41061" rIns="82124" bIns="41061"/>
          <a:lstStyle/>
          <a:p>
            <a:endParaRPr lang="en-US"/>
          </a:p>
        </p:txBody>
      </p:sp>
      <p:sp>
        <p:nvSpPr>
          <p:cNvPr id="300" name="Rectangle 57"/>
          <p:cNvSpPr>
            <a:spLocks noChangeArrowheads="1"/>
          </p:cNvSpPr>
          <p:nvPr/>
        </p:nvSpPr>
        <p:spPr bwMode="auto">
          <a:xfrm>
            <a:off x="5632622" y="2764532"/>
            <a:ext cx="1328737" cy="344488"/>
          </a:xfrm>
          <a:prstGeom prst="rect">
            <a:avLst/>
          </a:prstGeom>
          <a:solidFill>
            <a:srgbClr val="33CCCC"/>
          </a:solidFill>
          <a:ln w="9525">
            <a:noFill/>
            <a:miter lim="800000"/>
            <a:headEnd/>
            <a:tailEnd/>
          </a:ln>
          <a:effectLst/>
          <a:scene3d>
            <a:camera prst="legacyObliqueTopRight"/>
            <a:lightRig rig="legacyFlat3" dir="b"/>
          </a:scene3d>
          <a:sp3d extrusionH="430200" prstMaterial="legacyMatte">
            <a:bevelT w="13500" h="13500" prst="angle"/>
            <a:bevelB w="13500" h="13500" prst="angle"/>
            <a:extrusionClr>
              <a:srgbClr val="33CCCC"/>
            </a:extrusionClr>
          </a:sp3d>
        </p:spPr>
        <p:txBody>
          <a:bodyPr anchor="ctr">
            <a:flatTx/>
          </a:bodyPr>
          <a:lstStyle/>
          <a:p>
            <a:pPr algn="ctr" eaLnBrk="1" hangingPunct="1">
              <a:lnSpc>
                <a:spcPct val="100000"/>
              </a:lnSpc>
              <a:defRPr/>
            </a:pPr>
            <a:r>
              <a:rPr lang="en-US" sz="1600" dirty="0" smtClean="0">
                <a:solidFill>
                  <a:schemeClr val="bg1"/>
                </a:solidFill>
                <a:cs typeface="Times New Roman" pitchFamily="18" charset="0"/>
              </a:rPr>
              <a:t>Cloud Broker</a:t>
            </a:r>
            <a:endParaRPr lang="en-US" sz="1600" dirty="0">
              <a:solidFill>
                <a:schemeClr val="bg1"/>
              </a:solidFill>
              <a:cs typeface="Times New Roman" pitchFamily="18" charset="0"/>
            </a:endParaRPr>
          </a:p>
        </p:txBody>
      </p:sp>
      <p:sp>
        <p:nvSpPr>
          <p:cNvPr id="301" name="Rectangle 60"/>
          <p:cNvSpPr>
            <a:spLocks noChangeArrowheads="1"/>
          </p:cNvSpPr>
          <p:nvPr/>
        </p:nvSpPr>
        <p:spPr bwMode="auto">
          <a:xfrm>
            <a:off x="5257800" y="2286000"/>
            <a:ext cx="3733800" cy="1202604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82124" tIns="41061" rIns="82124" bIns="41061" anchorCtr="1"/>
          <a:lstStyle/>
          <a:p>
            <a:pPr algn="ctr" defTabSz="814388"/>
            <a:r>
              <a:rPr lang="en-US" sz="1400">
                <a:cs typeface="Arial" charset="0"/>
              </a:rPr>
              <a:t>Private Cloud / Internal Data Center</a:t>
            </a:r>
          </a:p>
        </p:txBody>
      </p:sp>
      <p:sp>
        <p:nvSpPr>
          <p:cNvPr id="302" name="Rectangle 17"/>
          <p:cNvSpPr>
            <a:spLocks noChangeArrowheads="1"/>
          </p:cNvSpPr>
          <p:nvPr/>
        </p:nvSpPr>
        <p:spPr bwMode="auto">
          <a:xfrm>
            <a:off x="2074257" y="5675201"/>
            <a:ext cx="1364857" cy="28929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b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anchor="ctr">
            <a:flatTx/>
          </a:bodyPr>
          <a:lstStyle/>
          <a:p>
            <a:pPr algn="ctr" eaLnBrk="1" hangingPunct="1">
              <a:lnSpc>
                <a:spcPct val="100000"/>
              </a:lnSpc>
              <a:defRPr/>
            </a:pPr>
            <a:r>
              <a:rPr lang="en-US" sz="1100" dirty="0" smtClean="0">
                <a:solidFill>
                  <a:schemeClr val="bg1"/>
                </a:solidFill>
                <a:cs typeface="Times New Roman" pitchFamily="18" charset="0"/>
              </a:rPr>
              <a:t>Service / App 2</a:t>
            </a:r>
            <a:endParaRPr lang="en-US" sz="1100" dirty="0">
              <a:solidFill>
                <a:schemeClr val="bg1"/>
              </a:solidFill>
              <a:cs typeface="Times New Roman" pitchFamily="18" charset="0"/>
            </a:endParaRPr>
          </a:p>
        </p:txBody>
      </p:sp>
      <p:sp>
        <p:nvSpPr>
          <p:cNvPr id="303" name="Rectangle 17"/>
          <p:cNvSpPr>
            <a:spLocks noChangeArrowheads="1"/>
          </p:cNvSpPr>
          <p:nvPr/>
        </p:nvSpPr>
        <p:spPr bwMode="auto">
          <a:xfrm>
            <a:off x="436295" y="5691385"/>
            <a:ext cx="1368228" cy="265014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b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anchor="ctr">
            <a:flatTx/>
          </a:bodyPr>
          <a:lstStyle/>
          <a:p>
            <a:pPr algn="ctr" eaLnBrk="1" hangingPunct="1">
              <a:lnSpc>
                <a:spcPct val="100000"/>
              </a:lnSpc>
              <a:defRPr/>
            </a:pPr>
            <a:r>
              <a:rPr lang="en-US" sz="1100" dirty="0" smtClean="0">
                <a:solidFill>
                  <a:schemeClr val="bg1"/>
                </a:solidFill>
                <a:cs typeface="Times New Roman" pitchFamily="18" charset="0"/>
              </a:rPr>
              <a:t>Service / App </a:t>
            </a:r>
            <a:r>
              <a:rPr lang="en-US" sz="1100" dirty="0">
                <a:solidFill>
                  <a:schemeClr val="bg1"/>
                </a:solidFill>
                <a:cs typeface="Times New Roman" pitchFamily="18" charset="0"/>
              </a:rPr>
              <a:t>1</a:t>
            </a:r>
          </a:p>
        </p:txBody>
      </p:sp>
      <p:sp>
        <p:nvSpPr>
          <p:cNvPr id="307" name="Rectangle 17"/>
          <p:cNvSpPr>
            <a:spLocks noChangeArrowheads="1"/>
          </p:cNvSpPr>
          <p:nvPr/>
        </p:nvSpPr>
        <p:spPr bwMode="auto">
          <a:xfrm>
            <a:off x="6177770" y="5658973"/>
            <a:ext cx="1215044" cy="29510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b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anchor="ctr">
            <a:flatTx/>
          </a:bodyPr>
          <a:lstStyle/>
          <a:p>
            <a:pPr algn="ctr" eaLnBrk="1" hangingPunct="1">
              <a:lnSpc>
                <a:spcPct val="100000"/>
              </a:lnSpc>
              <a:defRPr/>
            </a:pPr>
            <a:r>
              <a:rPr lang="en-US" sz="1100" dirty="0" smtClean="0">
                <a:solidFill>
                  <a:schemeClr val="bg1"/>
                </a:solidFill>
                <a:cs typeface="Times New Roman" pitchFamily="18" charset="0"/>
              </a:rPr>
              <a:t>Service / App </a:t>
            </a:r>
            <a:r>
              <a:rPr lang="en-US" sz="1100" dirty="0">
                <a:solidFill>
                  <a:schemeClr val="bg1"/>
                </a:solidFill>
                <a:cs typeface="Times New Roman" pitchFamily="18" charset="0"/>
              </a:rPr>
              <a:t>5</a:t>
            </a:r>
          </a:p>
        </p:txBody>
      </p:sp>
      <p:sp>
        <p:nvSpPr>
          <p:cNvPr id="308" name="Line 23"/>
          <p:cNvSpPr>
            <a:spLocks noChangeShapeType="1"/>
          </p:cNvSpPr>
          <p:nvPr/>
        </p:nvSpPr>
        <p:spPr bwMode="auto">
          <a:xfrm flipV="1">
            <a:off x="1676400" y="3495990"/>
            <a:ext cx="6127" cy="875991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 type="triangle"/>
            <a:tailEnd type="triangle" w="med" len="med"/>
          </a:ln>
        </p:spPr>
        <p:txBody>
          <a:bodyPr lIns="82124" tIns="41061" rIns="82124" bIns="41061"/>
          <a:lstStyle/>
          <a:p>
            <a:endParaRPr lang="en-US"/>
          </a:p>
        </p:txBody>
      </p:sp>
      <p:sp>
        <p:nvSpPr>
          <p:cNvPr id="315" name="Rectangle 17"/>
          <p:cNvSpPr>
            <a:spLocks noChangeArrowheads="1"/>
          </p:cNvSpPr>
          <p:nvPr/>
        </p:nvSpPr>
        <p:spPr bwMode="auto">
          <a:xfrm>
            <a:off x="7546570" y="5662180"/>
            <a:ext cx="1256607" cy="29510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b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anchor="ctr">
            <a:flatTx/>
          </a:bodyPr>
          <a:lstStyle/>
          <a:p>
            <a:pPr algn="ctr" eaLnBrk="1" hangingPunct="1">
              <a:lnSpc>
                <a:spcPct val="100000"/>
              </a:lnSpc>
              <a:defRPr/>
            </a:pPr>
            <a:r>
              <a:rPr lang="en-US" sz="1050" dirty="0" smtClean="0">
                <a:solidFill>
                  <a:schemeClr val="bg1"/>
                </a:solidFill>
                <a:cs typeface="Times New Roman" pitchFamily="18" charset="0"/>
              </a:rPr>
              <a:t>Service / App </a:t>
            </a:r>
            <a:r>
              <a:rPr lang="en-US" sz="1050" dirty="0">
                <a:solidFill>
                  <a:schemeClr val="bg1"/>
                </a:solidFill>
                <a:cs typeface="Times New Roman" pitchFamily="18" charset="0"/>
              </a:rPr>
              <a:t>6</a:t>
            </a:r>
            <a:endParaRPr lang="en-US" sz="1400" dirty="0">
              <a:solidFill>
                <a:schemeClr val="bg1"/>
              </a:solidFill>
              <a:cs typeface="Times New Roman" pitchFamily="18" charset="0"/>
            </a:endParaRPr>
          </a:p>
        </p:txBody>
      </p:sp>
      <p:sp>
        <p:nvSpPr>
          <p:cNvPr id="317" name="Rectangle 60"/>
          <p:cNvSpPr>
            <a:spLocks noChangeArrowheads="1"/>
          </p:cNvSpPr>
          <p:nvPr/>
        </p:nvSpPr>
        <p:spPr bwMode="auto">
          <a:xfrm>
            <a:off x="120072" y="2286000"/>
            <a:ext cx="3556001" cy="1191491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82124" tIns="41061" rIns="82124" bIns="41061" anchorCtr="1"/>
          <a:lstStyle/>
          <a:p>
            <a:pPr algn="ctr" defTabSz="814388"/>
            <a:r>
              <a:rPr lang="en-US" sz="1400" dirty="0" smtClean="0">
                <a:cs typeface="Arial" charset="0"/>
              </a:rPr>
              <a:t>Branch Office</a:t>
            </a:r>
            <a:endParaRPr lang="en-US" sz="1400" dirty="0">
              <a:cs typeface="Arial" charset="0"/>
            </a:endParaRPr>
          </a:p>
        </p:txBody>
      </p:sp>
      <p:sp>
        <p:nvSpPr>
          <p:cNvPr id="318" name="Rectangle 61"/>
          <p:cNvSpPr>
            <a:spLocks noChangeArrowheads="1"/>
          </p:cNvSpPr>
          <p:nvPr/>
        </p:nvSpPr>
        <p:spPr bwMode="auto">
          <a:xfrm>
            <a:off x="304800" y="4728433"/>
            <a:ext cx="3289426" cy="1399922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none" lIns="82124" tIns="41061" rIns="82124" bIns="41061" anchorCtr="1"/>
          <a:lstStyle/>
          <a:p>
            <a:pPr algn="ctr" defTabSz="814388">
              <a:defRPr/>
            </a:pPr>
            <a:r>
              <a:rPr lang="en-US" sz="1400" dirty="0">
                <a:cs typeface="Arial" charset="0"/>
              </a:rPr>
              <a:t>Cloud Provider 1</a:t>
            </a:r>
          </a:p>
        </p:txBody>
      </p:sp>
      <p:sp>
        <p:nvSpPr>
          <p:cNvPr id="321" name="Rectangle 61"/>
          <p:cNvSpPr>
            <a:spLocks noChangeArrowheads="1"/>
          </p:cNvSpPr>
          <p:nvPr/>
        </p:nvSpPr>
        <p:spPr bwMode="auto">
          <a:xfrm>
            <a:off x="5830432" y="4671789"/>
            <a:ext cx="3084968" cy="1456566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lIns="82124" tIns="41061" rIns="82124" bIns="41061" anchorCtr="1"/>
          <a:lstStyle/>
          <a:p>
            <a:pPr algn="ctr" defTabSz="814388">
              <a:defRPr/>
            </a:pPr>
            <a:r>
              <a:rPr lang="en-US" sz="1400" dirty="0">
                <a:cs typeface="Arial" charset="0"/>
              </a:rPr>
              <a:t>Cloud Provider 2</a:t>
            </a:r>
          </a:p>
        </p:txBody>
      </p:sp>
      <p:sp>
        <p:nvSpPr>
          <p:cNvPr id="334" name="Rectangle 7"/>
          <p:cNvSpPr>
            <a:spLocks noChangeArrowheads="1"/>
          </p:cNvSpPr>
          <p:nvPr/>
        </p:nvSpPr>
        <p:spPr bwMode="auto">
          <a:xfrm>
            <a:off x="6908315" y="5100980"/>
            <a:ext cx="914400" cy="304800"/>
          </a:xfrm>
          <a:prstGeom prst="rect">
            <a:avLst/>
          </a:prstGeom>
          <a:solidFill>
            <a:srgbClr val="7030A0"/>
          </a:solidFill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b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anchor="ctr">
            <a:flatTx/>
          </a:bodyPr>
          <a:lstStyle/>
          <a:p>
            <a:pPr algn="ctr" eaLnBrk="1" hangingPunct="1">
              <a:lnSpc>
                <a:spcPct val="100000"/>
              </a:lnSpc>
              <a:defRPr/>
            </a:pPr>
            <a:r>
              <a:rPr lang="en-US" sz="1050" dirty="0" smtClean="0">
                <a:solidFill>
                  <a:schemeClr val="bg1"/>
                </a:solidFill>
                <a:cs typeface="Times New Roman" pitchFamily="18" charset="0"/>
              </a:rPr>
              <a:t>Proxy</a:t>
            </a:r>
            <a:endParaRPr lang="en-US" sz="1050" dirty="0">
              <a:solidFill>
                <a:schemeClr val="bg1"/>
              </a:solidFill>
              <a:cs typeface="Times New Roman" pitchFamily="18" charset="0"/>
            </a:endParaRPr>
          </a:p>
        </p:txBody>
      </p:sp>
      <p:sp>
        <p:nvSpPr>
          <p:cNvPr id="336" name="Rectangle 7"/>
          <p:cNvSpPr>
            <a:spLocks noChangeArrowheads="1"/>
          </p:cNvSpPr>
          <p:nvPr/>
        </p:nvSpPr>
        <p:spPr bwMode="auto">
          <a:xfrm>
            <a:off x="1512536" y="5089202"/>
            <a:ext cx="914400" cy="304800"/>
          </a:xfrm>
          <a:prstGeom prst="rect">
            <a:avLst/>
          </a:prstGeom>
          <a:solidFill>
            <a:srgbClr val="7030A0"/>
          </a:solidFill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b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anchor="ctr">
            <a:flatTx/>
          </a:bodyPr>
          <a:lstStyle/>
          <a:p>
            <a:pPr algn="ctr" eaLnBrk="1" hangingPunct="1">
              <a:lnSpc>
                <a:spcPct val="100000"/>
              </a:lnSpc>
              <a:defRPr/>
            </a:pPr>
            <a:r>
              <a:rPr lang="en-US" sz="1050" dirty="0" smtClean="0">
                <a:solidFill>
                  <a:schemeClr val="bg1"/>
                </a:solidFill>
                <a:cs typeface="Times New Roman" pitchFamily="18" charset="0"/>
              </a:rPr>
              <a:t>Proxy </a:t>
            </a:r>
            <a:endParaRPr lang="en-US" sz="1050" dirty="0">
              <a:solidFill>
                <a:schemeClr val="bg1"/>
              </a:solidFill>
              <a:cs typeface="Times New Roman" pitchFamily="18" charset="0"/>
            </a:endParaRPr>
          </a:p>
        </p:txBody>
      </p:sp>
      <p:sp>
        <p:nvSpPr>
          <p:cNvPr id="345" name="Line 23"/>
          <p:cNvSpPr>
            <a:spLocks noChangeShapeType="1"/>
          </p:cNvSpPr>
          <p:nvPr/>
        </p:nvSpPr>
        <p:spPr bwMode="auto">
          <a:xfrm flipH="1">
            <a:off x="1100514" y="5391979"/>
            <a:ext cx="801113" cy="250853"/>
          </a:xfrm>
          <a:prstGeom prst="line">
            <a:avLst/>
          </a:prstGeom>
          <a:ln>
            <a:headEnd/>
            <a:tailEnd type="triangle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  <p:txBody>
          <a:bodyPr lIns="82124" tIns="41061" rIns="82124" bIns="41061"/>
          <a:lstStyle/>
          <a:p>
            <a:pPr>
              <a:defRPr/>
            </a:pPr>
            <a:endParaRPr lang="en-US"/>
          </a:p>
        </p:txBody>
      </p:sp>
      <p:sp>
        <p:nvSpPr>
          <p:cNvPr id="346" name="Line 23"/>
          <p:cNvSpPr>
            <a:spLocks noChangeShapeType="1"/>
          </p:cNvSpPr>
          <p:nvPr/>
        </p:nvSpPr>
        <p:spPr bwMode="auto">
          <a:xfrm>
            <a:off x="1990641" y="5383887"/>
            <a:ext cx="809203" cy="258945"/>
          </a:xfrm>
          <a:prstGeom prst="line">
            <a:avLst/>
          </a:prstGeom>
          <a:ln>
            <a:headEnd/>
            <a:tailEnd type="triangle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  <p:txBody>
          <a:bodyPr lIns="82124" tIns="41061" rIns="82124" bIns="41061"/>
          <a:lstStyle/>
          <a:p>
            <a:pPr>
              <a:defRPr/>
            </a:pPr>
            <a:endParaRPr lang="en-US"/>
          </a:p>
        </p:txBody>
      </p:sp>
      <p:sp>
        <p:nvSpPr>
          <p:cNvPr id="350" name="Line 23"/>
          <p:cNvSpPr>
            <a:spLocks noChangeShapeType="1"/>
          </p:cNvSpPr>
          <p:nvPr/>
        </p:nvSpPr>
        <p:spPr bwMode="auto">
          <a:xfrm>
            <a:off x="7509408" y="5416256"/>
            <a:ext cx="587187" cy="180083"/>
          </a:xfrm>
          <a:prstGeom prst="line">
            <a:avLst/>
          </a:prstGeom>
          <a:ln>
            <a:headEnd/>
            <a:tailEnd type="triangle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  <p:txBody>
          <a:bodyPr lIns="82124" tIns="41061" rIns="82124" bIns="41061"/>
          <a:lstStyle/>
          <a:p>
            <a:pPr>
              <a:defRPr/>
            </a:pPr>
            <a:endParaRPr lang="en-US"/>
          </a:p>
        </p:txBody>
      </p:sp>
      <p:sp>
        <p:nvSpPr>
          <p:cNvPr id="353" name="Line 23"/>
          <p:cNvSpPr>
            <a:spLocks noChangeShapeType="1"/>
          </p:cNvSpPr>
          <p:nvPr/>
        </p:nvSpPr>
        <p:spPr bwMode="auto">
          <a:xfrm flipH="1">
            <a:off x="6902505" y="5416256"/>
            <a:ext cx="461245" cy="218485"/>
          </a:xfrm>
          <a:prstGeom prst="line">
            <a:avLst/>
          </a:prstGeom>
          <a:ln>
            <a:headEnd/>
            <a:tailEnd type="triangle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  <p:txBody>
          <a:bodyPr lIns="82124" tIns="41061" rIns="82124" bIns="41061"/>
          <a:lstStyle/>
          <a:p>
            <a:pPr>
              <a:defRPr/>
            </a:pPr>
            <a:endParaRPr lang="en-US"/>
          </a:p>
        </p:txBody>
      </p:sp>
      <p:sp>
        <p:nvSpPr>
          <p:cNvPr id="357" name="Rectangle 57"/>
          <p:cNvSpPr>
            <a:spLocks noChangeArrowheads="1"/>
          </p:cNvSpPr>
          <p:nvPr/>
        </p:nvSpPr>
        <p:spPr bwMode="auto">
          <a:xfrm>
            <a:off x="4014249" y="5340171"/>
            <a:ext cx="1306512" cy="374650"/>
          </a:xfrm>
          <a:prstGeom prst="rect">
            <a:avLst/>
          </a:prstGeom>
          <a:solidFill>
            <a:srgbClr val="33CCCC"/>
          </a:solidFill>
          <a:ln w="9525">
            <a:noFill/>
            <a:miter lim="800000"/>
            <a:headEnd/>
            <a:tailEnd/>
          </a:ln>
          <a:effectLst/>
          <a:scene3d>
            <a:camera prst="legacyObliqueTopRight"/>
            <a:lightRig rig="legacyFlat3" dir="b"/>
          </a:scene3d>
          <a:sp3d extrusionH="430200" prstMaterial="legacyMatte">
            <a:bevelT w="13500" h="13500" prst="angle"/>
            <a:bevelB w="13500" h="13500" prst="angle"/>
            <a:extrusionClr>
              <a:srgbClr val="33CCCC"/>
            </a:extrusionClr>
          </a:sp3d>
        </p:spPr>
        <p:txBody>
          <a:bodyPr anchor="ctr">
            <a:flatTx/>
          </a:bodyPr>
          <a:lstStyle/>
          <a:p>
            <a:pPr algn="ctr" eaLnBrk="1" hangingPunct="1">
              <a:lnSpc>
                <a:spcPct val="100000"/>
              </a:lnSpc>
              <a:defRPr/>
            </a:pPr>
            <a:r>
              <a:rPr lang="en-US" sz="1600" dirty="0" smtClean="0">
                <a:solidFill>
                  <a:schemeClr val="bg1"/>
                </a:solidFill>
                <a:cs typeface="Times New Roman" pitchFamily="18" charset="0"/>
              </a:rPr>
              <a:t>Cloud Broker</a:t>
            </a:r>
            <a:endParaRPr lang="en-US" sz="1600" dirty="0">
              <a:solidFill>
                <a:schemeClr val="bg1"/>
              </a:solidFill>
              <a:cs typeface="Times New Roman" pitchFamily="18" charset="0"/>
            </a:endParaRPr>
          </a:p>
        </p:txBody>
      </p:sp>
      <p:sp>
        <p:nvSpPr>
          <p:cNvPr id="358" name="Line 23"/>
          <p:cNvSpPr>
            <a:spLocks noChangeShapeType="1"/>
          </p:cNvSpPr>
          <p:nvPr/>
        </p:nvSpPr>
        <p:spPr bwMode="auto">
          <a:xfrm flipV="1">
            <a:off x="3576119" y="5485558"/>
            <a:ext cx="443619" cy="9053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 type="triangle"/>
            <a:tailEnd type="triangle" w="med" len="med"/>
          </a:ln>
        </p:spPr>
        <p:txBody>
          <a:bodyPr lIns="82124" tIns="41061" rIns="82124" bIns="41061"/>
          <a:lstStyle/>
          <a:p>
            <a:endParaRPr lang="en-US"/>
          </a:p>
        </p:txBody>
      </p:sp>
      <p:sp>
        <p:nvSpPr>
          <p:cNvPr id="359" name="Line 23"/>
          <p:cNvSpPr>
            <a:spLocks noChangeShapeType="1"/>
          </p:cNvSpPr>
          <p:nvPr/>
        </p:nvSpPr>
        <p:spPr bwMode="auto">
          <a:xfrm flipV="1">
            <a:off x="7314780" y="3495991"/>
            <a:ext cx="420" cy="892405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 type="triangle"/>
            <a:tailEnd type="triangle" w="med" len="med"/>
          </a:ln>
        </p:spPr>
        <p:txBody>
          <a:bodyPr lIns="82124" tIns="41061" rIns="82124" bIns="41061"/>
          <a:lstStyle/>
          <a:p>
            <a:endParaRPr lang="en-US"/>
          </a:p>
        </p:txBody>
      </p:sp>
      <p:sp>
        <p:nvSpPr>
          <p:cNvPr id="360" name="Line 23"/>
          <p:cNvSpPr>
            <a:spLocks noChangeShapeType="1"/>
          </p:cNvSpPr>
          <p:nvPr/>
        </p:nvSpPr>
        <p:spPr bwMode="auto">
          <a:xfrm flipV="1">
            <a:off x="5441133" y="5431237"/>
            <a:ext cx="380245" cy="9053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 type="triangle"/>
            <a:tailEnd type="triangle" w="med" len="med"/>
          </a:ln>
        </p:spPr>
        <p:txBody>
          <a:bodyPr lIns="82124" tIns="41061" rIns="82124" bIns="41061"/>
          <a:lstStyle/>
          <a:p>
            <a:endParaRPr lang="en-US"/>
          </a:p>
        </p:txBody>
      </p:sp>
      <p:sp>
        <p:nvSpPr>
          <p:cNvPr id="361" name="TextBox 23"/>
          <p:cNvSpPr txBox="1">
            <a:spLocks noChangeArrowheads="1"/>
          </p:cNvSpPr>
          <p:nvPr/>
        </p:nvSpPr>
        <p:spPr bwMode="auto">
          <a:xfrm flipH="1">
            <a:off x="191223" y="914400"/>
            <a:ext cx="8404168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 eaLnBrk="1" hangingPunct="1">
              <a:lnSpc>
                <a:spcPct val="100000"/>
              </a:lnSpc>
            </a:pPr>
            <a:r>
              <a:rPr lang="en-US" sz="1800" dirty="0" smtClean="0">
                <a:solidFill>
                  <a:srgbClr val="CC3300"/>
                </a:solidFill>
                <a:ea typeface="华文细黑" charset="-122"/>
                <a:sym typeface="Arial" charset="0"/>
              </a:rPr>
              <a:t>Complex integration and dynamics in cloud computing present significant challenges to timely diagnosis and resolution of incidents such as:</a:t>
            </a:r>
          </a:p>
          <a:p>
            <a:pPr lvl="1" algn="l" eaLnBrk="1" hangingPunct="1">
              <a:lnSpc>
                <a:spcPct val="100000"/>
              </a:lnSpc>
              <a:buFont typeface="Arial" pitchFamily="34" charset="0"/>
              <a:buChar char="•"/>
            </a:pPr>
            <a:r>
              <a:rPr lang="en-US" sz="1800" dirty="0" smtClean="0">
                <a:solidFill>
                  <a:srgbClr val="CC3300"/>
                </a:solidFill>
                <a:ea typeface="华文细黑" charset="-122"/>
                <a:sym typeface="Arial" charset="0"/>
              </a:rPr>
              <a:t> Malware detection and </a:t>
            </a:r>
          </a:p>
          <a:p>
            <a:pPr lvl="1" algn="l" eaLnBrk="1" hangingPunct="1">
              <a:lnSpc>
                <a:spcPct val="100000"/>
              </a:lnSpc>
              <a:buFont typeface="Arial" pitchFamily="34" charset="0"/>
              <a:buChar char="•"/>
            </a:pPr>
            <a:r>
              <a:rPr lang="en-US" sz="1800" dirty="0" smtClean="0">
                <a:solidFill>
                  <a:srgbClr val="CC3300"/>
                </a:solidFill>
                <a:ea typeface="华文细黑" charset="-122"/>
                <a:sym typeface="Arial" charset="0"/>
              </a:rPr>
              <a:t> Immediate intrusion response to mitigate the impact</a:t>
            </a:r>
          </a:p>
        </p:txBody>
      </p:sp>
      <p:sp>
        <p:nvSpPr>
          <p:cNvPr id="32" name="TextBox 23"/>
          <p:cNvSpPr txBox="1">
            <a:spLocks noChangeArrowheads="1"/>
          </p:cNvSpPr>
          <p:nvPr/>
        </p:nvSpPr>
        <p:spPr bwMode="auto">
          <a:xfrm flipH="1">
            <a:off x="138542" y="3643225"/>
            <a:ext cx="5865093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 eaLnBrk="1" hangingPunct="1">
              <a:lnSpc>
                <a:spcPct val="100000"/>
              </a:lnSpc>
            </a:pPr>
            <a:r>
              <a:rPr lang="en-US" sz="1800" b="1" dirty="0" smtClean="0">
                <a:solidFill>
                  <a:srgbClr val="CC3300"/>
                </a:solidFill>
                <a:ea typeface="华文细黑" charset="-122"/>
                <a:sym typeface="Arial" charset="0"/>
              </a:rPr>
              <a:t>Implications to Traditional Forensics ? </a:t>
            </a:r>
          </a:p>
          <a:p>
            <a:pPr algn="l" eaLnBrk="1" hangingPunct="1">
              <a:lnSpc>
                <a:spcPct val="100000"/>
              </a:lnSpc>
            </a:pPr>
            <a:r>
              <a:rPr lang="en-US" sz="1600" dirty="0" smtClean="0">
                <a:solidFill>
                  <a:srgbClr val="CC3300"/>
                </a:solidFill>
                <a:ea typeface="华文细黑" charset="-122"/>
                <a:sym typeface="Arial" charset="0"/>
              </a:rPr>
              <a:t>(seizing equipment and analysis on media/data recovered)</a:t>
            </a:r>
          </a:p>
        </p:txBody>
      </p:sp>
      <p:sp>
        <p:nvSpPr>
          <p:cNvPr id="33" name="TextBox 23"/>
          <p:cNvSpPr txBox="1">
            <a:spLocks noChangeArrowheads="1"/>
          </p:cNvSpPr>
          <p:nvPr/>
        </p:nvSpPr>
        <p:spPr bwMode="auto">
          <a:xfrm flipH="1">
            <a:off x="5883563" y="3564716"/>
            <a:ext cx="3126507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 eaLnBrk="1" hangingPunct="1">
              <a:lnSpc>
                <a:spcPct val="100000"/>
              </a:lnSpc>
            </a:pPr>
            <a:r>
              <a:rPr lang="en-US" sz="1800" b="1" dirty="0" smtClean="0">
                <a:solidFill>
                  <a:srgbClr val="CC3300"/>
                </a:solidFill>
                <a:ea typeface="华文细黑" charset="-122"/>
                <a:sym typeface="Arial" charset="0"/>
              </a:rPr>
              <a:t>International differences in relevant regulations …</a:t>
            </a:r>
            <a:endParaRPr lang="en-US" sz="1600" dirty="0" smtClean="0">
              <a:solidFill>
                <a:srgbClr val="CC3300"/>
              </a:solidFill>
              <a:ea typeface="华文细黑" charset="-122"/>
              <a:sym typeface="Arial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rocess 3"/>
          <p:cNvSpPr>
            <a:spLocks noChangeArrowheads="1"/>
          </p:cNvSpPr>
          <p:nvPr/>
        </p:nvSpPr>
        <p:spPr bwMode="auto">
          <a:xfrm>
            <a:off x="53273" y="1066800"/>
            <a:ext cx="9014527" cy="5105400"/>
          </a:xfrm>
          <a:prstGeom prst="flowChartProcess">
            <a:avLst/>
          </a:prstGeom>
          <a:solidFill>
            <a:schemeClr val="bg1">
              <a:alpha val="30196"/>
            </a:schemeClr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eaLnBrk="1" hangingPunct="1">
              <a:lnSpc>
                <a:spcPct val="100000"/>
              </a:lnSpc>
              <a:defRPr/>
            </a:pPr>
            <a:endParaRPr lang="en-US" dirty="0">
              <a:solidFill>
                <a:srgbClr val="FFFFFF"/>
              </a:solidFill>
              <a:latin typeface="Arial"/>
              <a:ea typeface="ＭＳ Ｐゴシック" charset="-128"/>
              <a:cs typeface="ＭＳ Ｐゴシック" charset="-128"/>
              <a:sym typeface="Arial" charset="0"/>
            </a:endParaRPr>
          </a:p>
        </p:txBody>
      </p:sp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0" y="0"/>
            <a:ext cx="9142413" cy="365125"/>
            <a:chOff x="0" y="0"/>
            <a:chExt cx="10237" cy="307"/>
          </a:xfrm>
          <a:solidFill>
            <a:srgbClr val="0070C0"/>
          </a:solidFill>
        </p:grpSpPr>
        <p:sp>
          <p:nvSpPr>
            <p:cNvPr id="8208" name="Rectangle 5"/>
            <p:cNvSpPr>
              <a:spLocks/>
            </p:cNvSpPr>
            <p:nvPr/>
          </p:nvSpPr>
          <p:spPr bwMode="auto">
            <a:xfrm>
              <a:off x="0" y="0"/>
              <a:ext cx="10237" cy="152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algn="l" eaLnBrk="1" hangingPunct="1">
                <a:lnSpc>
                  <a:spcPct val="100000"/>
                </a:lnSpc>
              </a:pPr>
              <a:endParaRPr lang="en-US">
                <a:solidFill>
                  <a:srgbClr val="FFFFFF"/>
                </a:solidFill>
                <a:ea typeface="华文细黑" charset="-122"/>
                <a:sym typeface="Arial" charset="0"/>
              </a:endParaRPr>
            </a:p>
          </p:txBody>
        </p:sp>
        <p:sp>
          <p:nvSpPr>
            <p:cNvPr id="8209" name="Rectangle 6"/>
            <p:cNvSpPr>
              <a:spLocks/>
            </p:cNvSpPr>
            <p:nvPr/>
          </p:nvSpPr>
          <p:spPr bwMode="auto">
            <a:xfrm>
              <a:off x="0" y="0"/>
              <a:ext cx="1" cy="307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1" hangingPunct="1">
                <a:lnSpc>
                  <a:spcPct val="100000"/>
                </a:lnSpc>
              </a:pPr>
              <a:endParaRPr lang="en-US">
                <a:solidFill>
                  <a:srgbClr val="FFFFFF"/>
                </a:solidFill>
                <a:ea typeface="华文细黑" charset="-122"/>
                <a:sym typeface="Arial" charset="0"/>
              </a:endParaRPr>
            </a:p>
          </p:txBody>
        </p:sp>
      </p:grpSp>
      <p:sp>
        <p:nvSpPr>
          <p:cNvPr id="8197" name="Slide Number Placeholder 3"/>
          <p:cNvSpPr txBox="1">
            <a:spLocks noGrp="1"/>
          </p:cNvSpPr>
          <p:nvPr/>
        </p:nvSpPr>
        <p:spPr bwMode="auto">
          <a:xfrm>
            <a:off x="8709025" y="6646863"/>
            <a:ext cx="171450" cy="215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b"/>
          <a:lstStyle/>
          <a:p>
            <a:pPr eaLnBrk="1" hangingPunct="1">
              <a:lnSpc>
                <a:spcPct val="100000"/>
              </a:lnSpc>
            </a:pPr>
            <a:fld id="{D97B8B4C-EE27-4F88-858F-09B8D8E70A9D}" type="slidenum">
              <a:rPr lang="en-US" sz="1000">
                <a:solidFill>
                  <a:srgbClr val="777777"/>
                </a:solidFill>
                <a:ea typeface="华文细黑" charset="-122"/>
                <a:sym typeface="Arial" charset="0"/>
              </a:rPr>
              <a:pPr eaLnBrk="1" hangingPunct="1">
                <a:lnSpc>
                  <a:spcPct val="100000"/>
                </a:lnSpc>
              </a:pPr>
              <a:t>31</a:t>
            </a:fld>
            <a:endParaRPr lang="en-US" sz="1000">
              <a:solidFill>
                <a:srgbClr val="777777"/>
              </a:solidFill>
              <a:ea typeface="华文细黑" charset="-122"/>
              <a:sym typeface="Arial" charset="0"/>
            </a:endParaRPr>
          </a:p>
        </p:txBody>
      </p:sp>
      <p:sp>
        <p:nvSpPr>
          <p:cNvPr id="29" name="Rectangle 9"/>
          <p:cNvSpPr txBox="1">
            <a:spLocks noChangeArrowheads="1"/>
          </p:cNvSpPr>
          <p:nvPr/>
        </p:nvSpPr>
        <p:spPr bwMode="auto">
          <a:xfrm>
            <a:off x="47147" y="228600"/>
            <a:ext cx="9096853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124" tIns="41061" rIns="82124" bIns="41061" anchor="b"/>
          <a:lstStyle/>
          <a:p>
            <a:pPr algn="l" defTabSz="814388" eaLnBrk="1" hangingPunct="1">
              <a:defRPr/>
            </a:pPr>
            <a:r>
              <a:rPr lang="en-US" sz="2800" b="1" kern="0" dirty="0" err="1" smtClean="0">
                <a:latin typeface="+mj-lt"/>
                <a:ea typeface="ＭＳ Ｐゴシック" charset="-128"/>
                <a:cs typeface="ＭＳ Ｐゴシック" charset="-128"/>
              </a:rPr>
              <a:t>R8</a:t>
            </a:r>
            <a:r>
              <a:rPr lang="en-US" sz="2800" b="1" kern="0" dirty="0" smtClean="0">
                <a:latin typeface="+mj-lt"/>
                <a:ea typeface="ＭＳ Ｐゴシック" charset="-128"/>
                <a:cs typeface="ＭＳ Ｐゴシック" charset="-128"/>
              </a:rPr>
              <a:t>: Mitigations: </a:t>
            </a:r>
            <a:r>
              <a:rPr lang="en-US" sz="2800" b="1" dirty="0" smtClean="0">
                <a:latin typeface="+mj-lt"/>
                <a:ea typeface="ＭＳ Ｐゴシック" charset="-128"/>
              </a:rPr>
              <a:t>Incidence Analysis &amp; Forensic Support</a:t>
            </a:r>
            <a:endParaRPr lang="en-US" sz="2800" b="1" kern="0" dirty="0">
              <a:latin typeface="+mj-lt"/>
              <a:ea typeface="ＭＳ Ｐゴシック" charset="-128"/>
              <a:cs typeface="ＭＳ Ｐゴシック" charset="-128"/>
            </a:endParaRPr>
          </a:p>
        </p:txBody>
      </p:sp>
      <p:pic>
        <p:nvPicPr>
          <p:cNvPr id="62468" name="Picture 4" descr="C:\Documents and Settings\shbabu\Local Settings\Temporary Internet Files\Content.IE5\LEJY54DB\MP900438724[1]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834843" y="4497355"/>
            <a:ext cx="3144379" cy="1598646"/>
          </a:xfrm>
          <a:prstGeom prst="rect">
            <a:avLst/>
          </a:prstGeom>
          <a:noFill/>
        </p:spPr>
      </p:pic>
      <p:sp>
        <p:nvSpPr>
          <p:cNvPr id="21" name="TextBox 20"/>
          <p:cNvSpPr txBox="1"/>
          <p:nvPr/>
        </p:nvSpPr>
        <p:spPr>
          <a:xfrm>
            <a:off x="5122497" y="3971136"/>
            <a:ext cx="38348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Comprehensive logging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11012" y="5218170"/>
            <a:ext cx="38348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Dedicated Forensic </a:t>
            </a:r>
            <a:r>
              <a:rPr lang="en-US" sz="2000" dirty="0" err="1" smtClean="0"/>
              <a:t>VM</a:t>
            </a:r>
            <a:r>
              <a:rPr lang="en-US" sz="2000" dirty="0" smtClean="0"/>
              <a:t> Images</a:t>
            </a:r>
          </a:p>
        </p:txBody>
      </p:sp>
      <p:pic>
        <p:nvPicPr>
          <p:cNvPr id="59398" name="Picture 6" descr="C:\Documents and Settings\shbabu\Local Settings\Temporary Internet Files\Content.IE5\9FQ28KYE\MP900289250[1]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39630" y="1280530"/>
            <a:ext cx="4047892" cy="2698595"/>
          </a:xfrm>
          <a:prstGeom prst="rect">
            <a:avLst/>
          </a:prstGeom>
          <a:noFill/>
        </p:spPr>
      </p:pic>
      <p:pic>
        <p:nvPicPr>
          <p:cNvPr id="18" name="Picture 17" descr="forensics.bmp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881846" y="1738310"/>
            <a:ext cx="2575032" cy="3391940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4850780" y="4634590"/>
            <a:ext cx="42932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Without </a:t>
            </a:r>
            <a:r>
              <a:rPr lang="en-US" sz="2000" dirty="0" smtClean="0">
                <a:solidFill>
                  <a:schemeClr val="bg1"/>
                </a:solidFill>
              </a:rPr>
              <a:t>compromising Performance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8" name="Rectangle 8"/>
          <p:cNvSpPr>
            <a:spLocks noGrp="1" noChangeArrowheads="1"/>
          </p:cNvSpPr>
          <p:nvPr>
            <p:ph type="title"/>
          </p:nvPr>
        </p:nvSpPr>
        <p:spPr>
          <a:xfrm>
            <a:off x="364325" y="335819"/>
            <a:ext cx="8145462" cy="428625"/>
          </a:xfrm>
        </p:spPr>
        <p:txBody>
          <a:bodyPr/>
          <a:lstStyle/>
          <a:p>
            <a:pPr eaLnBrk="1" hangingPunct="1"/>
            <a:r>
              <a:rPr lang="en-US" sz="2800" dirty="0" err="1" smtClean="0">
                <a:solidFill>
                  <a:schemeClr val="tx1"/>
                </a:solidFill>
                <a:ea typeface="ＭＳ Ｐゴシック" charset="-128"/>
              </a:rPr>
              <a:t>R9</a:t>
            </a:r>
            <a:r>
              <a:rPr lang="en-US" sz="2800" dirty="0" smtClean="0">
                <a:solidFill>
                  <a:schemeClr val="tx1"/>
                </a:solidFill>
                <a:ea typeface="ＭＳ Ｐゴシック" charset="-128"/>
              </a:rPr>
              <a:t>: Risk: Infrastructure Security</a:t>
            </a:r>
            <a:endParaRPr lang="en-US" sz="2800" dirty="0" smtClean="0">
              <a:solidFill>
                <a:schemeClr val="tx1"/>
              </a:solidFill>
            </a:endParaRPr>
          </a:p>
        </p:txBody>
      </p:sp>
      <p:sp>
        <p:nvSpPr>
          <p:cNvPr id="5146" name="Text Box 294"/>
          <p:cNvSpPr txBox="1">
            <a:spLocks noChangeArrowheads="1"/>
          </p:cNvSpPr>
          <p:nvPr/>
        </p:nvSpPr>
        <p:spPr bwMode="auto">
          <a:xfrm>
            <a:off x="6035675" y="1905000"/>
            <a:ext cx="5683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>
              <a:buClrTx/>
              <a:buSzTx/>
              <a:buFontTx/>
              <a:buNone/>
            </a:pPr>
            <a:r>
              <a:rPr lang="en-US" sz="1400" b="1" dirty="0">
                <a:solidFill>
                  <a:schemeClr val="bg1"/>
                </a:solidFill>
              </a:rPr>
              <a:t>Key:</a:t>
            </a:r>
          </a:p>
        </p:txBody>
      </p:sp>
      <p:sp>
        <p:nvSpPr>
          <p:cNvPr id="324" name="Line 292"/>
          <p:cNvSpPr>
            <a:spLocks noChangeShapeType="1"/>
          </p:cNvSpPr>
          <p:nvPr/>
        </p:nvSpPr>
        <p:spPr bwMode="auto">
          <a:xfrm flipH="1">
            <a:off x="1600200" y="1399923"/>
            <a:ext cx="1709442" cy="1114678"/>
          </a:xfrm>
          <a:prstGeom prst="line">
            <a:avLst/>
          </a:prstGeom>
          <a:ln>
            <a:headEnd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/>
          <a:lstStyle/>
          <a:p>
            <a:endParaRPr lang="en-US"/>
          </a:p>
        </p:txBody>
      </p:sp>
      <p:sp>
        <p:nvSpPr>
          <p:cNvPr id="326" name="TextBox 23"/>
          <p:cNvSpPr txBox="1">
            <a:spLocks noChangeArrowheads="1"/>
          </p:cNvSpPr>
          <p:nvPr/>
        </p:nvSpPr>
        <p:spPr bwMode="auto">
          <a:xfrm flipH="1">
            <a:off x="914399" y="1030386"/>
            <a:ext cx="703198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 eaLnBrk="1" hangingPunct="1">
              <a:lnSpc>
                <a:spcPct val="100000"/>
              </a:lnSpc>
            </a:pPr>
            <a:r>
              <a:rPr lang="en-US" sz="1800" b="1" dirty="0" smtClean="0">
                <a:solidFill>
                  <a:srgbClr val="D42C38"/>
                </a:solidFill>
                <a:ea typeface="华文细黑" charset="-122"/>
                <a:sym typeface="Arial" charset="0"/>
              </a:rPr>
              <a:t>Malicious parties are actively scanning the internet for …</a:t>
            </a:r>
            <a:endParaRPr lang="en-US" sz="1800" b="1" dirty="0">
              <a:solidFill>
                <a:srgbClr val="D42C38"/>
              </a:solidFill>
              <a:ea typeface="华文细黑" charset="-122"/>
              <a:sym typeface="Arial" charset="0"/>
            </a:endParaRPr>
          </a:p>
        </p:txBody>
      </p:sp>
      <p:sp>
        <p:nvSpPr>
          <p:cNvPr id="296" name="Line 292"/>
          <p:cNvSpPr>
            <a:spLocks noChangeShapeType="1"/>
          </p:cNvSpPr>
          <p:nvPr/>
        </p:nvSpPr>
        <p:spPr bwMode="auto">
          <a:xfrm flipH="1">
            <a:off x="2362199" y="1391830"/>
            <a:ext cx="955534" cy="2265770"/>
          </a:xfrm>
          <a:prstGeom prst="line">
            <a:avLst/>
          </a:prstGeom>
          <a:ln>
            <a:headEnd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/>
          <a:lstStyle/>
          <a:p>
            <a:endParaRPr lang="en-US"/>
          </a:p>
        </p:txBody>
      </p:sp>
      <p:sp>
        <p:nvSpPr>
          <p:cNvPr id="297" name="Line 292"/>
          <p:cNvSpPr>
            <a:spLocks noChangeShapeType="1"/>
          </p:cNvSpPr>
          <p:nvPr/>
        </p:nvSpPr>
        <p:spPr bwMode="auto">
          <a:xfrm>
            <a:off x="3317733" y="1383738"/>
            <a:ext cx="111267" cy="3264461"/>
          </a:xfrm>
          <a:prstGeom prst="line">
            <a:avLst/>
          </a:prstGeom>
          <a:ln>
            <a:headEnd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/>
          <a:lstStyle/>
          <a:p>
            <a:endParaRPr lang="en-US"/>
          </a:p>
        </p:txBody>
      </p:sp>
      <p:sp>
        <p:nvSpPr>
          <p:cNvPr id="299" name="Line 292"/>
          <p:cNvSpPr>
            <a:spLocks noChangeShapeType="1"/>
          </p:cNvSpPr>
          <p:nvPr/>
        </p:nvSpPr>
        <p:spPr bwMode="auto">
          <a:xfrm>
            <a:off x="4199766" y="3200400"/>
            <a:ext cx="2505834" cy="0"/>
          </a:xfrm>
          <a:prstGeom prst="line">
            <a:avLst/>
          </a:prstGeom>
          <a:ln>
            <a:headEnd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/>
          <a:lstStyle/>
          <a:p>
            <a:endParaRPr lang="en-US"/>
          </a:p>
        </p:txBody>
      </p:sp>
      <p:sp>
        <p:nvSpPr>
          <p:cNvPr id="302" name="Rectangle 60"/>
          <p:cNvSpPr>
            <a:spLocks noChangeArrowheads="1"/>
          </p:cNvSpPr>
          <p:nvPr/>
        </p:nvSpPr>
        <p:spPr bwMode="auto">
          <a:xfrm>
            <a:off x="131495" y="1664612"/>
            <a:ext cx="4060179" cy="4226388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82124" tIns="41061" rIns="82124" bIns="41061" anchorCtr="1"/>
          <a:lstStyle/>
          <a:p>
            <a:pPr algn="ctr" defTabSz="814388"/>
            <a:r>
              <a:rPr lang="en-US" sz="1400" b="1" dirty="0" smtClean="0">
                <a:cs typeface="Arial" pitchFamily="34" charset="0"/>
              </a:rPr>
              <a:t>Vulnerable Applications or Services</a:t>
            </a:r>
            <a:endParaRPr lang="en-US" sz="1400" b="1" dirty="0">
              <a:cs typeface="Arial" pitchFamily="34" charset="0"/>
            </a:endParaRPr>
          </a:p>
        </p:txBody>
      </p:sp>
      <p:sp>
        <p:nvSpPr>
          <p:cNvPr id="16" name="Rectangle 7"/>
          <p:cNvSpPr>
            <a:spLocks noChangeArrowheads="1"/>
          </p:cNvSpPr>
          <p:nvPr/>
        </p:nvSpPr>
        <p:spPr bwMode="auto">
          <a:xfrm>
            <a:off x="578039" y="2588303"/>
            <a:ext cx="1341196" cy="747750"/>
          </a:xfrm>
          <a:prstGeom prst="rect">
            <a:avLst/>
          </a:prstGeom>
          <a:solidFill>
            <a:srgbClr val="7030A0"/>
          </a:solidFill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b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anchor="ctr">
            <a:flatTx/>
          </a:bodyPr>
          <a:lstStyle/>
          <a:p>
            <a:pPr algn="ctr" eaLnBrk="1" hangingPunct="1">
              <a:lnSpc>
                <a:spcPct val="100000"/>
              </a:lnSpc>
              <a:defRPr/>
            </a:pPr>
            <a:r>
              <a:rPr lang="en-US" sz="1400" b="1" dirty="0" smtClean="0">
                <a:solidFill>
                  <a:schemeClr val="bg1"/>
                </a:solidFill>
                <a:cs typeface="Times New Roman" pitchFamily="18" charset="0"/>
              </a:rPr>
              <a:t>Active Unused Ports</a:t>
            </a:r>
            <a:r>
              <a:rPr lang="en-US" sz="1400" dirty="0" smtClean="0">
                <a:solidFill>
                  <a:schemeClr val="bg1"/>
                </a:solidFill>
                <a:cs typeface="Times New Roman" pitchFamily="18" charset="0"/>
              </a:rPr>
              <a:t> </a:t>
            </a:r>
            <a:endParaRPr lang="en-US" sz="1400" dirty="0">
              <a:solidFill>
                <a:schemeClr val="bg1"/>
              </a:solidFill>
              <a:cs typeface="Times New Roman" pitchFamily="18" charset="0"/>
            </a:endParaRPr>
          </a:p>
        </p:txBody>
      </p:sp>
      <p:sp>
        <p:nvSpPr>
          <p:cNvPr id="17" name="Rectangle 7"/>
          <p:cNvSpPr>
            <a:spLocks noChangeArrowheads="1"/>
          </p:cNvSpPr>
          <p:nvPr/>
        </p:nvSpPr>
        <p:spPr bwMode="auto">
          <a:xfrm>
            <a:off x="1504160" y="3715393"/>
            <a:ext cx="1341196" cy="747750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b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anchor="ctr">
            <a:flatTx/>
          </a:bodyPr>
          <a:lstStyle/>
          <a:p>
            <a:pPr algn="ctr" eaLnBrk="1" hangingPunct="1">
              <a:lnSpc>
                <a:spcPct val="100000"/>
              </a:lnSpc>
              <a:defRPr/>
            </a:pPr>
            <a:r>
              <a:rPr lang="en-US" sz="1400" b="1" dirty="0" smtClean="0">
                <a:solidFill>
                  <a:schemeClr val="bg1"/>
                </a:solidFill>
                <a:cs typeface="Times New Roman" pitchFamily="18" charset="0"/>
              </a:rPr>
              <a:t>Default Passwords</a:t>
            </a:r>
            <a:endParaRPr lang="en-US" sz="1400" b="1" dirty="0">
              <a:solidFill>
                <a:schemeClr val="bg1"/>
              </a:solidFill>
              <a:cs typeface="Times New Roman" pitchFamily="18" charset="0"/>
            </a:endParaRPr>
          </a:p>
        </p:txBody>
      </p:sp>
      <p:sp>
        <p:nvSpPr>
          <p:cNvPr id="18" name="Rectangle 7"/>
          <p:cNvSpPr>
            <a:spLocks noChangeArrowheads="1"/>
          </p:cNvSpPr>
          <p:nvPr/>
        </p:nvSpPr>
        <p:spPr bwMode="auto">
          <a:xfrm>
            <a:off x="2622620" y="4711855"/>
            <a:ext cx="1450308" cy="747750"/>
          </a:xfrm>
          <a:prstGeom prst="rect">
            <a:avLst/>
          </a:prstGeom>
          <a:solidFill>
            <a:srgbClr val="A8286B"/>
          </a:solidFill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b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anchor="ctr">
            <a:flatTx/>
          </a:bodyPr>
          <a:lstStyle/>
          <a:p>
            <a:pPr algn="ctr" eaLnBrk="1" hangingPunct="1">
              <a:lnSpc>
                <a:spcPct val="100000"/>
              </a:lnSpc>
              <a:defRPr/>
            </a:pPr>
            <a:r>
              <a:rPr lang="en-US" sz="1400" b="1" dirty="0" smtClean="0">
                <a:solidFill>
                  <a:schemeClr val="bg1"/>
                </a:solidFill>
                <a:cs typeface="Times New Roman" pitchFamily="18" charset="0"/>
              </a:rPr>
              <a:t>Default Configurations</a:t>
            </a:r>
            <a:endParaRPr lang="en-US" sz="1400" b="1" dirty="0">
              <a:solidFill>
                <a:schemeClr val="bg1"/>
              </a:solidFill>
              <a:cs typeface="Times New Roman" pitchFamily="18" charset="0"/>
            </a:endParaRPr>
          </a:p>
        </p:txBody>
      </p:sp>
      <p:sp>
        <p:nvSpPr>
          <p:cNvPr id="19" name="Rectangle 7"/>
          <p:cNvSpPr>
            <a:spLocks noChangeArrowheads="1"/>
          </p:cNvSpPr>
          <p:nvPr/>
        </p:nvSpPr>
        <p:spPr bwMode="auto">
          <a:xfrm>
            <a:off x="6761121" y="2873006"/>
            <a:ext cx="1163680" cy="708394"/>
          </a:xfrm>
          <a:prstGeom prst="rect">
            <a:avLst/>
          </a:prstGeom>
          <a:solidFill>
            <a:srgbClr val="00B050"/>
          </a:solidFill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b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anchor="t" anchorCtr="0">
            <a:flatTx/>
          </a:bodyPr>
          <a:lstStyle/>
          <a:p>
            <a:pPr algn="ctr" eaLnBrk="1" hangingPunct="1">
              <a:lnSpc>
                <a:spcPct val="100000"/>
              </a:lnSpc>
              <a:defRPr/>
            </a:pPr>
            <a:r>
              <a:rPr lang="en-US" b="1" dirty="0" smtClean="0">
                <a:solidFill>
                  <a:schemeClr val="bg1"/>
                </a:solidFill>
                <a:cs typeface="Times New Roman" pitchFamily="18" charset="0"/>
              </a:rPr>
              <a:t>Data</a:t>
            </a:r>
            <a:endParaRPr lang="en-US" sz="3200" b="1" dirty="0">
              <a:solidFill>
                <a:schemeClr val="bg1"/>
              </a:solidFill>
              <a:cs typeface="Times New Roman" pitchFamily="18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0" y="0"/>
            <a:ext cx="9142413" cy="365125"/>
            <a:chOff x="0" y="0"/>
            <a:chExt cx="10237" cy="307"/>
          </a:xfrm>
          <a:solidFill>
            <a:srgbClr val="0070C0"/>
          </a:solidFill>
        </p:grpSpPr>
        <p:sp>
          <p:nvSpPr>
            <p:cNvPr id="14355" name="Rectangle 5"/>
            <p:cNvSpPr>
              <a:spLocks/>
            </p:cNvSpPr>
            <p:nvPr/>
          </p:nvSpPr>
          <p:spPr bwMode="auto">
            <a:xfrm>
              <a:off x="0" y="0"/>
              <a:ext cx="10237" cy="152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algn="l" eaLnBrk="1" hangingPunct="1">
                <a:lnSpc>
                  <a:spcPct val="100000"/>
                </a:lnSpc>
              </a:pPr>
              <a:endParaRPr lang="en-US">
                <a:solidFill>
                  <a:srgbClr val="FFFFFF"/>
                </a:solidFill>
                <a:ea typeface="华文细黑" charset="-122"/>
                <a:sym typeface="Arial" charset="0"/>
              </a:endParaRPr>
            </a:p>
          </p:txBody>
        </p:sp>
        <p:sp>
          <p:nvSpPr>
            <p:cNvPr id="14356" name="Rectangle 6"/>
            <p:cNvSpPr>
              <a:spLocks/>
            </p:cNvSpPr>
            <p:nvPr/>
          </p:nvSpPr>
          <p:spPr bwMode="auto">
            <a:xfrm>
              <a:off x="0" y="0"/>
              <a:ext cx="1" cy="307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1" hangingPunct="1">
                <a:lnSpc>
                  <a:spcPct val="100000"/>
                </a:lnSpc>
              </a:pPr>
              <a:endParaRPr lang="en-US">
                <a:solidFill>
                  <a:srgbClr val="FFFFFF"/>
                </a:solidFill>
                <a:ea typeface="华文细黑" charset="-122"/>
                <a:sym typeface="Arial" charset="0"/>
              </a:endParaRPr>
            </a:p>
          </p:txBody>
        </p:sp>
      </p:grpSp>
      <p:sp>
        <p:nvSpPr>
          <p:cNvPr id="29" name="Rectangle 9"/>
          <p:cNvSpPr txBox="1">
            <a:spLocks noChangeArrowheads="1"/>
          </p:cNvSpPr>
          <p:nvPr/>
        </p:nvSpPr>
        <p:spPr bwMode="auto">
          <a:xfrm>
            <a:off x="76200" y="0"/>
            <a:ext cx="91440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124" tIns="41061" rIns="82124" bIns="41061" anchor="b"/>
          <a:lstStyle/>
          <a:p>
            <a:pPr defTabSz="814388" eaLnBrk="1" hangingPunct="1">
              <a:defRPr/>
            </a:pPr>
            <a:r>
              <a:rPr lang="en-US" sz="2800" b="1" kern="0" dirty="0" err="1" smtClean="0">
                <a:latin typeface="+mj-lt"/>
                <a:ea typeface="ＭＳ Ｐゴシック" charset="-128"/>
                <a:cs typeface="ＭＳ Ｐゴシック" charset="-128"/>
              </a:rPr>
              <a:t>R9</a:t>
            </a:r>
            <a:r>
              <a:rPr lang="en-US" sz="2800" b="1" kern="0" dirty="0" smtClean="0">
                <a:latin typeface="+mj-lt"/>
                <a:ea typeface="ＭＳ Ｐゴシック" charset="-128"/>
                <a:cs typeface="ＭＳ Ｐゴシック" charset="-128"/>
              </a:rPr>
              <a:t>: Mitigations: Infrastructure Security</a:t>
            </a:r>
            <a:endParaRPr lang="en-US" sz="2800" b="1" kern="0" dirty="0">
              <a:latin typeface="+mj-lt"/>
              <a:ea typeface="ＭＳ Ｐゴシック" charset="-128"/>
              <a:cs typeface="ＭＳ Ｐゴシック" charset="-128"/>
            </a:endParaRPr>
          </a:p>
        </p:txBody>
      </p:sp>
      <p:pic>
        <p:nvPicPr>
          <p:cNvPr id="63493" name="Picture 5" descr="C:\Documents and Settings\shbabu\Local Settings\Temporary Internet Files\Content.IE5\GF3YBHRB\MC900056196[1].wm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6744" y="1298045"/>
            <a:ext cx="1792224" cy="1798625"/>
          </a:xfrm>
          <a:prstGeom prst="rect">
            <a:avLst/>
          </a:prstGeom>
          <a:noFill/>
        </p:spPr>
      </p:pic>
      <p:pic>
        <p:nvPicPr>
          <p:cNvPr id="63494" name="Picture 6" descr="C:\Documents and Settings\shbabu\Local Settings\Temporary Internet Files\Content.IE5\LEJY54DB\MC900310000[1].wmf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14400" y="3783562"/>
            <a:ext cx="1833372" cy="1828800"/>
          </a:xfrm>
          <a:prstGeom prst="rect">
            <a:avLst/>
          </a:prstGeom>
          <a:noFill/>
        </p:spPr>
      </p:pic>
      <p:pic>
        <p:nvPicPr>
          <p:cNvPr id="63497" name="Picture 9" descr="C:\Documents and Settings\shbabu\Local Settings\Temporary Internet Files\Content.IE5\9FQ28KYE\MP900400964[1]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334000" y="1143000"/>
            <a:ext cx="1563351" cy="1954666"/>
          </a:xfrm>
          <a:prstGeom prst="rect">
            <a:avLst/>
          </a:prstGeom>
          <a:noFill/>
        </p:spPr>
      </p:pic>
      <p:sp>
        <p:nvSpPr>
          <p:cNvPr id="28" name="TextBox 27"/>
          <p:cNvSpPr txBox="1"/>
          <p:nvPr/>
        </p:nvSpPr>
        <p:spPr>
          <a:xfrm>
            <a:off x="7086600" y="1219200"/>
            <a:ext cx="1752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Third party audits and app vulnerability assessments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575318" y="2652402"/>
            <a:ext cx="38348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Segregation of duties and role based administrative </a:t>
            </a:r>
            <a:r>
              <a:rPr lang="en-US" sz="2000" dirty="0" err="1" smtClean="0"/>
              <a:t>privs</a:t>
            </a:r>
            <a:endParaRPr lang="en-US" sz="2000" dirty="0" smtClean="0"/>
          </a:p>
        </p:txBody>
      </p:sp>
      <p:sp>
        <p:nvSpPr>
          <p:cNvPr id="31" name="TextBox 30"/>
          <p:cNvSpPr txBox="1"/>
          <p:nvPr/>
        </p:nvSpPr>
        <p:spPr>
          <a:xfrm>
            <a:off x="136841" y="5600880"/>
            <a:ext cx="42298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Tiered architecture with appropriate security controls between them</a:t>
            </a:r>
          </a:p>
        </p:txBody>
      </p:sp>
      <p:pic>
        <p:nvPicPr>
          <p:cNvPr id="63498" name="Picture 10" descr="C:\Documents and Settings\shbabu\Local Settings\Temporary Internet Files\Content.IE5\LT2DGU0Y\MP900400654[1]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638800" y="3810000"/>
            <a:ext cx="2909815" cy="1939119"/>
          </a:xfrm>
          <a:prstGeom prst="rect">
            <a:avLst/>
          </a:prstGeom>
          <a:noFill/>
        </p:spPr>
      </p:pic>
      <p:sp>
        <p:nvSpPr>
          <p:cNvPr id="32" name="TextBox 31"/>
          <p:cNvSpPr txBox="1"/>
          <p:nvPr/>
        </p:nvSpPr>
        <p:spPr>
          <a:xfrm>
            <a:off x="4953000" y="5791200"/>
            <a:ext cx="402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Hardening – Networks, OS, App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0" y="0"/>
            <a:ext cx="9142413" cy="365125"/>
            <a:chOff x="0" y="0"/>
            <a:chExt cx="10237" cy="307"/>
          </a:xfrm>
          <a:solidFill>
            <a:srgbClr val="0070C0"/>
          </a:solidFill>
        </p:grpSpPr>
        <p:sp>
          <p:nvSpPr>
            <p:cNvPr id="6163" name="Rectangle 5"/>
            <p:cNvSpPr>
              <a:spLocks/>
            </p:cNvSpPr>
            <p:nvPr/>
          </p:nvSpPr>
          <p:spPr bwMode="auto">
            <a:xfrm>
              <a:off x="0" y="0"/>
              <a:ext cx="10237" cy="152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algn="l" eaLnBrk="1" hangingPunct="1">
                <a:lnSpc>
                  <a:spcPct val="100000"/>
                </a:lnSpc>
              </a:pPr>
              <a:endParaRPr lang="en-US">
                <a:solidFill>
                  <a:srgbClr val="FFFFFF"/>
                </a:solidFill>
                <a:ea typeface="华文细黑" charset="-122"/>
                <a:sym typeface="Arial" charset="0"/>
              </a:endParaRPr>
            </a:p>
          </p:txBody>
        </p:sp>
        <p:sp>
          <p:nvSpPr>
            <p:cNvPr id="6164" name="Rectangle 6"/>
            <p:cNvSpPr>
              <a:spLocks/>
            </p:cNvSpPr>
            <p:nvPr/>
          </p:nvSpPr>
          <p:spPr bwMode="auto">
            <a:xfrm>
              <a:off x="0" y="0"/>
              <a:ext cx="1" cy="307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1" hangingPunct="1">
                <a:lnSpc>
                  <a:spcPct val="100000"/>
                </a:lnSpc>
              </a:pPr>
              <a:endParaRPr lang="en-US">
                <a:solidFill>
                  <a:srgbClr val="FFFFFF"/>
                </a:solidFill>
                <a:ea typeface="华文细黑" charset="-122"/>
                <a:sym typeface="Arial" charset="0"/>
              </a:endParaRPr>
            </a:p>
          </p:txBody>
        </p:sp>
      </p:grpSp>
      <p:sp>
        <p:nvSpPr>
          <p:cNvPr id="6149" name="Slide Number Placeholder 3"/>
          <p:cNvSpPr txBox="1">
            <a:spLocks noGrp="1"/>
          </p:cNvSpPr>
          <p:nvPr/>
        </p:nvSpPr>
        <p:spPr bwMode="auto">
          <a:xfrm>
            <a:off x="8709025" y="6646863"/>
            <a:ext cx="171450" cy="215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b"/>
          <a:lstStyle/>
          <a:p>
            <a:pPr eaLnBrk="1" hangingPunct="1">
              <a:lnSpc>
                <a:spcPct val="100000"/>
              </a:lnSpc>
            </a:pPr>
            <a:fld id="{F752C20E-9033-415D-8AD6-90674CC451FC}" type="slidenum">
              <a:rPr lang="en-US" sz="1000">
                <a:solidFill>
                  <a:srgbClr val="777777"/>
                </a:solidFill>
                <a:ea typeface="华文细黑" charset="-122"/>
                <a:sym typeface="Arial" charset="0"/>
              </a:rPr>
              <a:pPr eaLnBrk="1" hangingPunct="1">
                <a:lnSpc>
                  <a:spcPct val="100000"/>
                </a:lnSpc>
              </a:pPr>
              <a:t>34</a:t>
            </a:fld>
            <a:endParaRPr lang="en-US" sz="1000">
              <a:solidFill>
                <a:srgbClr val="777777"/>
              </a:solidFill>
              <a:ea typeface="华文细黑" charset="-122"/>
              <a:sym typeface="Arial" charset="0"/>
            </a:endParaRPr>
          </a:p>
        </p:txBody>
      </p:sp>
      <p:sp>
        <p:nvSpPr>
          <p:cNvPr id="29" name="Rectangle 9"/>
          <p:cNvSpPr txBox="1">
            <a:spLocks noChangeArrowheads="1"/>
          </p:cNvSpPr>
          <p:nvPr/>
        </p:nvSpPr>
        <p:spPr bwMode="auto">
          <a:xfrm>
            <a:off x="76200" y="304800"/>
            <a:ext cx="8926830" cy="5981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124" tIns="41061" rIns="82124" bIns="41061" anchor="b"/>
          <a:lstStyle/>
          <a:p>
            <a:pPr algn="l" defTabSz="814388" eaLnBrk="1" hangingPunct="1">
              <a:defRPr/>
            </a:pPr>
            <a:r>
              <a:rPr lang="en-US" sz="2800" b="1" kern="0" dirty="0" smtClean="0">
                <a:latin typeface="+mj-lt"/>
                <a:ea typeface="ＭＳ Ｐゴシック" charset="-128"/>
                <a:cs typeface="ＭＳ Ｐゴシック" charset="-128"/>
              </a:rPr>
              <a:t>R10: Risk: Exposure of Non-Prod Environment</a:t>
            </a:r>
            <a:endParaRPr lang="en-US" sz="2800" b="1" kern="0" dirty="0">
              <a:latin typeface="+mj-lt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76073" y="1136121"/>
            <a:ext cx="8348948" cy="923330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rtlCol="0">
            <a:spAutoFit/>
          </a:bodyPr>
          <a:lstStyle/>
          <a:p>
            <a:pPr algn="l"/>
            <a:r>
              <a:rPr lang="en-US" sz="2000" b="1" i="1" dirty="0" smtClean="0"/>
              <a:t>Non-Production Environments </a:t>
            </a:r>
            <a:r>
              <a:rPr lang="en-US" sz="2000" dirty="0" smtClean="0"/>
              <a:t>are … </a:t>
            </a:r>
          </a:p>
          <a:p>
            <a:pPr algn="l"/>
            <a:r>
              <a:rPr lang="en-US" sz="2000" dirty="0" smtClean="0"/>
              <a:t>used for design, development, and test activities internally within an organization </a:t>
            </a:r>
          </a:p>
        </p:txBody>
      </p:sp>
      <p:grpSp>
        <p:nvGrpSpPr>
          <p:cNvPr id="4" name="Group 14"/>
          <p:cNvGrpSpPr/>
          <p:nvPr/>
        </p:nvGrpSpPr>
        <p:grpSpPr>
          <a:xfrm>
            <a:off x="5902864" y="2188560"/>
            <a:ext cx="2848708" cy="1123296"/>
            <a:chOff x="6346288" y="640080"/>
            <a:chExt cx="2848708" cy="1123296"/>
          </a:xfrm>
        </p:grpSpPr>
        <p:sp>
          <p:nvSpPr>
            <p:cNvPr id="10" name="Flowchart: Magnetic Disk 9"/>
            <p:cNvSpPr/>
            <p:nvPr/>
          </p:nvSpPr>
          <p:spPr bwMode="auto">
            <a:xfrm>
              <a:off x="6346288" y="1048403"/>
              <a:ext cx="1186082" cy="714973"/>
            </a:xfrm>
            <a:prstGeom prst="flowChartMagneticDisk">
              <a:avLst/>
            </a:prstGeom>
            <a:solidFill>
              <a:srgbClr val="FFC000"/>
            </a:solidFill>
            <a:ln>
              <a:solidFill>
                <a:schemeClr val="accent3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82124" tIns="41061" rIns="82124" bIns="41061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814388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-112" charset="0"/>
                </a:rPr>
                <a:t>Prod</a:t>
              </a:r>
              <a:endParaRPr kumimoji="0" 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-112" charset="0"/>
              </a:endParaRPr>
            </a:p>
          </p:txBody>
        </p:sp>
        <p:sp>
          <p:nvSpPr>
            <p:cNvPr id="13" name="Curved Down Arrow 12"/>
            <p:cNvSpPr/>
            <p:nvPr/>
          </p:nvSpPr>
          <p:spPr bwMode="auto">
            <a:xfrm>
              <a:off x="7018020" y="640080"/>
              <a:ext cx="1348740" cy="400050"/>
            </a:xfrm>
            <a:prstGeom prst="curvedDownArrow">
              <a:avLst/>
            </a:prstGeom>
            <a:solidFill>
              <a:schemeClr val="tx1"/>
            </a:solidFill>
            <a:ln w="25400" cap="flat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82124" tIns="41061" rIns="82124" bIns="41061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814388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-112" charset="0"/>
              </a:endParaRPr>
            </a:p>
          </p:txBody>
        </p:sp>
        <p:sp>
          <p:nvSpPr>
            <p:cNvPr id="14" name="Flowchart: Magnetic Disk 13"/>
            <p:cNvSpPr/>
            <p:nvPr/>
          </p:nvSpPr>
          <p:spPr bwMode="auto">
            <a:xfrm>
              <a:off x="7924800" y="1029353"/>
              <a:ext cx="1270196" cy="714973"/>
            </a:xfrm>
            <a:prstGeom prst="flowChartMagneticDisk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solidFill>
                <a:schemeClr val="accent3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82124" tIns="41061" rIns="82124" bIns="41061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defTabSz="814388"/>
              <a:r>
                <a:rPr lang="en-US" sz="2000" dirty="0" smtClean="0">
                  <a:solidFill>
                    <a:schemeClr val="bg1"/>
                  </a:solidFill>
                  <a:latin typeface="Arial" pitchFamily="-112" charset="0"/>
                </a:rPr>
                <a:t>Non-Prod</a:t>
              </a:r>
              <a:endParaRPr kumimoji="0" 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-112" charset="0"/>
              </a:endParaRPr>
            </a:p>
          </p:txBody>
        </p:sp>
      </p:grpSp>
      <p:sp>
        <p:nvSpPr>
          <p:cNvPr id="16" name="TextBox 15"/>
          <p:cNvSpPr txBox="1"/>
          <p:nvPr/>
        </p:nvSpPr>
        <p:spPr>
          <a:xfrm>
            <a:off x="5406390" y="3479857"/>
            <a:ext cx="365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Data copied to non-prod from its production equivalent</a:t>
            </a:r>
            <a:endParaRPr lang="en-US" sz="2000" dirty="0"/>
          </a:p>
        </p:txBody>
      </p:sp>
      <p:grpSp>
        <p:nvGrpSpPr>
          <p:cNvPr id="5" name="Group 20"/>
          <p:cNvGrpSpPr/>
          <p:nvPr/>
        </p:nvGrpSpPr>
        <p:grpSpPr>
          <a:xfrm>
            <a:off x="1085849" y="2195301"/>
            <a:ext cx="1038665" cy="1280746"/>
            <a:chOff x="1512277" y="3938954"/>
            <a:chExt cx="1148862" cy="1559169"/>
          </a:xfrm>
        </p:grpSpPr>
        <p:sp>
          <p:nvSpPr>
            <p:cNvPr id="20" name="Rectangle 19"/>
            <p:cNvSpPr/>
            <p:nvPr/>
          </p:nvSpPr>
          <p:spPr bwMode="auto">
            <a:xfrm>
              <a:off x="1512277" y="3938954"/>
              <a:ext cx="1148862" cy="1559169"/>
            </a:xfrm>
            <a:prstGeom prst="rect">
              <a:avLst/>
            </a:prstGeom>
            <a:solidFill>
              <a:schemeClr val="tx1"/>
            </a:solidFill>
            <a:ln w="25400" cap="flat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82124" tIns="41061" rIns="82124" bIns="41061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814388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-112" charset="0"/>
              </a:endParaRPr>
            </a:p>
          </p:txBody>
        </p:sp>
        <p:pic>
          <p:nvPicPr>
            <p:cNvPr id="3" name="Picture 5" descr="C:\Documents and Settings\ptelang\Local Settings\Temporary Internet Files\Content.IE5\XJF79DOM\dglxasset[1].aspx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614222" y="4056185"/>
              <a:ext cx="953132" cy="1297826"/>
            </a:xfrm>
            <a:prstGeom prst="rect">
              <a:avLst/>
            </a:prstGeom>
            <a:noFill/>
          </p:spPr>
        </p:pic>
      </p:grpSp>
      <p:sp>
        <p:nvSpPr>
          <p:cNvPr id="22" name="TextBox 21"/>
          <p:cNvSpPr txBox="1"/>
          <p:nvPr/>
        </p:nvSpPr>
        <p:spPr>
          <a:xfrm>
            <a:off x="0" y="3572470"/>
            <a:ext cx="34345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Typical non-prod environment use </a:t>
            </a:r>
            <a:r>
              <a:rPr lang="en-US" sz="2000" b="1" dirty="0" smtClean="0"/>
              <a:t>generic</a:t>
            </a:r>
            <a:r>
              <a:rPr lang="en-US" sz="2000" dirty="0" smtClean="0"/>
              <a:t> authentication credentials</a:t>
            </a:r>
            <a:endParaRPr lang="en-US" sz="2000" dirty="0"/>
          </a:p>
        </p:txBody>
      </p:sp>
      <p:sp>
        <p:nvSpPr>
          <p:cNvPr id="23" name="Cloud 22"/>
          <p:cNvSpPr/>
          <p:nvPr/>
        </p:nvSpPr>
        <p:spPr bwMode="auto">
          <a:xfrm>
            <a:off x="4275113" y="4572000"/>
            <a:ext cx="2965939" cy="1512278"/>
          </a:xfrm>
          <a:prstGeom prst="cloud">
            <a:avLst/>
          </a:prstGeom>
          <a:solidFill>
            <a:schemeClr val="accent5">
              <a:lumMod val="75000"/>
            </a:schemeClr>
          </a:solidFill>
          <a:ln w="25400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</a:endParaRPr>
          </a:p>
        </p:txBody>
      </p:sp>
      <p:sp>
        <p:nvSpPr>
          <p:cNvPr id="24" name="Flowchart: Magnetic Disk 23"/>
          <p:cNvSpPr/>
          <p:nvPr/>
        </p:nvSpPr>
        <p:spPr bwMode="auto">
          <a:xfrm>
            <a:off x="5185412" y="4924932"/>
            <a:ext cx="1270196" cy="714973"/>
          </a:xfrm>
          <a:prstGeom prst="flowChartMagneticDisk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3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814388"/>
            <a:r>
              <a:rPr lang="en-US" sz="2000" dirty="0" smtClean="0">
                <a:solidFill>
                  <a:schemeClr val="bg1"/>
                </a:solidFill>
                <a:latin typeface="Arial" pitchFamily="-112" charset="0"/>
              </a:rPr>
              <a:t>Non-Prod</a:t>
            </a:r>
            <a:endParaRPr kumimoji="0" 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</a:endParaRPr>
          </a:p>
        </p:txBody>
      </p:sp>
      <p:pic>
        <p:nvPicPr>
          <p:cNvPr id="27" name="Picture 26" descr="images-3.jpe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741077" y="4747702"/>
            <a:ext cx="1398344" cy="1241457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2514600" y="6064935"/>
            <a:ext cx="4572000" cy="84023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800" b="1" dirty="0" smtClean="0"/>
              <a:t>High risk of an unauthorized user getting access to the non production environment</a:t>
            </a:r>
            <a:endParaRPr lang="en-US" sz="1800" dirty="0"/>
          </a:p>
        </p:txBody>
      </p:sp>
      <p:grpSp>
        <p:nvGrpSpPr>
          <p:cNvPr id="6" name="Group 31"/>
          <p:cNvGrpSpPr/>
          <p:nvPr/>
        </p:nvGrpSpPr>
        <p:grpSpPr>
          <a:xfrm>
            <a:off x="3764279" y="2103861"/>
            <a:ext cx="899161" cy="914400"/>
            <a:chOff x="3764279" y="1657350"/>
            <a:chExt cx="899161" cy="914400"/>
          </a:xfrm>
        </p:grpSpPr>
        <p:sp>
          <p:nvSpPr>
            <p:cNvPr id="30" name="Rectangle 29"/>
            <p:cNvSpPr/>
            <p:nvPr/>
          </p:nvSpPr>
          <p:spPr bwMode="auto">
            <a:xfrm>
              <a:off x="3764279" y="1657350"/>
              <a:ext cx="899161" cy="914400"/>
            </a:xfrm>
            <a:prstGeom prst="rect">
              <a:avLst/>
            </a:prstGeom>
            <a:solidFill>
              <a:schemeClr val="tx1"/>
            </a:solidFill>
            <a:ln w="25400" cap="flat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82124" tIns="41061" rIns="82124" bIns="41061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814388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-112" charset="0"/>
              </a:endParaRPr>
            </a:p>
          </p:txBody>
        </p:sp>
        <p:pic>
          <p:nvPicPr>
            <p:cNvPr id="25" name="Picture 24" descr="bug-icon.png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3772007" y="1681586"/>
              <a:ext cx="880003" cy="866965"/>
            </a:xfrm>
            <a:prstGeom prst="rect">
              <a:avLst/>
            </a:prstGeom>
          </p:spPr>
        </p:pic>
      </p:grpSp>
      <p:sp>
        <p:nvSpPr>
          <p:cNvPr id="33" name="TextBox 32"/>
          <p:cNvSpPr txBox="1"/>
          <p:nvPr/>
        </p:nvSpPr>
        <p:spPr>
          <a:xfrm>
            <a:off x="3307080" y="3221950"/>
            <a:ext cx="19964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Security flaws</a:t>
            </a:r>
            <a:endParaRPr lang="en-US" sz="20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0" y="0"/>
            <a:ext cx="9142413" cy="365125"/>
            <a:chOff x="0" y="0"/>
            <a:chExt cx="10237" cy="307"/>
          </a:xfrm>
          <a:solidFill>
            <a:srgbClr val="0070C0"/>
          </a:solidFill>
        </p:grpSpPr>
        <p:sp>
          <p:nvSpPr>
            <p:cNvPr id="6163" name="Rectangle 5"/>
            <p:cNvSpPr>
              <a:spLocks/>
            </p:cNvSpPr>
            <p:nvPr/>
          </p:nvSpPr>
          <p:spPr bwMode="auto">
            <a:xfrm>
              <a:off x="0" y="0"/>
              <a:ext cx="10237" cy="152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algn="l" eaLnBrk="1" hangingPunct="1">
                <a:lnSpc>
                  <a:spcPct val="100000"/>
                </a:lnSpc>
              </a:pPr>
              <a:endParaRPr lang="en-US">
                <a:solidFill>
                  <a:srgbClr val="FFFFFF"/>
                </a:solidFill>
                <a:ea typeface="华文细黑" charset="-122"/>
                <a:sym typeface="Arial" charset="0"/>
              </a:endParaRPr>
            </a:p>
          </p:txBody>
        </p:sp>
        <p:sp>
          <p:nvSpPr>
            <p:cNvPr id="6164" name="Rectangle 6"/>
            <p:cNvSpPr>
              <a:spLocks/>
            </p:cNvSpPr>
            <p:nvPr/>
          </p:nvSpPr>
          <p:spPr bwMode="auto">
            <a:xfrm>
              <a:off x="0" y="0"/>
              <a:ext cx="1" cy="307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1" hangingPunct="1">
                <a:lnSpc>
                  <a:spcPct val="100000"/>
                </a:lnSpc>
              </a:pPr>
              <a:endParaRPr lang="en-US">
                <a:solidFill>
                  <a:srgbClr val="FFFFFF"/>
                </a:solidFill>
                <a:ea typeface="华文细黑" charset="-122"/>
                <a:sym typeface="Arial" charset="0"/>
              </a:endParaRPr>
            </a:p>
          </p:txBody>
        </p:sp>
      </p:grpSp>
      <p:sp>
        <p:nvSpPr>
          <p:cNvPr id="6149" name="Slide Number Placeholder 3"/>
          <p:cNvSpPr txBox="1">
            <a:spLocks noGrp="1"/>
          </p:cNvSpPr>
          <p:nvPr/>
        </p:nvSpPr>
        <p:spPr bwMode="auto">
          <a:xfrm>
            <a:off x="8709025" y="6646863"/>
            <a:ext cx="171450" cy="215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b"/>
          <a:lstStyle/>
          <a:p>
            <a:pPr eaLnBrk="1" hangingPunct="1">
              <a:lnSpc>
                <a:spcPct val="100000"/>
              </a:lnSpc>
            </a:pPr>
            <a:fld id="{F752C20E-9033-415D-8AD6-90674CC451FC}" type="slidenum">
              <a:rPr lang="en-US" sz="1000">
                <a:solidFill>
                  <a:srgbClr val="777777"/>
                </a:solidFill>
                <a:ea typeface="华文细黑" charset="-122"/>
                <a:sym typeface="Arial" charset="0"/>
              </a:rPr>
              <a:pPr eaLnBrk="1" hangingPunct="1">
                <a:lnSpc>
                  <a:spcPct val="100000"/>
                </a:lnSpc>
              </a:pPr>
              <a:t>35</a:t>
            </a:fld>
            <a:endParaRPr lang="en-US" sz="1000">
              <a:solidFill>
                <a:srgbClr val="777777"/>
              </a:solidFill>
              <a:ea typeface="华文细黑" charset="-122"/>
              <a:sym typeface="Arial" charset="0"/>
            </a:endParaRPr>
          </a:p>
        </p:txBody>
      </p:sp>
      <p:sp>
        <p:nvSpPr>
          <p:cNvPr id="29" name="Rectangle 9"/>
          <p:cNvSpPr txBox="1">
            <a:spLocks noChangeArrowheads="1"/>
          </p:cNvSpPr>
          <p:nvPr/>
        </p:nvSpPr>
        <p:spPr bwMode="auto">
          <a:xfrm>
            <a:off x="0" y="533400"/>
            <a:ext cx="9144000" cy="5981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124" tIns="41061" rIns="82124" bIns="41061" anchor="b"/>
          <a:lstStyle/>
          <a:p>
            <a:pPr defTabSz="814388">
              <a:defRPr/>
            </a:pPr>
            <a:r>
              <a:rPr lang="en-US" sz="2800" b="1" kern="0" dirty="0" err="1" smtClean="0">
                <a:latin typeface="+mj-lt"/>
                <a:ea typeface="ＭＳ Ｐゴシック" charset="-128"/>
                <a:cs typeface="ＭＳ Ｐゴシック" charset="-128"/>
              </a:rPr>
              <a:t>R10</a:t>
            </a:r>
            <a:r>
              <a:rPr lang="en-US" sz="2800" b="1" kern="0" dirty="0" smtClean="0">
                <a:latin typeface="+mj-lt"/>
                <a:ea typeface="ＭＳ Ｐゴシック" charset="-128"/>
                <a:cs typeface="ＭＳ Ｐゴシック" charset="-128"/>
              </a:rPr>
              <a:t>: Mitigations: Exposure of Non-Prod Environment</a:t>
            </a:r>
            <a:endParaRPr lang="en-US" sz="2800" b="1" kern="0" dirty="0">
              <a:latin typeface="+mj-lt"/>
              <a:ea typeface="ＭＳ Ｐゴシック" charset="-128"/>
              <a:cs typeface="ＭＳ Ｐゴシック" charset="-128"/>
            </a:endParaRPr>
          </a:p>
        </p:txBody>
      </p:sp>
      <p:pic>
        <p:nvPicPr>
          <p:cNvPr id="1030" name="Picture 6" descr="C:\Documents and Settings\ptelang\Local Settings\Temporary Internet Files\Content.IE5\SJD3AAF5\MC900352184[1].wm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91018" y="1335650"/>
            <a:ext cx="1795604" cy="734840"/>
          </a:xfrm>
          <a:prstGeom prst="rect">
            <a:avLst/>
          </a:prstGeom>
          <a:noFill/>
        </p:spPr>
      </p:pic>
      <p:pic>
        <p:nvPicPr>
          <p:cNvPr id="14" name="Picture 6" descr="C:\Documents and Settings\ptelang\Local Settings\Temporary Internet Files\Content.IE5\SJD3AAF5\MC900352184[1].wm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83398" y="2048120"/>
            <a:ext cx="1795604" cy="734840"/>
          </a:xfrm>
          <a:prstGeom prst="rect">
            <a:avLst/>
          </a:prstGeom>
          <a:noFill/>
        </p:spPr>
      </p:pic>
      <p:sp>
        <p:nvSpPr>
          <p:cNvPr id="15" name="TextBox 14"/>
          <p:cNvSpPr txBox="1"/>
          <p:nvPr/>
        </p:nvSpPr>
        <p:spPr>
          <a:xfrm>
            <a:off x="474492" y="3068809"/>
            <a:ext cx="29773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Use multi layers of authentication</a:t>
            </a:r>
            <a:endParaRPr lang="en-US" sz="2000" dirty="0"/>
          </a:p>
        </p:txBody>
      </p:sp>
      <p:grpSp>
        <p:nvGrpSpPr>
          <p:cNvPr id="3" name="Group 15"/>
          <p:cNvGrpSpPr/>
          <p:nvPr/>
        </p:nvGrpSpPr>
        <p:grpSpPr>
          <a:xfrm>
            <a:off x="5239924" y="2496429"/>
            <a:ext cx="2848708" cy="1123296"/>
            <a:chOff x="6346288" y="640080"/>
            <a:chExt cx="2848708" cy="1123296"/>
          </a:xfrm>
        </p:grpSpPr>
        <p:sp>
          <p:nvSpPr>
            <p:cNvPr id="17" name="Flowchart: Magnetic Disk 16"/>
            <p:cNvSpPr/>
            <p:nvPr/>
          </p:nvSpPr>
          <p:spPr bwMode="auto">
            <a:xfrm>
              <a:off x="6346288" y="1048403"/>
              <a:ext cx="1186082" cy="714973"/>
            </a:xfrm>
            <a:prstGeom prst="flowChartMagneticDisk">
              <a:avLst/>
            </a:prstGeom>
            <a:solidFill>
              <a:srgbClr val="FFC000"/>
            </a:solidFill>
            <a:ln>
              <a:solidFill>
                <a:schemeClr val="accent3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82124" tIns="41061" rIns="82124" bIns="41061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814388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2000" b="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-112" charset="0"/>
                </a:rPr>
                <a:t>Prod</a:t>
              </a:r>
              <a:endParaRPr kumimoji="0" lang="en-US" sz="2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itchFamily="-112" charset="0"/>
              </a:endParaRPr>
            </a:p>
          </p:txBody>
        </p:sp>
        <p:sp>
          <p:nvSpPr>
            <p:cNvPr id="18" name="Curved Down Arrow 17"/>
            <p:cNvSpPr/>
            <p:nvPr/>
          </p:nvSpPr>
          <p:spPr bwMode="auto">
            <a:xfrm>
              <a:off x="7018020" y="640080"/>
              <a:ext cx="1348740" cy="400050"/>
            </a:xfrm>
            <a:prstGeom prst="curvedDownArrow">
              <a:avLst/>
            </a:prstGeom>
            <a:solidFill>
              <a:schemeClr val="tx1"/>
            </a:solidFill>
            <a:ln w="25400" cap="flat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82124" tIns="41061" rIns="82124" bIns="41061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814388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-112" charset="0"/>
              </a:endParaRPr>
            </a:p>
          </p:txBody>
        </p:sp>
        <p:sp>
          <p:nvSpPr>
            <p:cNvPr id="19" name="Flowchart: Magnetic Disk 18"/>
            <p:cNvSpPr/>
            <p:nvPr/>
          </p:nvSpPr>
          <p:spPr bwMode="auto">
            <a:xfrm>
              <a:off x="7924800" y="1029353"/>
              <a:ext cx="1270196" cy="714973"/>
            </a:xfrm>
            <a:prstGeom prst="flowChartMagneticDisk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solidFill>
                <a:schemeClr val="accent3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82124" tIns="41061" rIns="82124" bIns="41061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defTabSz="814388"/>
              <a:r>
                <a:rPr lang="en-US" sz="2000" dirty="0" smtClean="0">
                  <a:solidFill>
                    <a:schemeClr val="bg1"/>
                  </a:solidFill>
                  <a:latin typeface="Arial" pitchFamily="-112" charset="0"/>
                </a:rPr>
                <a:t>Non-Prod</a:t>
              </a:r>
              <a:endParaRPr kumimoji="0" 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-112" charset="0"/>
              </a:endParaRPr>
            </a:p>
          </p:txBody>
        </p:sp>
      </p:grpSp>
      <p:pic>
        <p:nvPicPr>
          <p:cNvPr id="1031" name="Picture 7" descr="C:\Documents and Settings\ptelang\Local Settings\Temporary Internet Files\Content.IE5\Z68IQAS2\MC900432537[1]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243424" y="2162914"/>
            <a:ext cx="694586" cy="694586"/>
          </a:xfrm>
          <a:prstGeom prst="rect">
            <a:avLst/>
          </a:prstGeom>
          <a:noFill/>
        </p:spPr>
      </p:pic>
      <p:sp>
        <p:nvSpPr>
          <p:cNvPr id="21" name="TextBox 20"/>
          <p:cNvSpPr txBox="1"/>
          <p:nvPr/>
        </p:nvSpPr>
        <p:spPr>
          <a:xfrm>
            <a:off x="5221752" y="3918439"/>
            <a:ext cx="29773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Non-prod data is not identical to production</a:t>
            </a:r>
            <a:endParaRPr lang="en-US" sz="2000" dirty="0"/>
          </a:p>
        </p:txBody>
      </p:sp>
      <p:sp>
        <p:nvSpPr>
          <p:cNvPr id="22" name="Cloud 21"/>
          <p:cNvSpPr/>
          <p:nvPr/>
        </p:nvSpPr>
        <p:spPr bwMode="auto">
          <a:xfrm>
            <a:off x="1543343" y="4153485"/>
            <a:ext cx="2480017" cy="1470075"/>
          </a:xfrm>
          <a:prstGeom prst="cloud">
            <a:avLst/>
          </a:prstGeom>
          <a:solidFill>
            <a:schemeClr val="accent5">
              <a:lumMod val="75000"/>
            </a:schemeClr>
          </a:solidFill>
          <a:ln w="25400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</a:endParaRPr>
          </a:p>
        </p:txBody>
      </p:sp>
      <p:pic>
        <p:nvPicPr>
          <p:cNvPr id="24" name="Picture 23" descr="images-5.jpe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281238" y="4589146"/>
            <a:ext cx="942022" cy="692554"/>
          </a:xfrm>
          <a:prstGeom prst="rect">
            <a:avLst/>
          </a:prstGeom>
        </p:spPr>
      </p:pic>
      <p:pic>
        <p:nvPicPr>
          <p:cNvPr id="25" name="Picture 7" descr="C:\Documents and Settings\ptelang\Local Settings\Temporary Internet Files\Content.IE5\Z68IQAS2\MC900432537[1]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12444" y="4189834"/>
            <a:ext cx="694586" cy="694586"/>
          </a:xfrm>
          <a:prstGeom prst="rect">
            <a:avLst/>
          </a:prstGeom>
          <a:noFill/>
        </p:spPr>
      </p:pic>
      <p:sp>
        <p:nvSpPr>
          <p:cNvPr id="26" name="TextBox 25"/>
          <p:cNvSpPr txBox="1"/>
          <p:nvPr/>
        </p:nvSpPr>
        <p:spPr>
          <a:xfrm>
            <a:off x="482112" y="5808199"/>
            <a:ext cx="46042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Don’t use cloud for developing a highly sensitive app in the cloud</a:t>
            </a:r>
            <a:endParaRPr lang="en-US" sz="20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2400"/>
            <a:ext cx="9144000" cy="838200"/>
          </a:xfrm>
        </p:spPr>
        <p:txBody>
          <a:bodyPr/>
          <a:lstStyle/>
          <a:p>
            <a:r>
              <a:rPr lang="en-US" dirty="0" smtClean="0"/>
              <a:t>Summary: Manage your Cloud Risks to sleep like a Baby</a:t>
            </a:r>
            <a:endParaRPr lang="en-US" dirty="0"/>
          </a:p>
        </p:txBody>
      </p:sp>
      <p:pic>
        <p:nvPicPr>
          <p:cNvPr id="61442" name="Picture 2" descr="http://fineartamerica.com/images-medium/peaceful-sleep-ron-white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143000"/>
            <a:ext cx="9144000" cy="5715000"/>
          </a:xfrm>
          <a:prstGeom prst="rect">
            <a:avLst/>
          </a:prstGeom>
          <a:noFill/>
        </p:spPr>
      </p:pic>
      <p:sp>
        <p:nvSpPr>
          <p:cNvPr id="4" name="Rectangle 3"/>
          <p:cNvSpPr/>
          <p:nvPr/>
        </p:nvSpPr>
        <p:spPr>
          <a:xfrm>
            <a:off x="5436704" y="6589644"/>
            <a:ext cx="3707295" cy="2031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2713" indent="-112713" algn="l" defTabSz="1020763">
              <a:spcBef>
                <a:spcPct val="50000"/>
              </a:spcBef>
              <a:buSzPct val="100000"/>
              <a:buFontTx/>
              <a:buChar char="•"/>
              <a:defRPr/>
            </a:pPr>
            <a:r>
              <a:rPr lang="en-US" sz="800" dirty="0" smtClean="0"/>
              <a:t>Photo - http://fineartamerica.com/featured/peaceful-sleep-ron-white.html</a:t>
            </a:r>
            <a:endParaRPr lang="en-US" sz="8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1060" name="Rectangle 36"/>
          <p:cNvSpPr>
            <a:spLocks noGrp="1" noChangeArrowheads="1"/>
          </p:cNvSpPr>
          <p:nvPr>
            <p:ph type="title"/>
          </p:nvPr>
        </p:nvSpPr>
        <p:spPr>
          <a:xfrm>
            <a:off x="382270" y="76200"/>
            <a:ext cx="7802563" cy="838200"/>
          </a:xfrm>
        </p:spPr>
        <p:txBody>
          <a:bodyPr/>
          <a:lstStyle/>
          <a:p>
            <a:r>
              <a:rPr lang="en-US" dirty="0" smtClean="0"/>
              <a:t>Cloud Top 10 Project: Approach</a:t>
            </a:r>
            <a:endParaRPr lang="en-US" dirty="0"/>
          </a:p>
        </p:txBody>
      </p:sp>
      <p:grpSp>
        <p:nvGrpSpPr>
          <p:cNvPr id="2" name="Group 13"/>
          <p:cNvGrpSpPr/>
          <p:nvPr/>
        </p:nvGrpSpPr>
        <p:grpSpPr>
          <a:xfrm rot="16200000">
            <a:off x="638322" y="1822940"/>
            <a:ext cx="2956268" cy="3676648"/>
            <a:chOff x="2368062" y="1160586"/>
            <a:chExt cx="3575538" cy="3985844"/>
          </a:xfrm>
        </p:grpSpPr>
        <p:sp>
          <p:nvSpPr>
            <p:cNvPr id="7" name="Oval 6"/>
            <p:cNvSpPr/>
            <p:nvPr/>
          </p:nvSpPr>
          <p:spPr bwMode="auto">
            <a:xfrm>
              <a:off x="2379783" y="1160586"/>
              <a:ext cx="3552094" cy="1125417"/>
            </a:xfrm>
            <a:prstGeom prst="ellipse">
              <a:avLst/>
            </a:prstGeom>
            <a:gradFill>
              <a:gsLst>
                <a:gs pos="49000">
                  <a:srgbClr val="8488C4"/>
                </a:gs>
                <a:gs pos="53000">
                  <a:srgbClr val="D4DEFF"/>
                </a:gs>
                <a:gs pos="83000">
                  <a:srgbClr val="D4DEFF"/>
                </a:gs>
                <a:gs pos="100000">
                  <a:srgbClr val="96AB94"/>
                </a:gs>
              </a:gsLst>
              <a:lin ang="5400000" scaled="1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82124" tIns="41061" rIns="82124" bIns="41061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814388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" name="Flowchart: Manual Operation 5"/>
            <p:cNvSpPr/>
            <p:nvPr/>
          </p:nvSpPr>
          <p:spPr bwMode="auto">
            <a:xfrm>
              <a:off x="2368062" y="1699847"/>
              <a:ext cx="3575538" cy="3446583"/>
            </a:xfrm>
            <a:prstGeom prst="flowChartManualOperation">
              <a:avLst/>
            </a:prstGeom>
            <a:gradFill flip="none" rotWithShape="1">
              <a:gsLst>
                <a:gs pos="0">
                  <a:srgbClr val="8488C4"/>
                </a:gs>
                <a:gs pos="53000">
                  <a:srgbClr val="D4DEFF"/>
                </a:gs>
                <a:gs pos="83000">
                  <a:srgbClr val="D4DEFF"/>
                </a:gs>
                <a:gs pos="100000">
                  <a:srgbClr val="96AB94"/>
                </a:gs>
              </a:gsLst>
              <a:lin ang="5400000" scaled="1"/>
              <a:tileRect/>
            </a:gra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82124" tIns="41061" rIns="82124" bIns="41061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814388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8" name="Oval 7"/>
          <p:cNvSpPr/>
          <p:nvPr/>
        </p:nvSpPr>
        <p:spPr bwMode="auto">
          <a:xfrm>
            <a:off x="609600" y="4419600"/>
            <a:ext cx="972573" cy="467168"/>
          </a:xfrm>
          <a:prstGeom prst="ellipse">
            <a:avLst/>
          </a:prstGeom>
          <a:solidFill>
            <a:schemeClr val="accent1"/>
          </a:solidFill>
          <a:ln w="254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NIST</a:t>
            </a:r>
          </a:p>
        </p:txBody>
      </p:sp>
      <p:sp>
        <p:nvSpPr>
          <p:cNvPr id="9" name="Oval 8"/>
          <p:cNvSpPr/>
          <p:nvPr/>
        </p:nvSpPr>
        <p:spPr bwMode="auto">
          <a:xfrm>
            <a:off x="540966" y="2832001"/>
            <a:ext cx="900441" cy="467168"/>
          </a:xfrm>
          <a:prstGeom prst="ellipse">
            <a:avLst/>
          </a:prstGeom>
          <a:solidFill>
            <a:schemeClr val="accent1"/>
          </a:solidFill>
          <a:ln w="254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CSA</a:t>
            </a:r>
          </a:p>
        </p:txBody>
      </p:sp>
      <p:sp>
        <p:nvSpPr>
          <p:cNvPr id="10" name="Oval 9"/>
          <p:cNvSpPr/>
          <p:nvPr/>
        </p:nvSpPr>
        <p:spPr bwMode="auto">
          <a:xfrm>
            <a:off x="304800" y="3429000"/>
            <a:ext cx="1828800" cy="934584"/>
          </a:xfrm>
          <a:prstGeom prst="ellipse">
            <a:avLst/>
          </a:prstGeom>
          <a:solidFill>
            <a:schemeClr val="accent1"/>
          </a:solidFill>
          <a:ln w="254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News/</a:t>
            </a:r>
          </a:p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Research Publications</a:t>
            </a:r>
          </a:p>
        </p:txBody>
      </p:sp>
      <p:sp>
        <p:nvSpPr>
          <p:cNvPr id="12" name="Down Arrow 11"/>
          <p:cNvSpPr/>
          <p:nvPr/>
        </p:nvSpPr>
        <p:spPr bwMode="auto">
          <a:xfrm rot="16200000">
            <a:off x="4285081" y="3005211"/>
            <a:ext cx="562708" cy="925536"/>
          </a:xfrm>
          <a:prstGeom prst="downArrow">
            <a:avLst/>
          </a:prstGeom>
          <a:solidFill>
            <a:schemeClr val="tx2">
              <a:lumMod val="65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Oval 12"/>
          <p:cNvSpPr/>
          <p:nvPr/>
        </p:nvSpPr>
        <p:spPr bwMode="auto">
          <a:xfrm>
            <a:off x="1902443" y="2854254"/>
            <a:ext cx="1856190" cy="817730"/>
          </a:xfrm>
          <a:prstGeom prst="ellipse">
            <a:avLst/>
          </a:prstGeom>
          <a:solidFill>
            <a:schemeClr val="accent1"/>
          </a:solidFill>
          <a:ln w="254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800" dirty="0" smtClean="0"/>
              <a:t>Industry</a:t>
            </a:r>
          </a:p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xperience</a:t>
            </a:r>
          </a:p>
        </p:txBody>
      </p:sp>
      <p:sp>
        <p:nvSpPr>
          <p:cNvPr id="15" name="Oval 14"/>
          <p:cNvSpPr/>
          <p:nvPr/>
        </p:nvSpPr>
        <p:spPr bwMode="auto">
          <a:xfrm>
            <a:off x="1752600" y="4267200"/>
            <a:ext cx="1333234" cy="467168"/>
          </a:xfrm>
          <a:prstGeom prst="ellipse">
            <a:avLst/>
          </a:prstGeom>
          <a:solidFill>
            <a:schemeClr val="accent1"/>
          </a:solidFill>
          <a:ln w="254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Gartner</a:t>
            </a:r>
          </a:p>
        </p:txBody>
      </p:sp>
      <p:sp>
        <p:nvSpPr>
          <p:cNvPr id="16" name="Rectangle 15"/>
          <p:cNvSpPr/>
          <p:nvPr/>
        </p:nvSpPr>
        <p:spPr bwMode="auto">
          <a:xfrm>
            <a:off x="5950001" y="5135851"/>
            <a:ext cx="2588209" cy="773459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82124" tIns="41061" rIns="82124" bIns="41061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2800" dirty="0" err="1" smtClean="0">
                <a:solidFill>
                  <a:schemeClr val="tx1"/>
                </a:solidFill>
              </a:rPr>
              <a:t>OWASP</a:t>
            </a:r>
            <a:r>
              <a:rPr lang="en-US" sz="2800" dirty="0" smtClean="0">
                <a:solidFill>
                  <a:schemeClr val="tx1"/>
                </a:solidFill>
              </a:rPr>
              <a:t> </a:t>
            </a:r>
          </a:p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2800" dirty="0" smtClean="0">
                <a:solidFill>
                  <a:schemeClr val="tx1"/>
                </a:solidFill>
              </a:rPr>
              <a:t>Cloud Top 10</a:t>
            </a:r>
            <a:endParaRPr kumimoji="0" lang="en-US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348990" y="1017270"/>
            <a:ext cx="2914650" cy="114300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noAutofit/>
          </a:bodyPr>
          <a:lstStyle/>
          <a:p>
            <a:pPr algn="l">
              <a:buFont typeface="Wingdings" pitchFamily="2" charset="2"/>
              <a:buChar char="ü"/>
            </a:pPr>
            <a:r>
              <a:rPr lang="en-US" sz="2000" dirty="0" smtClean="0"/>
              <a:t>Most Damaging</a:t>
            </a:r>
          </a:p>
          <a:p>
            <a:pPr algn="l">
              <a:buFont typeface="Wingdings" pitchFamily="2" charset="2"/>
              <a:buChar char="ü"/>
            </a:pPr>
            <a:r>
              <a:rPr lang="en-US" sz="2000" dirty="0" smtClean="0"/>
              <a:t>Incidence Frequency</a:t>
            </a:r>
          </a:p>
          <a:p>
            <a:pPr>
              <a:buFont typeface="Wingdings" pitchFamily="2" charset="2"/>
              <a:buChar char="ü"/>
            </a:pPr>
            <a:r>
              <a:rPr lang="en-US" sz="2000" dirty="0" smtClean="0"/>
              <a:t>Easily Executable</a:t>
            </a:r>
          </a:p>
        </p:txBody>
      </p:sp>
      <p:sp>
        <p:nvSpPr>
          <p:cNvPr id="18" name="Oval 17"/>
          <p:cNvSpPr/>
          <p:nvPr/>
        </p:nvSpPr>
        <p:spPr bwMode="auto">
          <a:xfrm>
            <a:off x="2971800" y="3886200"/>
            <a:ext cx="792243" cy="467168"/>
          </a:xfrm>
          <a:prstGeom prst="ellipse">
            <a:avLst/>
          </a:prstGeom>
          <a:solidFill>
            <a:schemeClr val="accent1"/>
          </a:solidFill>
          <a:ln w="254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IDC</a:t>
            </a:r>
          </a:p>
        </p:txBody>
      </p:sp>
      <p:sp>
        <p:nvSpPr>
          <p:cNvPr id="19" name="Oval 18"/>
          <p:cNvSpPr/>
          <p:nvPr/>
        </p:nvSpPr>
        <p:spPr bwMode="auto">
          <a:xfrm>
            <a:off x="1287346" y="2485291"/>
            <a:ext cx="954541" cy="467168"/>
          </a:xfrm>
          <a:prstGeom prst="ellipse">
            <a:avLst/>
          </a:prstGeom>
          <a:solidFill>
            <a:schemeClr val="accent1"/>
          </a:solidFill>
          <a:ln w="254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ISC2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054" name="Picture 6" descr="C:\Documents and Settings\ptelang\Local Settings\Temporary Internet Files\Content.IE5\SJD3AAF5\dglxasset[2].aspx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34132" y="1007211"/>
            <a:ext cx="924410" cy="1153059"/>
          </a:xfrm>
          <a:prstGeom prst="rect">
            <a:avLst/>
          </a:prstGeom>
          <a:noFill/>
        </p:spPr>
      </p:pic>
      <p:pic>
        <p:nvPicPr>
          <p:cNvPr id="21" name="Picture 3" descr="C:\Documents and Settings\ptelang\Local Settings\Temporary Internet Files\Content.IE5\CPQ7WT6F\MC900439824[1]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160999" y="2563773"/>
            <a:ext cx="1771421" cy="1771421"/>
          </a:xfrm>
          <a:prstGeom prst="rect">
            <a:avLst/>
          </a:prstGeom>
          <a:noFill/>
        </p:spPr>
      </p:pic>
      <p:pic>
        <p:nvPicPr>
          <p:cNvPr id="22" name="Picture 21" descr="owasp.tiff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239848" y="2225040"/>
            <a:ext cx="3732702" cy="2747010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1060" name="Rectangle 36"/>
          <p:cNvSpPr>
            <a:spLocks noGrp="1" noChangeArrowheads="1"/>
          </p:cNvSpPr>
          <p:nvPr>
            <p:ph type="title"/>
          </p:nvPr>
        </p:nvSpPr>
        <p:spPr>
          <a:xfrm>
            <a:off x="668020" y="152400"/>
            <a:ext cx="7802563" cy="838200"/>
          </a:xfrm>
        </p:spPr>
        <p:txBody>
          <a:bodyPr/>
          <a:lstStyle/>
          <a:p>
            <a:r>
              <a:rPr lang="en-US" dirty="0" smtClean="0"/>
              <a:t>Cloud: Industry Adoption Trend</a:t>
            </a:r>
            <a:endParaRPr lang="en-US" dirty="0"/>
          </a:p>
        </p:txBody>
      </p:sp>
      <p:graphicFrame>
        <p:nvGraphicFramePr>
          <p:cNvPr id="6" name="Chart 5"/>
          <p:cNvGraphicFramePr/>
          <p:nvPr/>
        </p:nvGraphicFramePr>
        <p:xfrm>
          <a:off x="2035678" y="1800020"/>
          <a:ext cx="5160768" cy="37932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839298" y="6126925"/>
            <a:ext cx="1726756" cy="3139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/>
              <a:t>(Source Gartner)</a:t>
            </a:r>
            <a:endParaRPr lang="en-US" sz="16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Grp="1" noChangeArrowheads="1"/>
          </p:cNvSpPr>
          <p:nvPr>
            <p:ph type="sldNum" sz="quarter" idx="4294967295"/>
          </p:nvPr>
        </p:nvSpPr>
        <p:spPr>
          <a:xfrm>
            <a:off x="7239000" y="6629400"/>
            <a:ext cx="1905000" cy="2286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25476B3F-09A4-4F77-B24E-836CD9D237E2}" type="slidenum">
              <a:rPr lang="en-US"/>
              <a:pPr>
                <a:defRPr/>
              </a:pPr>
              <a:t>6</a:t>
            </a:fld>
            <a:endParaRPr lang="en-US"/>
          </a:p>
        </p:txBody>
      </p:sp>
      <p:sp>
        <p:nvSpPr>
          <p:cNvPr id="21507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152400"/>
            <a:ext cx="9144000" cy="838200"/>
          </a:xfrm>
        </p:spPr>
        <p:txBody>
          <a:bodyPr/>
          <a:lstStyle/>
          <a:p>
            <a:pPr eaLnBrk="1" hangingPunct="1"/>
            <a:r>
              <a:rPr lang="en-US" dirty="0" smtClean="0">
                <a:solidFill>
                  <a:srgbClr val="000066"/>
                </a:solidFill>
              </a:rPr>
              <a:t>Impact of Cloud Adoption on IT Effectiveness</a:t>
            </a:r>
            <a:endParaRPr lang="en-US" sz="3600" dirty="0" smtClean="0">
              <a:solidFill>
                <a:srgbClr val="000066"/>
              </a:solidFill>
            </a:endParaRPr>
          </a:p>
        </p:txBody>
      </p:sp>
      <p:sp>
        <p:nvSpPr>
          <p:cNvPr id="512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33400" y="1066800"/>
            <a:ext cx="8077200" cy="5029200"/>
          </a:xfrm>
        </p:spPr>
        <p:txBody>
          <a:bodyPr/>
          <a:lstStyle/>
          <a:p>
            <a:pPr marL="465138" lvl="1" indent="-465138" eaLnBrk="1" hangingPunct="1">
              <a:spcBef>
                <a:spcPct val="50000"/>
              </a:spcBef>
              <a:buFontTx/>
              <a:buNone/>
              <a:defRPr/>
            </a:pPr>
            <a:r>
              <a:rPr lang="en-US" sz="2150" dirty="0" smtClean="0">
                <a:solidFill>
                  <a:schemeClr val="tx1">
                    <a:lumMod val="75000"/>
                  </a:schemeClr>
                </a:solidFill>
              </a:rPr>
              <a:t> </a:t>
            </a:r>
          </a:p>
        </p:txBody>
      </p:sp>
      <p:sp>
        <p:nvSpPr>
          <p:cNvPr id="41" name="Title 1"/>
          <p:cNvSpPr txBox="1">
            <a:spLocks/>
          </p:cNvSpPr>
          <p:nvPr/>
        </p:nvSpPr>
        <p:spPr bwMode="auto">
          <a:xfrm>
            <a:off x="2971800" y="1524000"/>
            <a:ext cx="1676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normAutofit fontScale="92500" lnSpcReduction="20000"/>
          </a:bodyPr>
          <a:lstStyle/>
          <a:p>
            <a:pPr algn="ctr">
              <a:defRPr/>
            </a:pPr>
            <a:r>
              <a:rPr lang="en-US" sz="1200" b="1" kern="0" dirty="0">
                <a:solidFill>
                  <a:schemeClr val="bg1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Cloud </a:t>
            </a:r>
            <a:br>
              <a:rPr lang="en-US" sz="1200" b="1" kern="0" dirty="0">
                <a:solidFill>
                  <a:schemeClr val="bg1"/>
                </a:solidFill>
                <a:latin typeface="Times New Roman" pitchFamily="18" charset="0"/>
                <a:ea typeface="+mj-ea"/>
                <a:cs typeface="Times New Roman" pitchFamily="18" charset="0"/>
              </a:rPr>
            </a:br>
            <a:r>
              <a:rPr lang="en-US" sz="2000" b="1" dirty="0">
                <a:latin typeface="Times New Roman" pitchFamily="18" charset="0"/>
                <a:cs typeface="Times New Roman" pitchFamily="18" charset="0"/>
              </a:rPr>
              <a:t>Cloud </a:t>
            </a:r>
            <a:br>
              <a:rPr lang="en-US" sz="2000" b="1" dirty="0">
                <a:latin typeface="Times New Roman" pitchFamily="18" charset="0"/>
                <a:cs typeface="Times New Roman" pitchFamily="18" charset="0"/>
              </a:rPr>
            </a:br>
            <a:r>
              <a:rPr lang="en-US" sz="2000" b="1" dirty="0" smtClean="0">
                <a:latin typeface="Times New Roman" pitchFamily="18" charset="0"/>
                <a:cs typeface="Times New Roman" pitchFamily="18" charset="0"/>
              </a:rPr>
              <a:t>Adoption</a:t>
            </a: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sz="1200" dirty="0">
                <a:latin typeface="Times New Roman" pitchFamily="18" charset="0"/>
                <a:cs typeface="Times New Roman" pitchFamily="18" charset="0"/>
              </a:rPr>
            </a:br>
            <a:r>
              <a:rPr lang="en-US" sz="1300" dirty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sz="1300" dirty="0">
                <a:latin typeface="Times New Roman" pitchFamily="18" charset="0"/>
                <a:cs typeface="Times New Roman" pitchFamily="18" charset="0"/>
              </a:rPr>
            </a:br>
            <a:r>
              <a:rPr lang="en-US" sz="1100" dirty="0" smtClean="0">
                <a:latin typeface="Times New Roman" pitchFamily="18" charset="0"/>
                <a:cs typeface="Times New Roman" pitchFamily="18" charset="0"/>
              </a:rPr>
              <a:t>(Independent </a:t>
            </a:r>
          </a:p>
          <a:p>
            <a:pPr algn="ctr">
              <a:defRPr/>
            </a:pPr>
            <a:r>
              <a:rPr lang="en-US" sz="1100" dirty="0" smtClean="0">
                <a:latin typeface="Times New Roman" pitchFamily="18" charset="0"/>
                <a:cs typeface="Times New Roman" pitchFamily="18" charset="0"/>
              </a:rPr>
              <a:t>Variable)</a:t>
            </a:r>
            <a:endParaRPr lang="en-US" sz="1100" kern="0" dirty="0">
              <a:solidFill>
                <a:schemeClr val="bg1"/>
              </a:solidFill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42" name="Title 1"/>
          <p:cNvSpPr txBox="1">
            <a:spLocks/>
          </p:cNvSpPr>
          <p:nvPr/>
        </p:nvSpPr>
        <p:spPr>
          <a:xfrm>
            <a:off x="3048000" y="3581400"/>
            <a:ext cx="1524000" cy="1143000"/>
          </a:xfrm>
          <a:prstGeom prst="rect">
            <a:avLst/>
          </a:prstGeom>
          <a:noFill/>
          <a:ln>
            <a:noFill/>
          </a:ln>
        </p:spPr>
        <p:txBody>
          <a:bodyPr anchor="ctr">
            <a:normAutofit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en-US" sz="1600" b="1" dirty="0">
                <a:latin typeface="Times New Roman" pitchFamily="18" charset="0"/>
                <a:ea typeface="+mj-ea"/>
                <a:cs typeface="Times New Roman" pitchFamily="18" charset="0"/>
              </a:rPr>
              <a:t>Strategic </a:t>
            </a:r>
          </a:p>
          <a:p>
            <a:pPr algn="ctr" eaLnBrk="1" fontAlgn="auto" hangingPunct="1">
              <a:spcAft>
                <a:spcPts val="0"/>
              </a:spcAft>
              <a:defRPr/>
            </a:pPr>
            <a:r>
              <a:rPr lang="en-US" sz="1600" b="1" dirty="0" smtClean="0">
                <a:latin typeface="Times New Roman" pitchFamily="18" charset="0"/>
                <a:ea typeface="+mj-ea"/>
                <a:cs typeface="Times New Roman" pitchFamily="18" charset="0"/>
              </a:rPr>
              <a:t>Alignment</a:t>
            </a:r>
          </a:p>
          <a:p>
            <a:pPr algn="ctr" eaLnBrk="1" fontAlgn="auto" hangingPunct="1">
              <a:spcAft>
                <a:spcPts val="0"/>
              </a:spcAft>
              <a:defRPr/>
            </a:pPr>
            <a:endParaRPr lang="en-US" sz="1600" b="1" dirty="0"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algn="ctr" eaLnBrk="1" fontAlgn="auto" hangingPunct="1">
              <a:spcAft>
                <a:spcPts val="0"/>
              </a:spcAft>
              <a:defRPr/>
            </a:pPr>
            <a:r>
              <a:rPr lang="en-US" sz="1000" dirty="0" smtClean="0">
                <a:latin typeface="Times New Roman" pitchFamily="18" charset="0"/>
                <a:ea typeface="+mj-ea"/>
                <a:cs typeface="Times New Roman" pitchFamily="18" charset="0"/>
              </a:rPr>
              <a:t>(Independent</a:t>
            </a:r>
          </a:p>
          <a:p>
            <a:pPr algn="ctr" eaLnBrk="1" fontAlgn="auto" hangingPunct="1">
              <a:spcAft>
                <a:spcPts val="0"/>
              </a:spcAft>
              <a:defRPr/>
            </a:pPr>
            <a:r>
              <a:rPr lang="en-US" sz="1000" dirty="0" smtClean="0">
                <a:latin typeface="Times New Roman" pitchFamily="18" charset="0"/>
                <a:ea typeface="+mj-ea"/>
                <a:cs typeface="Times New Roman" pitchFamily="18" charset="0"/>
              </a:rPr>
              <a:t> Variable)</a:t>
            </a:r>
            <a:endParaRPr lang="en-US" sz="1000" dirty="0"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43" name="Title 1"/>
          <p:cNvSpPr txBox="1">
            <a:spLocks/>
          </p:cNvSpPr>
          <p:nvPr/>
        </p:nvSpPr>
        <p:spPr>
          <a:xfrm>
            <a:off x="5410200" y="2743200"/>
            <a:ext cx="1600200" cy="384175"/>
          </a:xfrm>
          <a:prstGeom prst="rect">
            <a:avLst/>
          </a:prstGeom>
          <a:ln>
            <a:noFill/>
          </a:ln>
        </p:spPr>
        <p:txBody>
          <a:bodyPr anchor="ctr"/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en-US" b="1" dirty="0">
                <a:latin typeface="Times New Roman" pitchFamily="18" charset="0"/>
                <a:ea typeface="+mj-ea"/>
                <a:cs typeface="Times New Roman" pitchFamily="18" charset="0"/>
              </a:rPr>
              <a:t>IT </a:t>
            </a:r>
          </a:p>
          <a:p>
            <a:pPr algn="ctr" eaLnBrk="1" fontAlgn="auto" hangingPunct="1">
              <a:spcAft>
                <a:spcPts val="0"/>
              </a:spcAft>
              <a:defRPr/>
            </a:pPr>
            <a:r>
              <a:rPr lang="en-US" b="1" dirty="0" smtClean="0">
                <a:latin typeface="Times New Roman" pitchFamily="18" charset="0"/>
                <a:ea typeface="+mj-ea"/>
                <a:cs typeface="Times New Roman" pitchFamily="18" charset="0"/>
              </a:rPr>
              <a:t>Effectiveness</a:t>
            </a:r>
          </a:p>
          <a:p>
            <a:pPr algn="ctr" eaLnBrk="1" fontAlgn="auto" hangingPunct="1">
              <a:spcAft>
                <a:spcPts val="0"/>
              </a:spcAft>
              <a:defRPr/>
            </a:pPr>
            <a:r>
              <a:rPr lang="en-US" sz="1100" dirty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sz="1100" dirty="0">
                <a:latin typeface="Times New Roman" pitchFamily="18" charset="0"/>
                <a:cs typeface="Times New Roman" pitchFamily="18" charset="0"/>
              </a:rPr>
            </a:br>
            <a:r>
              <a:rPr lang="en-US" sz="1000" dirty="0" smtClean="0">
                <a:latin typeface="Times New Roman" pitchFamily="18" charset="0"/>
                <a:cs typeface="Times New Roman" pitchFamily="18" charset="0"/>
              </a:rPr>
              <a:t>(Dependent </a:t>
            </a:r>
          </a:p>
          <a:p>
            <a:pPr algn="ctr" eaLnBrk="1" fontAlgn="auto" hangingPunct="1">
              <a:spcAft>
                <a:spcPts val="0"/>
              </a:spcAft>
              <a:defRPr/>
            </a:pPr>
            <a:r>
              <a:rPr lang="en-US" sz="1000" dirty="0" smtClean="0">
                <a:latin typeface="Times New Roman" pitchFamily="18" charset="0"/>
                <a:cs typeface="Times New Roman" pitchFamily="18" charset="0"/>
              </a:rPr>
              <a:t>Variable)</a:t>
            </a:r>
            <a:endParaRPr lang="en-US" sz="1000" b="1" dirty="0"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44" name="Oval 43"/>
          <p:cNvSpPr/>
          <p:nvPr/>
        </p:nvSpPr>
        <p:spPr>
          <a:xfrm>
            <a:off x="3048000" y="1600200"/>
            <a:ext cx="1600200" cy="1143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400"/>
          </a:p>
        </p:txBody>
      </p:sp>
      <p:sp>
        <p:nvSpPr>
          <p:cNvPr id="45" name="Oval 44"/>
          <p:cNvSpPr/>
          <p:nvPr/>
        </p:nvSpPr>
        <p:spPr>
          <a:xfrm>
            <a:off x="5334000" y="2362200"/>
            <a:ext cx="1752600" cy="12954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400"/>
          </a:p>
        </p:txBody>
      </p:sp>
      <p:sp>
        <p:nvSpPr>
          <p:cNvPr id="46" name="Oval 45"/>
          <p:cNvSpPr/>
          <p:nvPr/>
        </p:nvSpPr>
        <p:spPr>
          <a:xfrm>
            <a:off x="3048000" y="3505200"/>
            <a:ext cx="1600200" cy="12954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400"/>
          </a:p>
        </p:txBody>
      </p:sp>
      <p:cxnSp>
        <p:nvCxnSpPr>
          <p:cNvPr id="47" name="Straight Arrow Connector 46"/>
          <p:cNvCxnSpPr>
            <a:stCxn id="44" idx="6"/>
            <a:endCxn id="45" idx="1"/>
          </p:cNvCxnSpPr>
          <p:nvPr/>
        </p:nvCxnSpPr>
        <p:spPr>
          <a:xfrm>
            <a:off x="4648200" y="2171700"/>
            <a:ext cx="942463" cy="380207"/>
          </a:xfrm>
          <a:prstGeom prst="straightConnector1">
            <a:avLst/>
          </a:prstGeom>
          <a:ln w="317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>
            <a:endCxn id="45" idx="3"/>
          </p:cNvCxnSpPr>
          <p:nvPr/>
        </p:nvCxnSpPr>
        <p:spPr>
          <a:xfrm flipV="1">
            <a:off x="4572000" y="3467893"/>
            <a:ext cx="1018663" cy="380207"/>
          </a:xfrm>
          <a:prstGeom prst="straightConnector1">
            <a:avLst/>
          </a:prstGeom>
          <a:ln w="15875">
            <a:solidFill>
              <a:schemeClr val="tx1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/>
          <p:nvPr/>
        </p:nvCxnSpPr>
        <p:spPr>
          <a:xfrm rot="5400000">
            <a:off x="3427413" y="3124200"/>
            <a:ext cx="763588" cy="1587"/>
          </a:xfrm>
          <a:prstGeom prst="straightConnector1">
            <a:avLst/>
          </a:prstGeom>
          <a:ln w="15875">
            <a:solidFill>
              <a:schemeClr val="tx1"/>
            </a:solidFill>
            <a:prstDash val="sys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18" name="Rectangle 3"/>
          <p:cNvSpPr>
            <a:spLocks noChangeArrowheads="1"/>
          </p:cNvSpPr>
          <p:nvPr/>
        </p:nvSpPr>
        <p:spPr bwMode="auto">
          <a:xfrm>
            <a:off x="5943600" y="4800600"/>
            <a:ext cx="2057400" cy="68580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1" hangingPunct="1">
              <a:spcAft>
                <a:spcPts val="1000"/>
              </a:spcAft>
            </a:pPr>
            <a:r>
              <a:rPr lang="en-US" sz="1000" u="sng">
                <a:latin typeface="Calibri" pitchFamily="34" charset="0"/>
              </a:rPr>
              <a:t>Legend:</a:t>
            </a:r>
            <a:r>
              <a:rPr lang="en-US" sz="1000">
                <a:latin typeface="Times New Roman" pitchFamily="18" charset="0"/>
              </a:rPr>
              <a:t>  </a:t>
            </a:r>
          </a:p>
          <a:p>
            <a:pPr eaLnBrk="1" hangingPunct="1">
              <a:spcAft>
                <a:spcPts val="1000"/>
              </a:spcAft>
            </a:pPr>
            <a:r>
              <a:rPr lang="en-US" sz="1000">
                <a:latin typeface="Times New Roman" pitchFamily="18" charset="0"/>
              </a:rPr>
              <a:t>                    </a:t>
            </a:r>
            <a:r>
              <a:rPr lang="en-US" sz="1000">
                <a:latin typeface="Calibri" pitchFamily="34" charset="0"/>
              </a:rPr>
              <a:t>Primary Relationship</a:t>
            </a:r>
          </a:p>
          <a:p>
            <a:pPr eaLnBrk="1" hangingPunct="1">
              <a:spcAft>
                <a:spcPts val="1000"/>
              </a:spcAft>
            </a:pPr>
            <a:r>
              <a:rPr lang="en-US" sz="1000">
                <a:latin typeface="Calibri" pitchFamily="34" charset="0"/>
              </a:rPr>
              <a:t>                     Secondary Relationship</a:t>
            </a:r>
            <a:endParaRPr lang="en-US" sz="2400"/>
          </a:p>
        </p:txBody>
      </p:sp>
      <p:cxnSp>
        <p:nvCxnSpPr>
          <p:cNvPr id="51" name="Straight Connector 50"/>
          <p:cNvCxnSpPr/>
          <p:nvPr/>
        </p:nvCxnSpPr>
        <p:spPr>
          <a:xfrm>
            <a:off x="6096000" y="5181600"/>
            <a:ext cx="3048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>
            <a:off x="6096000" y="5410200"/>
            <a:ext cx="304800" cy="0"/>
          </a:xfrm>
          <a:prstGeom prst="line">
            <a:avLst/>
          </a:prstGeom>
          <a:ln w="158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ounded Rectangle 52"/>
          <p:cNvSpPr/>
          <p:nvPr/>
        </p:nvSpPr>
        <p:spPr>
          <a:xfrm>
            <a:off x="685800" y="1371600"/>
            <a:ext cx="7772400" cy="4495800"/>
          </a:xfrm>
          <a:prstGeom prst="round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4" name="Oval 53"/>
          <p:cNvSpPr/>
          <p:nvPr/>
        </p:nvSpPr>
        <p:spPr>
          <a:xfrm>
            <a:off x="1371600" y="1752600"/>
            <a:ext cx="990600" cy="3048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400"/>
          </a:p>
        </p:txBody>
      </p:sp>
      <p:sp>
        <p:nvSpPr>
          <p:cNvPr id="21523" name="Rectangle 54"/>
          <p:cNvSpPr>
            <a:spLocks noChangeArrowheads="1"/>
          </p:cNvSpPr>
          <p:nvPr/>
        </p:nvSpPr>
        <p:spPr bwMode="auto">
          <a:xfrm>
            <a:off x="1371600" y="1752600"/>
            <a:ext cx="99060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100">
                <a:latin typeface="Times New Roman" pitchFamily="18" charset="0"/>
                <a:cs typeface="Times New Roman" pitchFamily="18" charset="0"/>
              </a:rPr>
              <a:t>Connectivity</a:t>
            </a:r>
            <a:endParaRPr lang="en-US" sz="1100"/>
          </a:p>
        </p:txBody>
      </p:sp>
      <p:sp>
        <p:nvSpPr>
          <p:cNvPr id="56" name="Oval 55"/>
          <p:cNvSpPr/>
          <p:nvPr/>
        </p:nvSpPr>
        <p:spPr>
          <a:xfrm>
            <a:off x="1371600" y="2133600"/>
            <a:ext cx="990600" cy="3048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400"/>
          </a:p>
        </p:txBody>
      </p:sp>
      <p:sp>
        <p:nvSpPr>
          <p:cNvPr id="21525" name="Rectangle 56"/>
          <p:cNvSpPr>
            <a:spLocks noChangeArrowheads="1"/>
          </p:cNvSpPr>
          <p:nvPr/>
        </p:nvSpPr>
        <p:spPr bwMode="auto">
          <a:xfrm>
            <a:off x="1447800" y="2176463"/>
            <a:ext cx="99060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100">
                <a:latin typeface="Times New Roman" pitchFamily="18" charset="0"/>
                <a:cs typeface="Times New Roman" pitchFamily="18" charset="0"/>
              </a:rPr>
              <a:t>Modularity</a:t>
            </a:r>
            <a:endParaRPr lang="en-US" sz="1100"/>
          </a:p>
        </p:txBody>
      </p:sp>
      <p:sp>
        <p:nvSpPr>
          <p:cNvPr id="58" name="Oval 57"/>
          <p:cNvSpPr/>
          <p:nvPr/>
        </p:nvSpPr>
        <p:spPr>
          <a:xfrm>
            <a:off x="1447800" y="2590800"/>
            <a:ext cx="914400" cy="381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400"/>
          </a:p>
        </p:txBody>
      </p:sp>
      <p:sp>
        <p:nvSpPr>
          <p:cNvPr id="21527" name="Rectangle 58"/>
          <p:cNvSpPr>
            <a:spLocks noChangeArrowheads="1"/>
          </p:cNvSpPr>
          <p:nvPr/>
        </p:nvSpPr>
        <p:spPr bwMode="auto">
          <a:xfrm>
            <a:off x="1447800" y="2633663"/>
            <a:ext cx="99060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100">
                <a:latin typeface="Times New Roman" pitchFamily="18" charset="0"/>
                <a:cs typeface="Times New Roman" pitchFamily="18" charset="0"/>
              </a:rPr>
              <a:t>Compatibility</a:t>
            </a:r>
            <a:endParaRPr lang="en-US" sz="1100"/>
          </a:p>
        </p:txBody>
      </p:sp>
      <p:cxnSp>
        <p:nvCxnSpPr>
          <p:cNvPr id="60" name="Straight Arrow Connector 59"/>
          <p:cNvCxnSpPr/>
          <p:nvPr/>
        </p:nvCxnSpPr>
        <p:spPr>
          <a:xfrm>
            <a:off x="2362200" y="1905000"/>
            <a:ext cx="685800" cy="228600"/>
          </a:xfrm>
          <a:prstGeom prst="straightConnector1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/>
          <p:cNvCxnSpPr>
            <a:stCxn id="56" idx="6"/>
          </p:cNvCxnSpPr>
          <p:nvPr/>
        </p:nvCxnSpPr>
        <p:spPr>
          <a:xfrm>
            <a:off x="2362200" y="2286000"/>
            <a:ext cx="685800" cy="1588"/>
          </a:xfrm>
          <a:prstGeom prst="straightConnector1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/>
          <p:nvPr/>
        </p:nvCxnSpPr>
        <p:spPr>
          <a:xfrm flipV="1">
            <a:off x="2362200" y="2438400"/>
            <a:ext cx="762000" cy="319088"/>
          </a:xfrm>
          <a:prstGeom prst="straightConnector1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/>
          <p:cNvSpPr/>
          <p:nvPr/>
        </p:nvSpPr>
        <p:spPr>
          <a:xfrm>
            <a:off x="7543800" y="2743200"/>
            <a:ext cx="990600" cy="41592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en-US" sz="1050" dirty="0">
                <a:latin typeface="Times New Roman" pitchFamily="18" charset="0"/>
                <a:cs typeface="Times New Roman" pitchFamily="18" charset="0"/>
              </a:rPr>
              <a:t>User Satisfaction</a:t>
            </a:r>
            <a:endParaRPr lang="en-US" sz="1050" dirty="0"/>
          </a:p>
        </p:txBody>
      </p:sp>
      <p:sp>
        <p:nvSpPr>
          <p:cNvPr id="37" name="Rectangle 94"/>
          <p:cNvSpPr>
            <a:spLocks noChangeArrowheads="1"/>
          </p:cNvSpPr>
          <p:nvPr/>
        </p:nvSpPr>
        <p:spPr bwMode="auto">
          <a:xfrm>
            <a:off x="7315200" y="3581400"/>
            <a:ext cx="10668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000" dirty="0">
                <a:latin typeface="Times New Roman" pitchFamily="18" charset="0"/>
                <a:cs typeface="Times New Roman" pitchFamily="18" charset="0"/>
              </a:rPr>
              <a:t>IT helpfulness to Users</a:t>
            </a:r>
            <a:endParaRPr lang="en-US" sz="1000" dirty="0"/>
          </a:p>
        </p:txBody>
      </p:sp>
      <p:sp>
        <p:nvSpPr>
          <p:cNvPr id="38" name="Oval 37"/>
          <p:cNvSpPr/>
          <p:nvPr/>
        </p:nvSpPr>
        <p:spPr>
          <a:xfrm>
            <a:off x="7162800" y="2057400"/>
            <a:ext cx="838200" cy="4572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000"/>
          </a:p>
        </p:txBody>
      </p:sp>
      <p:sp>
        <p:nvSpPr>
          <p:cNvPr id="39" name="Oval 38"/>
          <p:cNvSpPr/>
          <p:nvPr/>
        </p:nvSpPr>
        <p:spPr>
          <a:xfrm>
            <a:off x="7239000" y="3505200"/>
            <a:ext cx="1066800" cy="5334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000"/>
          </a:p>
        </p:txBody>
      </p:sp>
      <p:sp>
        <p:nvSpPr>
          <p:cNvPr id="40" name="Oval 39"/>
          <p:cNvSpPr/>
          <p:nvPr/>
        </p:nvSpPr>
        <p:spPr>
          <a:xfrm>
            <a:off x="7467600" y="2743200"/>
            <a:ext cx="990600" cy="381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000"/>
          </a:p>
        </p:txBody>
      </p:sp>
      <p:cxnSp>
        <p:nvCxnSpPr>
          <p:cNvPr id="50" name="Straight Arrow Connector 49"/>
          <p:cNvCxnSpPr>
            <a:stCxn id="40" idx="2"/>
            <a:endCxn id="45" idx="6"/>
          </p:cNvCxnSpPr>
          <p:nvPr/>
        </p:nvCxnSpPr>
        <p:spPr>
          <a:xfrm flipH="1">
            <a:off x="7086600" y="2933700"/>
            <a:ext cx="381000" cy="76200"/>
          </a:xfrm>
          <a:prstGeom prst="straightConnector1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tangle 92"/>
          <p:cNvSpPr>
            <a:spLocks noChangeArrowheads="1"/>
          </p:cNvSpPr>
          <p:nvPr/>
        </p:nvSpPr>
        <p:spPr bwMode="auto">
          <a:xfrm>
            <a:off x="7239000" y="2133600"/>
            <a:ext cx="99060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000" dirty="0">
                <a:latin typeface="Times New Roman" pitchFamily="18" charset="0"/>
                <a:cs typeface="Times New Roman" pitchFamily="18" charset="0"/>
              </a:rPr>
              <a:t>IT </a:t>
            </a:r>
            <a:r>
              <a:rPr lang="en-US" sz="1000" dirty="0" err="1">
                <a:latin typeface="Times New Roman" pitchFamily="18" charset="0"/>
                <a:cs typeface="Times New Roman" pitchFamily="18" charset="0"/>
              </a:rPr>
              <a:t>QOS</a:t>
            </a:r>
            <a:endParaRPr lang="en-US" sz="1000" dirty="0"/>
          </a:p>
        </p:txBody>
      </p:sp>
      <p:cxnSp>
        <p:nvCxnSpPr>
          <p:cNvPr id="76" name="Straight Arrow Connector 75"/>
          <p:cNvCxnSpPr>
            <a:stCxn id="39" idx="1"/>
            <a:endCxn id="45" idx="5"/>
          </p:cNvCxnSpPr>
          <p:nvPr/>
        </p:nvCxnSpPr>
        <p:spPr>
          <a:xfrm flipH="1" flipV="1">
            <a:off x="6829937" y="3467893"/>
            <a:ext cx="565292" cy="115422"/>
          </a:xfrm>
          <a:prstGeom prst="straightConnector1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Arrow Connector 76"/>
          <p:cNvCxnSpPr>
            <a:stCxn id="38" idx="2"/>
            <a:endCxn id="45" idx="7"/>
          </p:cNvCxnSpPr>
          <p:nvPr/>
        </p:nvCxnSpPr>
        <p:spPr>
          <a:xfrm flipH="1">
            <a:off x="6829937" y="2286000"/>
            <a:ext cx="332863" cy="265907"/>
          </a:xfrm>
          <a:prstGeom prst="straightConnector1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 noChangeArrowheads="1"/>
          </p:cNvSpPr>
          <p:nvPr>
            <p:ph type="sldNum" sz="quarter" idx="4294967295"/>
          </p:nvPr>
        </p:nvSpPr>
        <p:spPr>
          <a:xfrm>
            <a:off x="7239000" y="6629400"/>
            <a:ext cx="1905000" cy="2286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8B4A7355-9077-478E-A3FD-9C59C2A12B50}" type="slidenum">
              <a:rPr lang="en-US"/>
              <a:pPr>
                <a:defRPr/>
              </a:pPr>
              <a:t>7</a:t>
            </a:fld>
            <a:endParaRPr lang="en-US"/>
          </a:p>
        </p:txBody>
      </p:sp>
      <p:sp>
        <p:nvSpPr>
          <p:cNvPr id="31747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144000" cy="838200"/>
          </a:xfrm>
        </p:spPr>
        <p:txBody>
          <a:bodyPr/>
          <a:lstStyle/>
          <a:p>
            <a:pPr eaLnBrk="1" hangingPunct="1"/>
            <a:r>
              <a:rPr lang="en-US" dirty="0" smtClean="0">
                <a:solidFill>
                  <a:srgbClr val="000066"/>
                </a:solidFill>
              </a:rPr>
              <a:t>    Market </a:t>
            </a:r>
            <a:r>
              <a:rPr lang="en-US" dirty="0" smtClean="0">
                <a:solidFill>
                  <a:srgbClr val="000066"/>
                </a:solidFill>
              </a:rPr>
              <a:t>Research -  Cloud Benefits</a:t>
            </a:r>
          </a:p>
        </p:txBody>
      </p:sp>
      <p:sp>
        <p:nvSpPr>
          <p:cNvPr id="31748" name="Rectangle 10"/>
          <p:cNvSpPr>
            <a:spLocks noChangeArrowheads="1"/>
          </p:cNvSpPr>
          <p:nvPr/>
        </p:nvSpPr>
        <p:spPr bwMode="auto">
          <a:xfrm>
            <a:off x="6019800" y="5867400"/>
            <a:ext cx="2667000" cy="5334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31749" name="Content Placeholder 7"/>
          <p:cNvSpPr>
            <a:spLocks noGrp="1"/>
          </p:cNvSpPr>
          <p:nvPr>
            <p:ph idx="1"/>
          </p:nvPr>
        </p:nvSpPr>
        <p:spPr>
          <a:xfrm>
            <a:off x="533400" y="990600"/>
            <a:ext cx="8153400" cy="5486400"/>
          </a:xfrm>
        </p:spPr>
        <p:txBody>
          <a:bodyPr/>
          <a:lstStyle/>
          <a:p>
            <a:pPr>
              <a:buFontTx/>
              <a:buNone/>
            </a:pPr>
            <a:endParaRPr lang="en-US" smtClean="0"/>
          </a:p>
        </p:txBody>
      </p:sp>
      <p:pic>
        <p:nvPicPr>
          <p:cNvPr id="31750" name="Picture 2" descr="C:\Documents and Settings\shbabu\My Documents\PhD\Dissertation\Group 1\MS3 - Proposal Approval by Mentor\Proposal\idc_cloud_benefits_2009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3088" y="1066800"/>
            <a:ext cx="8037512" cy="48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 noChangeArrowheads="1"/>
          </p:cNvSpPr>
          <p:nvPr>
            <p:ph type="sldNum" sz="quarter" idx="4294967295"/>
          </p:nvPr>
        </p:nvSpPr>
        <p:spPr>
          <a:xfrm>
            <a:off x="7239000" y="6629400"/>
            <a:ext cx="1905000" cy="2286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85E97E9-9C3E-4B60-83C4-C2533C90A3C2}" type="slidenum">
              <a:rPr lang="en-US"/>
              <a:pPr>
                <a:defRPr/>
              </a:pPr>
              <a:t>8</a:t>
            </a:fld>
            <a:endParaRPr lang="en-US"/>
          </a:p>
        </p:txBody>
      </p:sp>
      <p:sp>
        <p:nvSpPr>
          <p:cNvPr id="32771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144000" cy="838200"/>
          </a:xfrm>
        </p:spPr>
        <p:txBody>
          <a:bodyPr/>
          <a:lstStyle/>
          <a:p>
            <a:pPr eaLnBrk="1" hangingPunct="1"/>
            <a:r>
              <a:rPr lang="en-US" dirty="0" smtClean="0">
                <a:solidFill>
                  <a:srgbClr val="000066"/>
                </a:solidFill>
              </a:rPr>
              <a:t>   Market </a:t>
            </a:r>
            <a:r>
              <a:rPr lang="en-US" dirty="0" smtClean="0">
                <a:solidFill>
                  <a:srgbClr val="000066"/>
                </a:solidFill>
              </a:rPr>
              <a:t>Research - Cloud Challenges</a:t>
            </a:r>
          </a:p>
        </p:txBody>
      </p:sp>
      <p:sp>
        <p:nvSpPr>
          <p:cNvPr id="32772" name="Rectangle 10"/>
          <p:cNvSpPr>
            <a:spLocks noChangeArrowheads="1"/>
          </p:cNvSpPr>
          <p:nvPr/>
        </p:nvSpPr>
        <p:spPr bwMode="auto">
          <a:xfrm>
            <a:off x="6019800" y="5867400"/>
            <a:ext cx="2667000" cy="5334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32773" name="Content Placeholder 7"/>
          <p:cNvSpPr>
            <a:spLocks noGrp="1"/>
          </p:cNvSpPr>
          <p:nvPr>
            <p:ph idx="1"/>
          </p:nvPr>
        </p:nvSpPr>
        <p:spPr>
          <a:xfrm>
            <a:off x="533400" y="990600"/>
            <a:ext cx="8153400" cy="5486400"/>
          </a:xfrm>
        </p:spPr>
        <p:txBody>
          <a:bodyPr/>
          <a:lstStyle/>
          <a:p>
            <a:pPr>
              <a:buFontTx/>
              <a:buNone/>
            </a:pPr>
            <a:endParaRPr lang="en-US" smtClean="0"/>
          </a:p>
        </p:txBody>
      </p:sp>
      <p:pic>
        <p:nvPicPr>
          <p:cNvPr id="32774" name="Picture 2" descr="C:\Documents and Settings\shbabu\My Documents\PhD\Dissertation\Group 1\MS3 - Proposal Approval by Mentor\Proposal\idc_cloud_challenges_2009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3400" y="990600"/>
            <a:ext cx="8089900" cy="48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1060" name="Rectangle 36"/>
          <p:cNvSpPr>
            <a:spLocks noGrp="1" noChangeArrowheads="1"/>
          </p:cNvSpPr>
          <p:nvPr>
            <p:ph type="title"/>
          </p:nvPr>
        </p:nvSpPr>
        <p:spPr>
          <a:xfrm>
            <a:off x="609600" y="152400"/>
            <a:ext cx="7802563" cy="838200"/>
          </a:xfrm>
        </p:spPr>
        <p:txBody>
          <a:bodyPr/>
          <a:lstStyle/>
          <a:p>
            <a:r>
              <a:rPr lang="en-US" dirty="0" smtClean="0"/>
              <a:t>Cloud Models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 bwMode="auto">
          <a:xfrm>
            <a:off x="4994910" y="1028700"/>
            <a:ext cx="2514600" cy="386334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Cloud 3"/>
          <p:cNvSpPr/>
          <p:nvPr/>
        </p:nvSpPr>
        <p:spPr bwMode="auto">
          <a:xfrm>
            <a:off x="5632806" y="1531995"/>
            <a:ext cx="1318818" cy="547890"/>
          </a:xfrm>
          <a:prstGeom prst="cloud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ublic</a:t>
            </a:r>
          </a:p>
        </p:txBody>
      </p:sp>
      <p:sp>
        <p:nvSpPr>
          <p:cNvPr id="5" name="Cloud 4"/>
          <p:cNvSpPr/>
          <p:nvPr/>
        </p:nvSpPr>
        <p:spPr bwMode="auto">
          <a:xfrm>
            <a:off x="5562192" y="2381625"/>
            <a:ext cx="1467667" cy="547890"/>
          </a:xfrm>
          <a:prstGeom prst="cloud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rivate</a:t>
            </a:r>
          </a:p>
        </p:txBody>
      </p:sp>
      <p:sp>
        <p:nvSpPr>
          <p:cNvPr id="6" name="Cloud 5"/>
          <p:cNvSpPr/>
          <p:nvPr/>
        </p:nvSpPr>
        <p:spPr bwMode="auto">
          <a:xfrm>
            <a:off x="5570606" y="3204585"/>
            <a:ext cx="1382261" cy="547890"/>
          </a:xfrm>
          <a:prstGeom prst="cloud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Hybrid</a:t>
            </a:r>
          </a:p>
        </p:txBody>
      </p:sp>
      <p:sp>
        <p:nvSpPr>
          <p:cNvPr id="7" name="Cloud 6"/>
          <p:cNvSpPr/>
          <p:nvPr/>
        </p:nvSpPr>
        <p:spPr bwMode="auto">
          <a:xfrm>
            <a:off x="5148458" y="4004685"/>
            <a:ext cx="2226557" cy="547890"/>
          </a:xfrm>
          <a:prstGeom prst="cloud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Community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961169" y="1062990"/>
            <a:ext cx="26068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smtClean="0">
                <a:solidFill>
                  <a:srgbClr val="002060"/>
                </a:solidFill>
              </a:rPr>
              <a:t>Deployment Models</a:t>
            </a:r>
            <a:endParaRPr lang="en-US" sz="2000" b="1" dirty="0">
              <a:solidFill>
                <a:srgbClr val="002060"/>
              </a:solidFill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1623060" y="1055370"/>
            <a:ext cx="2743200" cy="3836670"/>
          </a:xfrm>
          <a:prstGeom prst="rect">
            <a:avLst/>
          </a:prstGeom>
          <a:solidFill>
            <a:srgbClr val="92D050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985552" y="1089660"/>
            <a:ext cx="20505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smtClean="0">
                <a:solidFill>
                  <a:srgbClr val="002060"/>
                </a:solidFill>
              </a:rPr>
              <a:t>Service Models</a:t>
            </a:r>
            <a:endParaRPr lang="en-US" sz="2000" b="1" dirty="0">
              <a:solidFill>
                <a:srgbClr val="002060"/>
              </a:solidFill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2037137" y="1590760"/>
            <a:ext cx="1945539" cy="704679"/>
          </a:xfrm>
          <a:prstGeom prst="roundRect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Software as a</a:t>
            </a:r>
            <a:r>
              <a:rPr kumimoji="0" lang="en-US" sz="20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</a:t>
            </a:r>
          </a:p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Service (</a:t>
            </a:r>
            <a:r>
              <a:rPr kumimoji="0" lang="en-US" sz="2000" b="0" i="0" u="none" strike="noStrike" cap="none" normalizeH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SaaS</a:t>
            </a:r>
            <a:r>
              <a:rPr kumimoji="0" lang="en-US" sz="20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)</a:t>
            </a: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Rounded Rectangle 16"/>
          <p:cNvSpPr/>
          <p:nvPr/>
        </p:nvSpPr>
        <p:spPr bwMode="auto">
          <a:xfrm>
            <a:off x="2002847" y="2726140"/>
            <a:ext cx="1945539" cy="704679"/>
          </a:xfrm>
          <a:prstGeom prst="roundRect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latform as a</a:t>
            </a:r>
            <a:r>
              <a:rPr kumimoji="0" lang="en-US" sz="20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</a:t>
            </a:r>
          </a:p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Service (</a:t>
            </a:r>
            <a:r>
              <a:rPr kumimoji="0" lang="en-US" sz="2000" b="0" i="0" u="none" strike="noStrike" cap="none" normalizeH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aaS</a:t>
            </a:r>
            <a:r>
              <a:rPr kumimoji="0" lang="en-US" sz="20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)</a:t>
            </a: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Rounded Rectangle 17"/>
          <p:cNvSpPr/>
          <p:nvPr/>
        </p:nvSpPr>
        <p:spPr bwMode="auto">
          <a:xfrm>
            <a:off x="1827649" y="3800560"/>
            <a:ext cx="2364515" cy="704679"/>
          </a:xfrm>
          <a:prstGeom prst="roundRect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Infrastructure as a</a:t>
            </a:r>
            <a:r>
              <a:rPr kumimoji="0" lang="en-US" sz="20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</a:t>
            </a:r>
          </a:p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Service (</a:t>
            </a:r>
            <a:r>
              <a:rPr lang="en-US" sz="2000" dirty="0" err="1" smtClean="0"/>
              <a:t>I</a:t>
            </a:r>
            <a:r>
              <a:rPr kumimoji="0" lang="en-US" sz="2000" b="0" i="0" u="none" strike="noStrike" cap="none" normalizeH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aaS</a:t>
            </a:r>
            <a:r>
              <a:rPr kumimoji="0" lang="en-US" sz="20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)</a:t>
            </a: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Rounded Rectangle 18"/>
          <p:cNvSpPr/>
          <p:nvPr/>
        </p:nvSpPr>
        <p:spPr bwMode="auto">
          <a:xfrm>
            <a:off x="240030" y="5323074"/>
            <a:ext cx="1806980" cy="64338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non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oad Network </a:t>
            </a:r>
          </a:p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Access</a:t>
            </a:r>
          </a:p>
        </p:txBody>
      </p:sp>
      <p:sp>
        <p:nvSpPr>
          <p:cNvPr id="20" name="Rounded Rectangle 19"/>
          <p:cNvSpPr/>
          <p:nvPr/>
        </p:nvSpPr>
        <p:spPr bwMode="auto">
          <a:xfrm>
            <a:off x="2198158" y="5323074"/>
            <a:ext cx="1608439" cy="64338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Rapid Elasticity</a:t>
            </a:r>
          </a:p>
        </p:txBody>
      </p:sp>
      <p:sp>
        <p:nvSpPr>
          <p:cNvPr id="21" name="Rounded Rectangle 20"/>
          <p:cNvSpPr/>
          <p:nvPr/>
        </p:nvSpPr>
        <p:spPr bwMode="auto">
          <a:xfrm>
            <a:off x="3901228" y="5323074"/>
            <a:ext cx="1562719" cy="64338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Measured</a:t>
            </a:r>
            <a:r>
              <a:rPr kumimoji="0" lang="en-US" sz="18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ervice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2" name="Rounded Rectangle 21"/>
          <p:cNvSpPr/>
          <p:nvPr/>
        </p:nvSpPr>
        <p:spPr bwMode="auto">
          <a:xfrm>
            <a:off x="5570008" y="5323074"/>
            <a:ext cx="1654159" cy="64338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On-Demand Self-Service</a:t>
            </a:r>
          </a:p>
        </p:txBody>
      </p:sp>
      <p:sp>
        <p:nvSpPr>
          <p:cNvPr id="23" name="Rounded Rectangle 22"/>
          <p:cNvSpPr/>
          <p:nvPr/>
        </p:nvSpPr>
        <p:spPr bwMode="auto">
          <a:xfrm>
            <a:off x="7321762" y="5323074"/>
            <a:ext cx="1502605" cy="64338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82124" tIns="41061" rIns="82124" bIns="410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1438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Resource Pooling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472052" y="6389815"/>
            <a:ext cx="4541501" cy="3139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/>
              <a:t>(Adapted from CSA Guide, originally from NIST)</a:t>
            </a:r>
            <a:endParaRPr lang="en-US" sz="16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tf3VpidCEivhTxdn5pt2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fbH34k.Pk2MoE3FIgzYy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pTq5LIjU0CufUYkaT_GP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xH36sx2B02PJMMw0NusP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orAY.RxnUirxlNfy4d0I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UvvxT.5zEq5_3_ItJbUw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qLU_aKWE0GSlTZ27WCcT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vOo830aMU6rSEzg2xpeL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AHbxJxDXkKQ0xNGY6KEh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r7gIrWfekG7R5g1c0Mre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BHesgyKfUSuTcQxQkc6M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bjH5A2HrUG58Gph6OlYm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ow1ZpahUmyRGoDgqXME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ENf3rInF06Fg.gk8GuLw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WKszjbpjEC9dkYMNtXjW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L.gB8UPMk2h6U4d8iOMF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mEUAGzY8Ei7987G4W.EH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yEfKiD4YUm5OMWUlt3UU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2U4alapv0.5IwNXs_Dfb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hzvSpuqW0uJd4CFLX.w8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uhqfIOkq1KeMhe0Q6A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dICs_arbkSaPUdr9C5J6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lq5hRlYKUqPXr9XfgMGA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CfGUniww0yM_qNPkMqGO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eIkeW2Ws0uHaMv80bcPk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CMdgt_Au0.QPkBJU19Ae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knX2DAyBEOieRNQilAJ8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iszeSLj40GBE53.NjHDa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hmD.SnaUOYSZ52dVFkC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S_43FmWQkC.LITVemeHx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k9c8n85wkG0xuvgXBRQt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j2VbxO7UkWB6Sn7Mx6Zq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U9JBVhk6k.aiWmNoQnx6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9HDJCYgw0idWCrOvPxCK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BwfewXkZEO3AhspM2_Di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B9w34n0.HUdXqYnjDN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HUTlt.gxECMDh5DDX813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H7uKgOLckSys7PQNtPuN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cQWZee830awjj6U8heLq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js1NeV6PketCrUIeCVcZ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7De5g40ijM72yzfQB7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9lOqZ2dV0qI6dKYI9JmQ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Tqrg3qcC0WzD29_LnoW.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p2cZFqNgk.zPsURgg1i3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T2wNqB_qE.VC2hmg5CwY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LAFustPEU66TbambVHk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y6xFRt5fU6hY0KefNqEF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6EIGnYKi0WZaUNxKHkWF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sIts7bU69oG2w.UKKf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KF7JqKcgEuL0KQRNoSvY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1F6DsSNh02Zg_OA7Knb4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zhGoaIUCgqYgaiWU1m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Bv8oqj6tEikQ6Oxtq5h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O1sWsppwkuZ_t1gkY7bl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u0EJ9HAvUKwG5XSkvuRK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1XtGclImkyhdEpLMVWv3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FvxPKKDQUK9nu9bh4x7s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7ceFmMnlEuHAUijGxJWs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mjDHXiFskygjkP_EwZR0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NhReSn0y1hdRiEDG4t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bInxezJRU6NPbpARGCcH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VsaNC6nH0GtGW0BJz1XP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aA5W2aDoEKuvDwW6EsBY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Ox.dsut0UiypZLatptT1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UVM3euvfUCargnflGTLz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4xUChtdEUaq3ZIA01V0o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L.PtZ2bGkOcXbxjoaEB4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iG4uRJ7D0e4D4U1mIDW4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7wj8hE4_E2ZArdspOP28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wrmY8Y3mE6051DhdEDMH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00Jbtrm7EKYKI3P6x1e5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Nq89miS0keqJm1qcM0Tj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e_6HaNf8Umgx8cpiwH5Q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QaSHhhf1Emc97x_vDojF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E.YICPDckefVkEJejR_n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1H9MZFCn0GVxEwp6_xcz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MnDTGGNM0uaiVH0tMFh9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Y8AioNaSkGxAg26296gl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n_76NaPrEeWT_zrQLXeV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IDvPrrZ6Eqgxm4u7i995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iRq_raRLEiRB4MX9NT.s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k_2q3.kmSW7ZZ8a2lf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R3cOBpJpEiirRic2kYzx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zDaK53E.0q3aPAvTiwcV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iPw3ADOu0iViPar08PIi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X9tzrxMN0OP5eKIohQhf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YZyj608yUq23jAxHVbM_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C70.vOYQE27bGki4sSWO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qMicePVDkq4Db.V6APCn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A7XY1bvhEOeVf0_mfD0b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.lKDsV6EEGQSX5ATlSI4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daHA0fhpEWcLOT0gjxyX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ni3YcOgK0Gzp8_O0DU5k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FoxaJvg6UyqksxtJRTw7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6uqB2FjXEiMjlfK21E3t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Nza3ve.OE6lnhxdn7qrC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mTBQTAslUuBObw7PAsF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azEOArKa0WL2ptbnI2fm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Vp6eNeFwkebvhEqEzysE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MM7.ACKJUiDj.vk6RPLx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IrC2gDCfUusPynzixAyL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VIh092sTUOLX4VZw.S6G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PvQhwOkXky4dxRs_ymSk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tEDdSiubUuu7aN8Ehv1u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ZKlJFxJBU2w19cHoAqq_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xQWBpUkQkqI34SCCTEZf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VFHvjeEfkmps5OnEZjnH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UITQoyB1k.PWrXVjhB9Z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fONpoDy1EeAvrIf3HQHW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OCS71QdwEOQzmshnyhxH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nVhsqytrU.Krxzt8IDU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ktT2mjLPEqQ74t529Xlo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f4jo814EkmefWCUUqeVZ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NA5Ic9qBUGwKt90_Yzho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3qjyE26wk2XsIosJoYSm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tWu39J1uEWM_xRnMizHS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UphxfoTjEuPrq_3k_K7b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LqqHw2zB0aazgtO4Hk39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X3lHoi9VECGJTzjytR4k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i4GMv1d8UCAoyIrF87yY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uZKF1OQBk2D9ZCDXCaBQ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Z4prQzkqKN5KQmLw4i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mqD2D0LQkGgp5MYOsmyf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9IvkHo5hkyYg5DRo_Nu4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G8t0OjvREa_j2DeSwPIT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YEcZX5Ah0i0RDsGhuIr_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..6O7pkrkewhwaJc0x2x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YAZfMPNh02m6B6saGjlL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UaV7gvDq0Sv7NcyIA3b1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tCE7fETK0qWiR2Rp8eyg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UOc9oz0aP1otcF9yWD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c7DSgu0BESCPgySRupB7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DuMGvMCkUqWumiB4D2kD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NkukaoN60G.va9ofP5N2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ivp1SXyGU2ZZt31wUpab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kKtDpezwUmc2Z16Aaa6r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YEkgdl7EU6L1s3NVZ7t0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IXPJUJ5h0KZGHotM8XVG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FtGsmeKKU.5quj5_qBuu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NN.VtQjMk.BfwO7uaoue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mxWlcvYREqwMlmrItiun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g6X1.sHwUqHWkU22CYEn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OKODeWh4kWMUvWR9KRea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1BNj8T7PUmoSb6upPKy5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I1dgdYU70.xrayYgUH43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Z.B07MTTUWN_dyk5bIIx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_Jewer3xEeIZ3QcKnqQt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faJGmspVEWuWNBK3VrwJ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S_b7evzNEGurcTyuGsid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Llk0gGVWkWjE3TZke_mE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zd2WQMCBUSpNCII6ZHki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AKa3xDrbU2OYdvvZywRk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RMHDYbqiUqUK69ghjJ1F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RKCuI9l2EeXkFVxb.o6f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ITxz5vScEmDz6VvaUFo4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0CscvhkF0KMLJCqdFpAD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M3sW93NBEiCZWMATN6B4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.IerPsZ0UKNNd1x3u.44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kqyWO6CfEGVYmPvBdM7N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EytW4Y8MkCoEoHtS4KjF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PjHVfsCj0GZV4w8m.guT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vCxrqi5iEKk98JnJx5fB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vJvb9wl.E6PnNijibSB.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Pn6HPNslUu3i5nQP2RZu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qwZn9n9D0KKqnRsGMx0n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PArNnvxD0etys9xpB3Xk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TXeBmP50KcUMc0URQfw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XHk6WkoUECXB7FJkUnfJ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WHwDxVj0Sveb3MKiS5e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D3XtK6oQkaI.xtm13SdF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LAify57q06EpNZKB.srh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xmxEYqNvE2ta36IBXgdg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hOE8Wdb.k6WzogUANTb.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kBZK.fr5keqDEUZdTPeR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YUPUieSJUCbU.ivFsp2P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EHfwWyKLkOs4yvhXPIL4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jFVwSp58kuPzNEB3cDbR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3QrKNGJFkOPRGlaQE6_n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JPgGdJ73kS4epQ6Yp0Xz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SONB2oU.KntHTcEFF2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ZdXc2zhuUCVg7lbbReXc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g28Wuo0QUWW2qVH2Rqc9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rDsHDYqj0i0ve7kvHXrt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hvZMOdtzE6dM.4h2X.WA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gemN1k6vUm9dve8eu3JF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I_YjZmGcUm3HDftptvfB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MKdHsL4f0uTUUQf_WoYv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bfmijeig0.udwj0yI80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vEJHEOs_U64iE2MdNY7s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qINLaR24Uiyhv0FY9oOG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EpF4jpx80KuL4El2zyX6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a_LSEVlmEuDrBVs7MyOd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urViL4DLUCm3iwbH5OQU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kxVSrNnqUWcg6RZOWnhw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3G3DapkZ06JkMKtJoZ9P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Fff2y3eG0qDPUq0ygopo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mJb_sj8r0mQIi1WHbIcX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q90nzbPRU6HlPA4Ubqo9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fSo3NTEREOu3HZ.5DRX2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6iD6MtoCk6AWs_cvvUWy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TOFlov300ib006p1Uosn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_J6hfYbz0yKXzWgWsAqu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Z05hbFTyUe0F9qluo7GF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fm0hsfyAEG2CtoMchNJv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TKT2f5ORkSxnjSiUouKZ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fAf_AQkCytrQgr5s91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UDppMYx0EuCCh_4PFi.n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gZFMdgqj0a_S4xUZYwpg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Xb.Ob7J_km0ILuw6Xt0_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QECw_tEii.KQT.ybe5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HF37Ht4FkWsPOZITyk_n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sMRPp3gIECyIqp2lPPjU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z6foKBZM0K.ERhijpPuv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8_HednVQ0CoGEGKIml.f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1OZ_xJ_ckSTVoXqKLkr7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vBh2HXYwEiGjGKjqIxB5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_6bAwNJ9E6JdIZlVuhcC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__HkY_VxkOpxfVRZcuzt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7Xt6.0x5EWe90jv3NiLk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7pLdboWdE2u6fWJIAX7.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1Lqk8xt0Uap1_7iE21l7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3q0gGsAk06aEIZiDQFeD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e2W1lAAm0ONNS.AtVbm5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blxUi2ZEkyXnXwNEZs54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Y23t7kzj0qp6Z.a.zsvV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n7vpZmMPUyKqdlX2n88O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LebRzwHNUq2HBjvrU6wE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m.OosE06BFZ1AWeKBQ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V2lJW4R7UO3mtMQXVp7I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ji5yuVZ3US153PcDRBMI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bV4qhDZI0ml47.J.qwEj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_1zra65vkGA4WG5tvQZ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3tQLbrQrk2emxB2rG6DI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f26U6DUSiGVg_KHf4h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uabdZX7oES9egzHEpJoB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Vos_bN0GE6Gfkau5hSgk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cNVozpxy0GuZ9tGecjJf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0HTLtY3S0Sh0R2YbrbHB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gDMCjh_HE.YHX2l8IJ55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1utHaoKjkiYBkZYLyAGQ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14bEJ50KlfgjSMDg03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Cz_tVaEaEaT3XVnTtUi4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6obECTbJ0qgYanveEWoX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zbUxhAGDEqLhBBH4N18R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9U4IASxm0et82FfCdZ_K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K2dc0E0W8G8Le.cF23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8uYLxu1JUOY4eKnQXDau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zgzkeWqyUCPbmpLypRn3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3DgcZaJAESU6nbBFSTQr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d8_pwfEG.ArFR27dCz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R.pJ4dUbE.MXbzSgpQP.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hCfCzw4EUaMSxhxZpsbz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P0CmjzwQ0uSGY4WCMkk3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ZrWaGYX.0CBiRXMaaxio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hbtKJg2YEyrBqX.UNbHy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LHKSbDunE.k3lfCkPBmo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xgPWBQkaS0lh.KBLhP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erDqFR3sk62F0uOh3mV0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q69F_O29UGbcfjuUklsi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eAIboxWA0GXYvSuY__7Z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Eq9nPvX2kqV5wusKbP5D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dO6qCLsx0.2gMO1dm1iD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ZpBAwJjXUaLZW3kTrbjp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T9BHAqFakyZ1svoEC19E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8W59ElIaE.yIfhZCulE7A"/>
</p:tagLst>
</file>

<file path=ppt/theme/theme1.xml><?xml version="1.0" encoding="utf-8"?>
<a:theme xmlns:a="http://schemas.openxmlformats.org/drawingml/2006/main" name="OWASP Presentation Template">
  <a:themeElements>
    <a:clrScheme name="OWASP Presentation Templat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WASP Presentation Template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WASP Presentatio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WASP Presentatio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WASP Presentatio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WASP Presentatio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WASP Presentatio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WASP Presentatio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WASP Presentatio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WASP Presentatio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WASP Presentatio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WASP Presentatio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WASP Presentatio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WASP Presentatio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WASP Presentation Template</Template>
  <TotalTime>3056</TotalTime>
  <Words>1794</Words>
  <Application>Microsoft Office PowerPoint</Application>
  <PresentationFormat>On-screen Show (4:3)</PresentationFormat>
  <Paragraphs>422</Paragraphs>
  <Slides>36</Slides>
  <Notes>36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38" baseType="lpstr">
      <vt:lpstr>OWASP Presentation Template</vt:lpstr>
      <vt:lpstr>Visio</vt:lpstr>
      <vt:lpstr>Top Ten Risks With Cloud That Will Keep You Awake at Night</vt:lpstr>
      <vt:lpstr>Agenda</vt:lpstr>
      <vt:lpstr>Cloud Top 10 Project: Motivation</vt:lpstr>
      <vt:lpstr>Cloud Top 10 Project: Approach</vt:lpstr>
      <vt:lpstr>Cloud: Industry Adoption Trend</vt:lpstr>
      <vt:lpstr>Impact of Cloud Adoption on IT Effectiveness</vt:lpstr>
      <vt:lpstr>    Market Research -  Cloud Benefits</vt:lpstr>
      <vt:lpstr>   Market Research - Cloud Challenges</vt:lpstr>
      <vt:lpstr>Cloud Models</vt:lpstr>
      <vt:lpstr>Cloud Actors</vt:lpstr>
      <vt:lpstr>Cloud Top 10 Security Risks</vt:lpstr>
      <vt:lpstr>Slide 12</vt:lpstr>
      <vt:lpstr>Slide 13</vt:lpstr>
      <vt:lpstr>Slide 14</vt:lpstr>
      <vt:lpstr>Slide 15</vt:lpstr>
      <vt:lpstr>R2: Risk: User Identities</vt:lpstr>
      <vt:lpstr>R2: Mitigations: User Identities</vt:lpstr>
      <vt:lpstr>R3: Risk: Regulatory Compliance </vt:lpstr>
      <vt:lpstr>Slide 19</vt:lpstr>
      <vt:lpstr>Slide 20</vt:lpstr>
      <vt:lpstr>Slide 21</vt:lpstr>
      <vt:lpstr>Slide 22</vt:lpstr>
      <vt:lpstr> </vt:lpstr>
      <vt:lpstr>R5: Mitigations: User Privacy &amp; Secondary Usage of Data</vt:lpstr>
      <vt:lpstr>R6: Risk: Service &amp; Data Integration </vt:lpstr>
      <vt:lpstr>Slide 26</vt:lpstr>
      <vt:lpstr>Slide 27</vt:lpstr>
      <vt:lpstr>R7: Attacks and Incidences</vt:lpstr>
      <vt:lpstr>R7: Mitigations: Multi-tenancy and Physical Security</vt:lpstr>
      <vt:lpstr>R8: Risk: Incidence Analysis &amp; Forensic Support</vt:lpstr>
      <vt:lpstr>Slide 31</vt:lpstr>
      <vt:lpstr>R9: Risk: Infrastructure Security</vt:lpstr>
      <vt:lpstr>Slide 33</vt:lpstr>
      <vt:lpstr>Slide 34</vt:lpstr>
      <vt:lpstr>Slide 35</vt:lpstr>
      <vt:lpstr>Summary: Manage your Cloud Risks to sleep like a Baby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WASP Plan - Strawman</dc:title>
  <dc:subject>Application Security</dc:subject>
  <dc:creator>Jeff Williams</dc:creator>
  <cp:keywords>Application Security</cp:keywords>
  <dc:description>http://www.owasp.org</dc:description>
  <cp:lastModifiedBy>Shankar Babu Chebrolu</cp:lastModifiedBy>
  <cp:revision>60</cp:revision>
  <dcterms:created xsi:type="dcterms:W3CDTF">2005-03-04T17:51:41Z</dcterms:created>
  <dcterms:modified xsi:type="dcterms:W3CDTF">2011-09-21T14:34:35Z</dcterms:modified>
  <cp:category>Application Security</cp:category>
</cp:coreProperties>
</file>